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26.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5.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xml" ContentType="application/vnd.openxmlformats-officedocument.themeOverrid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3.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4.xml" ContentType="application/vnd.openxmlformats-officedocument.themeOverrid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5.xml" ContentType="application/vnd.openxmlformats-officedocument.themeOverr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14" r:id="rId2"/>
    <p:sldMasterId id="2147483737" r:id="rId3"/>
    <p:sldMasterId id="2147483750" r:id="rId4"/>
    <p:sldMasterId id="2147483774" r:id="rId5"/>
  </p:sldMasterIdLst>
  <p:notesMasterIdLst>
    <p:notesMasterId r:id="rId46"/>
  </p:notesMasterIdLst>
  <p:handoutMasterIdLst>
    <p:handoutMasterId r:id="rId47"/>
  </p:handoutMasterIdLst>
  <p:sldIdLst>
    <p:sldId id="2147471878" r:id="rId6"/>
    <p:sldId id="2147471934" r:id="rId7"/>
    <p:sldId id="2147471933" r:id="rId8"/>
    <p:sldId id="2147471931" r:id="rId9"/>
    <p:sldId id="2147471932" r:id="rId10"/>
    <p:sldId id="2147470593" r:id="rId11"/>
    <p:sldId id="2147470632" r:id="rId12"/>
    <p:sldId id="2147471876" r:id="rId13"/>
    <p:sldId id="2147470597" r:id="rId14"/>
    <p:sldId id="2147470601" r:id="rId15"/>
    <p:sldId id="2147470835" r:id="rId16"/>
    <p:sldId id="2146848142" r:id="rId17"/>
    <p:sldId id="2146848156" r:id="rId18"/>
    <p:sldId id="2147470564" r:id="rId19"/>
    <p:sldId id="2146848182" r:id="rId20"/>
    <p:sldId id="2147470567" r:id="rId21"/>
    <p:sldId id="2147471869" r:id="rId22"/>
    <p:sldId id="2147470570" r:id="rId23"/>
    <p:sldId id="2147470860" r:id="rId24"/>
    <p:sldId id="2147471926" r:id="rId25"/>
    <p:sldId id="2147471912" r:id="rId26"/>
    <p:sldId id="2147471927" r:id="rId27"/>
    <p:sldId id="2147471905" r:id="rId28"/>
    <p:sldId id="2147471872" r:id="rId29"/>
    <p:sldId id="2147471906" r:id="rId30"/>
    <p:sldId id="2146848183" r:id="rId31"/>
    <p:sldId id="2147471215" r:id="rId32"/>
    <p:sldId id="2147471917" r:id="rId33"/>
    <p:sldId id="2147471003" r:id="rId34"/>
    <p:sldId id="2147471916" r:id="rId35"/>
    <p:sldId id="2147471877" r:id="rId36"/>
    <p:sldId id="2147471874" r:id="rId37"/>
    <p:sldId id="2147470604" r:id="rId38"/>
    <p:sldId id="2147471001" r:id="rId39"/>
    <p:sldId id="2147470611" r:id="rId40"/>
    <p:sldId id="2147471032" r:id="rId41"/>
    <p:sldId id="2147470827" r:id="rId42"/>
    <p:sldId id="1881839661" r:id="rId43"/>
    <p:sldId id="2147471928" r:id="rId44"/>
    <p:sldId id="2147471925" r:id="rId45"/>
  </p:sldIdLst>
  <p:sldSz cx="12192000" cy="6858000"/>
  <p:notesSz cx="6858000" cy="9144000"/>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7423"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FA8BB48-916F-CE4D-6F08-00D9FFD3E40E}" name="Perevoshchikov, Aleksandr" initials="PA" userId="S::kdtc735@astrazeneca.net::911b8e22-d3b2-448a-a9f7-952d2c04d5c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auren Fernandes" initials="LF" lastIdx="13" clrIdx="0">
    <p:extLst>
      <p:ext uri="{19B8F6BF-5375-455C-9EA6-DF929625EA0E}">
        <p15:presenceInfo xmlns:p15="http://schemas.microsoft.com/office/powerpoint/2012/main" userId="S::lauren.fernandes@tbwaworldhealth.london::ee7b7cc5-e17a-4615-bcf9-d9c5aeef2852" providerId="AD"/>
      </p:ext>
    </p:extLst>
  </p:cmAuthor>
  <p:cmAuthor id="2" name="Microsoft Office User" initials="MOU" lastIdx="1" clrIdx="1">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0064"/>
    <a:srgbClr val="B2D233"/>
    <a:srgbClr val="004D74"/>
    <a:srgbClr val="FCC50B"/>
    <a:srgbClr val="6810D4"/>
    <a:srgbClr val="B2D234"/>
    <a:srgbClr val="78787A"/>
    <a:srgbClr val="3F4444"/>
    <a:srgbClr val="960064"/>
    <a:srgbClr val="DAE1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69" autoAdjust="0"/>
    <p:restoredTop sz="94280" autoAdjust="0"/>
  </p:normalViewPr>
  <p:slideViewPr>
    <p:cSldViewPr snapToGrid="0" snapToObjects="1">
      <p:cViewPr varScale="1">
        <p:scale>
          <a:sx n="63" d="100"/>
          <a:sy n="63" d="100"/>
        </p:scale>
        <p:origin x="1116" y="72"/>
      </p:cViewPr>
      <p:guideLst>
        <p:guide pos="7423"/>
        <p:guide orient="horz" pos="216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showGuides="1">
      <p:cViewPr varScale="1">
        <p:scale>
          <a:sx n="150" d="100"/>
          <a:sy n="150" d="100"/>
        </p:scale>
        <p:origin x="3704" y="1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microsoft.com/office/2018/10/relationships/authors" Target="authors.xml"/><Relationship Id="rId5" Type="http://schemas.openxmlformats.org/officeDocument/2006/relationships/slideMaster" Target="slideMasters/slideMaster5.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46249347933070872"/>
          <c:y val="0.19071572399632603"/>
          <c:w val="0.50626304133858258"/>
          <c:h val="0.75939451529315227"/>
        </c:manualLayout>
      </c:layout>
      <c:pie3DChart>
        <c:varyColors val="1"/>
        <c:ser>
          <c:idx val="0"/>
          <c:order val="0"/>
          <c:tx>
            <c:strRef>
              <c:f>Лист1!$B$1</c:f>
              <c:strCache>
                <c:ptCount val="1"/>
                <c:pt idx="0">
                  <c:v>Столбец1</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4390-4C9E-8697-F8C24FB970D4}"/>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4390-4C9E-8697-F8C24FB970D4}"/>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4390-4C9E-8697-F8C24FB970D4}"/>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4390-4C9E-8697-F8C24FB970D4}"/>
              </c:ext>
            </c:extLst>
          </c:dPt>
          <c:dLbls>
            <c:dLbl>
              <c:idx val="0"/>
              <c:layout>
                <c:manualLayout>
                  <c:x val="-6.7087170640772464E-2"/>
                  <c:y val="-0.10743809197763322"/>
                </c:manualLayout>
              </c:layout>
              <c:tx>
                <c:rich>
                  <a:bodyPr rot="0" spcFirstLastPara="1" vertOverflow="ellipsis" vert="horz" wrap="square" anchor="ctr" anchorCtr="1"/>
                  <a:lstStyle/>
                  <a:p>
                    <a:pPr>
                      <a:defRPr sz="1200" b="1" i="0" u="none" strike="noStrike" kern="1200" spc="0" baseline="0">
                        <a:solidFill>
                          <a:schemeClr val="bg1"/>
                        </a:solidFill>
                        <a:latin typeface="+mn-lt"/>
                        <a:ea typeface="+mn-ea"/>
                        <a:cs typeface="+mn-cs"/>
                      </a:defRPr>
                    </a:pPr>
                    <a:fld id="{1437453C-DFC0-4492-A1B6-2E167D899099}" type="CATEGORYNAME">
                      <a:rPr lang="ru-RU">
                        <a:solidFill>
                          <a:schemeClr val="bg1"/>
                        </a:solidFill>
                      </a:rPr>
                      <a:pPr>
                        <a:defRPr>
                          <a:solidFill>
                            <a:schemeClr val="bg1"/>
                          </a:solidFill>
                        </a:defRPr>
                      </a:pPr>
                      <a:t>[CATEGORY NAME]</a:t>
                    </a:fld>
                    <a:r>
                      <a:rPr lang="ru-RU" dirty="0">
                        <a:solidFill>
                          <a:schemeClr val="bg1"/>
                        </a:solidFill>
                      </a:rPr>
                      <a:t>
65%</a:t>
                    </a:r>
                  </a:p>
                </c:rich>
              </c:tx>
              <c:spPr>
                <a:noFill/>
                <a:ln>
                  <a:noFill/>
                </a:ln>
                <a:effectLst/>
              </c:spPr>
              <c:txPr>
                <a:bodyPr rot="0" spcFirstLastPara="1" vertOverflow="ellipsis" vert="horz" wrap="square" anchor="ctr" anchorCtr="1"/>
                <a:lstStyle/>
                <a:p>
                  <a:pPr>
                    <a:defRPr sz="1200" b="1" i="0" u="none" strike="noStrike" kern="1200" spc="0" baseline="0">
                      <a:solidFill>
                        <a:schemeClr val="bg1"/>
                      </a:solidFill>
                      <a:latin typeface="+mn-lt"/>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layout>
                    <c:manualLayout>
                      <c:w val="0.23372211865742931"/>
                      <c:h val="0.23806763285024155"/>
                    </c:manualLayout>
                  </c15:layout>
                  <c15:dlblFieldTable/>
                  <c15:showDataLabelsRange val="0"/>
                </c:ext>
                <c:ext xmlns:c16="http://schemas.microsoft.com/office/drawing/2014/chart" uri="{C3380CC4-5D6E-409C-BE32-E72D297353CC}">
                  <c16:uniqueId val="{00000001-4390-4C9E-8697-F8C24FB970D4}"/>
                </c:ext>
              </c:extLst>
            </c:dLbl>
            <c:dLbl>
              <c:idx val="1"/>
              <c:layout>
                <c:manualLayout>
                  <c:x val="-4.4120456674364476E-2"/>
                  <c:y val="3.0028681197458943E-2"/>
                </c:manualLayout>
              </c:layout>
              <c:tx>
                <c:rich>
                  <a:bodyPr rot="0" spcFirstLastPara="1" vertOverflow="ellipsis" vert="horz" wrap="square" anchor="ctr" anchorCtr="1"/>
                  <a:lstStyle/>
                  <a:p>
                    <a:pPr>
                      <a:defRPr sz="1200" b="1" i="0" u="none" strike="noStrike" kern="1200" spc="0" baseline="0">
                        <a:solidFill>
                          <a:schemeClr val="accent1"/>
                        </a:solidFill>
                        <a:latin typeface="+mn-lt"/>
                        <a:ea typeface="+mn-ea"/>
                        <a:cs typeface="+mn-cs"/>
                      </a:defRPr>
                    </a:pPr>
                    <a:fld id="{8E1B92D5-6CF0-4BDF-9F3F-0E8A7A0660C8}" type="CATEGORYNAME">
                      <a:rPr lang="ru-RU"/>
                      <a:pPr>
                        <a:defRPr>
                          <a:solidFill>
                            <a:schemeClr val="accent1"/>
                          </a:solidFill>
                        </a:defRPr>
                      </a:pPr>
                      <a:t>[CATEGORY NAME]</a:t>
                    </a:fld>
                    <a:r>
                      <a:rPr lang="ru-RU" dirty="0"/>
                      <a:t>
13,6%</a:t>
                    </a:r>
                  </a:p>
                </c:rich>
              </c:tx>
              <c:spPr>
                <a:noFill/>
                <a:ln>
                  <a:noFill/>
                </a:ln>
                <a:effectLst/>
              </c:spPr>
              <c:txPr>
                <a:bodyPr rot="0" spcFirstLastPara="1" vertOverflow="ellipsis" vert="horz" wrap="square" anchor="ctr" anchorCtr="1"/>
                <a:lstStyle/>
                <a:p>
                  <a:pPr>
                    <a:defRPr sz="1200" b="1" i="0" u="none" strike="noStrike" kern="1200" spc="0" baseline="0">
                      <a:solidFill>
                        <a:schemeClr val="accent1"/>
                      </a:solidFill>
                      <a:latin typeface="+mn-lt"/>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layout>
                    <c:manualLayout>
                      <c:w val="0.36366470975580351"/>
                      <c:h val="0.33949408497850814"/>
                    </c:manualLayout>
                  </c15:layout>
                  <c15:dlblFieldTable/>
                  <c15:showDataLabelsRange val="0"/>
                </c:ext>
                <c:ext xmlns:c16="http://schemas.microsoft.com/office/drawing/2014/chart" uri="{C3380CC4-5D6E-409C-BE32-E72D297353CC}">
                  <c16:uniqueId val="{00000003-4390-4C9E-8697-F8C24FB970D4}"/>
                </c:ext>
              </c:extLst>
            </c:dLbl>
            <c:dLbl>
              <c:idx val="2"/>
              <c:layout>
                <c:manualLayout>
                  <c:x val="-2.120132068297121E-2"/>
                  <c:y val="-1.5458785043173951E-2"/>
                </c:manualLayout>
              </c:layout>
              <c:tx>
                <c:rich>
                  <a:bodyPr rot="0" spcFirstLastPara="1" vertOverflow="ellipsis" vert="horz" wrap="square" anchor="ctr" anchorCtr="1"/>
                  <a:lstStyle/>
                  <a:p>
                    <a:pPr>
                      <a:defRPr sz="1200" b="1" i="0" u="none" strike="noStrike" kern="1200" spc="0" baseline="0">
                        <a:solidFill>
                          <a:schemeClr val="accent1"/>
                        </a:solidFill>
                        <a:latin typeface="+mn-lt"/>
                        <a:ea typeface="+mn-ea"/>
                        <a:cs typeface="+mn-cs"/>
                      </a:defRPr>
                    </a:pPr>
                    <a:fld id="{8CC1852A-1EE0-43E2-AC88-36C67E2CF9B7}" type="CATEGORYNAME">
                      <a:rPr lang="ru-RU"/>
                      <a:pPr>
                        <a:defRPr>
                          <a:solidFill>
                            <a:schemeClr val="accent1"/>
                          </a:solidFill>
                        </a:defRPr>
                      </a:pPr>
                      <a:t>[CATEGORY NAME]</a:t>
                    </a:fld>
                    <a:r>
                      <a:rPr lang="ru-RU" dirty="0"/>
                      <a:t>
21,6%</a:t>
                    </a:r>
                  </a:p>
                </c:rich>
              </c:tx>
              <c:numFmt formatCode="0.00%" sourceLinked="0"/>
              <c:spPr>
                <a:noFill/>
                <a:ln>
                  <a:noFill/>
                </a:ln>
                <a:effectLst/>
              </c:spPr>
              <c:txPr>
                <a:bodyPr rot="0" spcFirstLastPara="1" vertOverflow="ellipsis" vert="horz" wrap="square" anchor="ctr" anchorCtr="1"/>
                <a:lstStyle/>
                <a:p>
                  <a:pPr>
                    <a:defRPr sz="1200" b="1" i="0" u="none" strike="noStrike" kern="1200" spc="0" baseline="0">
                      <a:solidFill>
                        <a:schemeClr val="accent1"/>
                      </a:solidFill>
                      <a:latin typeface="+mn-lt"/>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layout>
                    <c:manualLayout>
                      <c:w val="0.23070227263846574"/>
                      <c:h val="0.19333195192706176"/>
                    </c:manualLayout>
                  </c15:layout>
                  <c15:dlblFieldTable/>
                  <c15:showDataLabelsRange val="0"/>
                </c:ext>
                <c:ext xmlns:c16="http://schemas.microsoft.com/office/drawing/2014/chart" uri="{C3380CC4-5D6E-409C-BE32-E72D297353CC}">
                  <c16:uniqueId val="{00000005-4390-4C9E-8697-F8C24FB970D4}"/>
                </c:ext>
              </c:extLst>
            </c:dLbl>
            <c:dLbl>
              <c:idx val="3"/>
              <c:tx>
                <c:rich>
                  <a:bodyPr rot="0" spcFirstLastPara="1" vertOverflow="ellipsis" vert="horz" wrap="square" anchor="ctr" anchorCtr="1"/>
                  <a:lstStyle/>
                  <a:p>
                    <a:pPr>
                      <a:defRPr sz="1200" b="1" i="0" u="none" strike="noStrike" kern="1200" spc="0" baseline="0">
                        <a:solidFill>
                          <a:schemeClr val="accent1"/>
                        </a:solidFill>
                        <a:latin typeface="+mn-lt"/>
                        <a:ea typeface="+mn-ea"/>
                        <a:cs typeface="+mn-cs"/>
                      </a:defRPr>
                    </a:pPr>
                    <a:fld id="{CBAFCDFD-B321-4D7A-ABFC-78378DDC9057}" type="CATEGORYNAME">
                      <a:rPr lang="ru-RU"/>
                      <a:pPr>
                        <a:defRPr>
                          <a:solidFill>
                            <a:schemeClr val="accent1"/>
                          </a:solidFill>
                        </a:defRPr>
                      </a:pPr>
                      <a:t>[CATEGORY NAME]</a:t>
                    </a:fld>
                    <a:r>
                      <a:rPr lang="ru-RU" dirty="0"/>
                      <a:t>
</a:t>
                    </a:r>
                    <a:fld id="{B8BC8C8B-D216-4CE9-A6C8-99C859F8FF24}" type="VALUE">
                      <a:rPr lang="ru-RU"/>
                      <a:pPr>
                        <a:defRPr>
                          <a:solidFill>
                            <a:schemeClr val="accent1"/>
                          </a:solidFill>
                        </a:defRPr>
                      </a:pPr>
                      <a:t>[VALUE]</a:t>
                    </a:fld>
                    <a:endParaRPr lang="ru-RU" dirty="0"/>
                  </a:p>
                </c:rich>
              </c:tx>
              <c:spPr>
                <a:noFill/>
                <a:ln>
                  <a:noFill/>
                </a:ln>
                <a:effectLst/>
              </c:spPr>
              <c:txPr>
                <a:bodyPr rot="0" spcFirstLastPara="1" vertOverflow="ellipsis" vert="horz" wrap="square" anchor="ctr" anchorCtr="1"/>
                <a:lstStyle/>
                <a:p>
                  <a:pPr>
                    <a:defRPr sz="1200" b="1" i="0" u="none" strike="noStrike" kern="1200" spc="0" baseline="0">
                      <a:solidFill>
                        <a:schemeClr val="accent1"/>
                      </a:solidFill>
                      <a:latin typeface="+mn-lt"/>
                      <a:ea typeface="+mn-ea"/>
                      <a:cs typeface="+mn-cs"/>
                    </a:defRPr>
                  </a:pPr>
                  <a:endParaRPr lang="ru-RU"/>
                </a:p>
              </c:txPr>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4390-4C9E-8697-F8C24FB970D4}"/>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Локализованный РПЖ I–II стадии</c:v>
                </c:pt>
                <c:pt idx="1">
                  <c:v>Местнораспространенный РПЖ без наличия регионарных и отдаленных метастазов (III стадия РПЖ) </c:v>
                </c:pt>
                <c:pt idx="2">
                  <c:v>Метастатический РПЖ IV стадии</c:v>
                </c:pt>
                <c:pt idx="3">
                  <c:v>не указано</c:v>
                </c:pt>
              </c:strCache>
            </c:strRef>
          </c:cat>
          <c:val>
            <c:numRef>
              <c:f>Лист1!$B$2:$B$5</c:f>
              <c:numCache>
                <c:formatCode>0.00%</c:formatCode>
                <c:ptCount val="4"/>
                <c:pt idx="0">
                  <c:v>0.64600000000000002</c:v>
                </c:pt>
                <c:pt idx="1">
                  <c:v>0.16300000000000001</c:v>
                </c:pt>
                <c:pt idx="2">
                  <c:v>0.216</c:v>
                </c:pt>
                <c:pt idx="3">
                  <c:v>3.0000000000000001E-3</c:v>
                </c:pt>
              </c:numCache>
            </c:numRef>
          </c:val>
          <c:extLst>
            <c:ext xmlns:c16="http://schemas.microsoft.com/office/drawing/2014/chart" uri="{C3380CC4-5D6E-409C-BE32-E72D297353CC}">
              <c16:uniqueId val="{00000008-4390-4C9E-8697-F8C24FB970D4}"/>
            </c:ext>
          </c:extLst>
        </c:ser>
        <c:dLbls>
          <c:dLblPos val="outEnd"/>
          <c:showLegendKey val="0"/>
          <c:showVal val="0"/>
          <c:showCatName val="0"/>
          <c:showSerName val="0"/>
          <c:showPercent val="1"/>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1"/>
      </a:solidFill>
    </a:ln>
    <a:effectLst/>
  </c:spPr>
  <c:txPr>
    <a:bodyPr/>
    <a:lstStyle/>
    <a:p>
      <a:pPr>
        <a:defRPr sz="1200"/>
      </a:pPr>
      <a:endParaRPr lang="ru-RU"/>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86017865590496E-2"/>
          <c:y val="7.5936144502837507E-3"/>
          <c:w val="0.85536073961906933"/>
          <c:h val="0.94681537891425915"/>
        </c:manualLayout>
      </c:layout>
      <c:pieChart>
        <c:varyColors val="1"/>
        <c:ser>
          <c:idx val="0"/>
          <c:order val="0"/>
          <c:tx>
            <c:strRef>
              <c:f>Sheet1!$B$1</c:f>
              <c:strCache>
                <c:ptCount val="1"/>
                <c:pt idx="0">
                  <c:v>Столбец 1</c:v>
                </c:pt>
              </c:strCache>
            </c:strRef>
          </c:tx>
          <c:spPr>
            <a:ln w="19050">
              <a:solidFill>
                <a:srgbClr val="FFFFFF"/>
              </a:solidFill>
            </a:ln>
          </c:spPr>
          <c:dPt>
            <c:idx val="0"/>
            <c:bubble3D val="0"/>
            <c:spPr>
              <a:solidFill>
                <a:srgbClr val="003865"/>
              </a:solidFill>
              <a:ln w="19050">
                <a:solidFill>
                  <a:srgbClr val="FFFFFF"/>
                </a:solidFill>
              </a:ln>
              <a:effectLst/>
            </c:spPr>
            <c:extLst>
              <c:ext xmlns:c16="http://schemas.microsoft.com/office/drawing/2014/chart" uri="{C3380CC4-5D6E-409C-BE32-E72D297353CC}">
                <c16:uniqueId val="{00000001-B534-41FC-AB02-88180E7A4B2C}"/>
              </c:ext>
            </c:extLst>
          </c:dPt>
          <c:dPt>
            <c:idx val="1"/>
            <c:bubble3D val="0"/>
            <c:spPr>
              <a:solidFill>
                <a:srgbClr val="00BAE5"/>
              </a:solidFill>
              <a:ln w="19050">
                <a:solidFill>
                  <a:srgbClr val="FFFFFF"/>
                </a:solidFill>
              </a:ln>
              <a:effectLst/>
            </c:spPr>
            <c:extLst>
              <c:ext xmlns:c16="http://schemas.microsoft.com/office/drawing/2014/chart" uri="{C3380CC4-5D6E-409C-BE32-E72D297353CC}">
                <c16:uniqueId val="{00000003-B534-41FC-AB02-88180E7A4B2C}"/>
              </c:ext>
            </c:extLst>
          </c:dPt>
          <c:dPt>
            <c:idx val="2"/>
            <c:bubble3D val="0"/>
            <c:spPr>
              <a:solidFill>
                <a:srgbClr val="FFD147"/>
              </a:solidFill>
              <a:ln w="19050">
                <a:solidFill>
                  <a:srgbClr val="FFFFFF"/>
                </a:solidFill>
              </a:ln>
              <a:effectLst/>
            </c:spPr>
            <c:extLst>
              <c:ext xmlns:c16="http://schemas.microsoft.com/office/drawing/2014/chart" uri="{C3380CC4-5D6E-409C-BE32-E72D297353CC}">
                <c16:uniqueId val="{00000005-B534-41FC-AB02-88180E7A4B2C}"/>
              </c:ext>
            </c:extLst>
          </c:dPt>
          <c:dPt>
            <c:idx val="3"/>
            <c:bubble3D val="0"/>
            <c:spPr>
              <a:solidFill>
                <a:srgbClr val="6AC6C8"/>
              </a:solidFill>
              <a:ln w="19050">
                <a:solidFill>
                  <a:srgbClr val="FFFFFF"/>
                </a:solidFill>
              </a:ln>
              <a:effectLst/>
            </c:spPr>
            <c:extLst>
              <c:ext xmlns:c16="http://schemas.microsoft.com/office/drawing/2014/chart" uri="{C3380CC4-5D6E-409C-BE32-E72D297353CC}">
                <c16:uniqueId val="{00000007-B534-41FC-AB02-88180E7A4B2C}"/>
              </c:ext>
            </c:extLst>
          </c:dPt>
          <c:dPt>
            <c:idx val="4"/>
            <c:bubble3D val="0"/>
            <c:spPr>
              <a:solidFill>
                <a:srgbClr val="3399FF"/>
              </a:solidFill>
              <a:ln w="19050">
                <a:solidFill>
                  <a:srgbClr val="FFFFFF"/>
                </a:solidFill>
              </a:ln>
              <a:effectLst/>
            </c:spPr>
            <c:extLst>
              <c:ext xmlns:c16="http://schemas.microsoft.com/office/drawing/2014/chart" uri="{C3380CC4-5D6E-409C-BE32-E72D297353CC}">
                <c16:uniqueId val="{00000009-B534-41FC-AB02-88180E7A4B2C}"/>
              </c:ext>
            </c:extLst>
          </c:dPt>
          <c:dPt>
            <c:idx val="5"/>
            <c:bubble3D val="0"/>
            <c:spPr>
              <a:solidFill>
                <a:srgbClr val="56DFFF"/>
              </a:solidFill>
              <a:ln w="19050">
                <a:solidFill>
                  <a:srgbClr val="FFFFFF"/>
                </a:solidFill>
              </a:ln>
              <a:effectLst/>
            </c:spPr>
            <c:extLst>
              <c:ext xmlns:c16="http://schemas.microsoft.com/office/drawing/2014/chart" uri="{C3380CC4-5D6E-409C-BE32-E72D297353CC}">
                <c16:uniqueId val="{0000000B-B534-41FC-AB02-88180E7A4B2C}"/>
              </c:ext>
            </c:extLst>
          </c:dPt>
          <c:dPt>
            <c:idx val="6"/>
            <c:bubble3D val="0"/>
            <c:spPr>
              <a:solidFill>
                <a:srgbClr val="235C5E"/>
              </a:solidFill>
              <a:ln w="19050">
                <a:solidFill>
                  <a:srgbClr val="FFFFFF"/>
                </a:solidFill>
              </a:ln>
              <a:effectLst/>
            </c:spPr>
            <c:extLst>
              <c:ext xmlns:c16="http://schemas.microsoft.com/office/drawing/2014/chart" uri="{C3380CC4-5D6E-409C-BE32-E72D297353CC}">
                <c16:uniqueId val="{0000000D-B534-41FC-AB02-88180E7A4B2C}"/>
              </c:ext>
            </c:extLst>
          </c:dPt>
          <c:dPt>
            <c:idx val="7"/>
            <c:bubble3D val="0"/>
            <c:spPr>
              <a:solidFill>
                <a:srgbClr val="3E4444">
                  <a:lumMod val="60000"/>
                  <a:lumOff val="40000"/>
                </a:srgbClr>
              </a:solidFill>
              <a:ln w="19050">
                <a:solidFill>
                  <a:srgbClr val="FFFFFF"/>
                </a:solidFill>
              </a:ln>
              <a:effectLst/>
            </c:spPr>
            <c:extLst>
              <c:ext xmlns:c16="http://schemas.microsoft.com/office/drawing/2014/chart" uri="{C3380CC4-5D6E-409C-BE32-E72D297353CC}">
                <c16:uniqueId val="{0000000F-B534-41FC-AB02-88180E7A4B2C}"/>
              </c:ext>
            </c:extLst>
          </c:dPt>
          <c:dPt>
            <c:idx val="8"/>
            <c:bubble3D val="0"/>
            <c:spPr>
              <a:solidFill>
                <a:srgbClr val="D9D9D9"/>
              </a:solidFill>
              <a:ln w="19050">
                <a:solidFill>
                  <a:srgbClr val="FFFFFF"/>
                </a:solidFill>
              </a:ln>
              <a:effectLst/>
            </c:spPr>
            <c:extLst>
              <c:ext xmlns:c16="http://schemas.microsoft.com/office/drawing/2014/chart" uri="{C3380CC4-5D6E-409C-BE32-E72D297353CC}">
                <c16:uniqueId val="{00000011-B534-41FC-AB02-88180E7A4B2C}"/>
              </c:ext>
            </c:extLst>
          </c:dPt>
          <c:cat>
            <c:strRef>
              <c:f>Sheet1!$A$2:$A$9</c:f>
              <c:strCache>
                <c:ptCount val="8"/>
                <c:pt idx="0">
                  <c:v>BRCA2 </c:v>
                </c:pt>
                <c:pt idx="1">
                  <c:v>BRCA1 </c:v>
                </c:pt>
                <c:pt idx="2">
                  <c:v>ATM </c:v>
                </c:pt>
                <c:pt idx="3">
                  <c:v>CDK12</c:v>
                </c:pt>
                <c:pt idx="4">
                  <c:v>CHEK2</c:v>
                </c:pt>
                <c:pt idx="5">
                  <c:v>Гены с низкой частотой встречаемости</c:v>
                </c:pt>
                <c:pt idx="6">
                  <c:v>Совместно встречающиеся гены</c:v>
                </c:pt>
                <c:pt idx="7">
                  <c:v>Отсутствуют </c:v>
                </c:pt>
              </c:strCache>
            </c:strRef>
          </c:cat>
          <c:val>
            <c:numRef>
              <c:f>Sheet1!$B$2:$B$9</c:f>
              <c:numCache>
                <c:formatCode>0.0%</c:formatCode>
                <c:ptCount val="8"/>
                <c:pt idx="0">
                  <c:v>7.4999999999999997E-2</c:v>
                </c:pt>
                <c:pt idx="1">
                  <c:v>1.2E-2</c:v>
                </c:pt>
                <c:pt idx="2">
                  <c:v>6.3E-2</c:v>
                </c:pt>
                <c:pt idx="3">
                  <c:v>5.0999999999999997E-2</c:v>
                </c:pt>
                <c:pt idx="4">
                  <c:v>2.4E-2</c:v>
                </c:pt>
                <c:pt idx="5">
                  <c:v>2.5000000000000001E-2</c:v>
                </c:pt>
                <c:pt idx="6">
                  <c:v>0.04</c:v>
                </c:pt>
                <c:pt idx="7">
                  <c:v>0.71</c:v>
                </c:pt>
              </c:numCache>
            </c:numRef>
          </c:val>
          <c:extLst>
            <c:ext xmlns:c16="http://schemas.microsoft.com/office/drawing/2014/chart" uri="{C3380CC4-5D6E-409C-BE32-E72D297353CC}">
              <c16:uniqueId val="{00000012-B534-41FC-AB02-88180E7A4B2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noFill/>
    </a:ln>
    <a:effectLst/>
  </c:spPr>
  <c:txPr>
    <a:bodyPr/>
    <a:lstStyle/>
    <a:p>
      <a:pPr>
        <a:defRPr sz="1000">
          <a:solidFill>
            <a:schemeClr val="tx1"/>
          </a:solidFill>
        </a:defRPr>
      </a:pPr>
      <a:endParaRPr lang="ru-RU"/>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46249347933070872"/>
          <c:y val="0.19071572399632603"/>
          <c:w val="0.50626304133858258"/>
          <c:h val="0.75939451529315227"/>
        </c:manualLayout>
      </c:layout>
      <c:pie3DChart>
        <c:varyColors val="1"/>
        <c:ser>
          <c:idx val="0"/>
          <c:order val="0"/>
          <c:tx>
            <c:strRef>
              <c:f>Лист1!$B$1</c:f>
              <c:strCache>
                <c:ptCount val="1"/>
                <c:pt idx="0">
                  <c:v>Столбец1</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B294-43E5-A12C-75A022223A15}"/>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B294-43E5-A12C-75A022223A15}"/>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B294-43E5-A12C-75A022223A15}"/>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B294-43E5-A12C-75A022223A15}"/>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B294-43E5-A12C-75A022223A15}"/>
              </c:ext>
            </c:extLst>
          </c:dPt>
          <c:dLbls>
            <c:dLbl>
              <c:idx val="0"/>
              <c:layout>
                <c:manualLayout>
                  <c:x val="-6.4422467191601204E-2"/>
                  <c:y val="-7.6520217581498032E-2"/>
                </c:manualLayout>
              </c:layout>
              <c:tx>
                <c:rich>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fld id="{1437453C-DFC0-4492-A1B6-2E167D899099}" type="CATEGORYNAME">
                      <a:rPr lang="ru-RU">
                        <a:solidFill>
                          <a:schemeClr val="bg1"/>
                        </a:solidFill>
                      </a:rPr>
                      <a:pPr>
                        <a:defRPr>
                          <a:solidFill>
                            <a:schemeClr val="bg1"/>
                          </a:solidFill>
                        </a:defRPr>
                      </a:pPr>
                      <a:t>[CATEGORY NAME]</a:t>
                    </a:fld>
                    <a:r>
                      <a:rPr lang="ru-RU" dirty="0">
                        <a:solidFill>
                          <a:schemeClr val="bg1"/>
                        </a:solidFill>
                      </a:rPr>
                      <a:t>
53,9%</a:t>
                    </a:r>
                  </a:p>
                </c:rich>
              </c:tx>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layout>
                    <c:manualLayout>
                      <c:w val="0.21218133333333333"/>
                      <c:h val="0.27578743961352659"/>
                    </c:manualLayout>
                  </c15:layout>
                  <c15:dlblFieldTable/>
                  <c15:showDataLabelsRange val="0"/>
                </c:ext>
                <c:ext xmlns:c16="http://schemas.microsoft.com/office/drawing/2014/chart" uri="{C3380CC4-5D6E-409C-BE32-E72D297353CC}">
                  <c16:uniqueId val="{00000001-B294-43E5-A12C-75A022223A15}"/>
                </c:ext>
              </c:extLst>
            </c:dLbl>
            <c:dLbl>
              <c:idx val="1"/>
              <c:layout>
                <c:manualLayout>
                  <c:x val="-1.8183055118110275E-2"/>
                  <c:y val="1.070485754498072E-2"/>
                </c:manualLayout>
              </c:layout>
              <c:tx>
                <c:rich>
                  <a:bodyPr rot="0" spcFirstLastPara="1" vertOverflow="ellipsis" vert="horz" wrap="square" anchor="ctr" anchorCtr="1"/>
                  <a:lstStyle/>
                  <a:p>
                    <a:pPr>
                      <a:defRPr sz="1400" b="1" i="0" u="none" strike="noStrike" kern="1200" spc="0" baseline="0">
                        <a:solidFill>
                          <a:schemeClr val="accent1"/>
                        </a:solidFill>
                        <a:latin typeface="+mn-lt"/>
                        <a:ea typeface="+mn-ea"/>
                        <a:cs typeface="+mn-cs"/>
                      </a:defRPr>
                    </a:pPr>
                    <a:fld id="{8E1B92D5-6CF0-4BDF-9F3F-0E8A7A0660C8}" type="CATEGORYNAME">
                      <a:rPr lang="ru-RU"/>
                      <a:pPr>
                        <a:defRPr>
                          <a:solidFill>
                            <a:schemeClr val="accent1"/>
                          </a:solidFill>
                        </a:defRPr>
                      </a:pPr>
                      <a:t>[CATEGORY NAME]</a:t>
                    </a:fld>
                    <a:r>
                      <a:rPr lang="ru-RU" dirty="0"/>
                      <a:t>
20,6%</a:t>
                    </a:r>
                  </a:p>
                </c:rich>
              </c:tx>
              <c:spPr>
                <a:noFill/>
                <a:ln>
                  <a:noFill/>
                </a:ln>
                <a:effectLst/>
              </c:spPr>
              <c:txPr>
                <a:bodyPr rot="0" spcFirstLastPara="1" vertOverflow="ellipsis" vert="horz" wrap="square" anchor="ctr" anchorCtr="1"/>
                <a:lstStyle/>
                <a:p>
                  <a:pPr>
                    <a:defRPr sz="1400" b="1" i="0" u="none" strike="noStrike" kern="1200" spc="0" baseline="0">
                      <a:solidFill>
                        <a:schemeClr val="accent1"/>
                      </a:solidFill>
                      <a:latin typeface="+mn-lt"/>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layout>
                    <c:manualLayout>
                      <c:w val="0.3141947123327582"/>
                      <c:h val="0.32403508771929823"/>
                    </c:manualLayout>
                  </c15:layout>
                  <c15:dlblFieldTable/>
                  <c15:showDataLabelsRange val="0"/>
                </c:ext>
                <c:ext xmlns:c16="http://schemas.microsoft.com/office/drawing/2014/chart" uri="{C3380CC4-5D6E-409C-BE32-E72D297353CC}">
                  <c16:uniqueId val="{00000003-B294-43E5-A12C-75A022223A15}"/>
                </c:ext>
              </c:extLst>
            </c:dLbl>
            <c:dLbl>
              <c:idx val="2"/>
              <c:layout>
                <c:manualLayout>
                  <c:x val="-1.4933333333333352E-2"/>
                  <c:y val="6.9565217391304349E-2"/>
                </c:manualLayout>
              </c:layout>
              <c:tx>
                <c:rich>
                  <a:bodyPr rot="0" spcFirstLastPara="1" vertOverflow="ellipsis" vert="horz" wrap="square" anchor="ctr" anchorCtr="1"/>
                  <a:lstStyle/>
                  <a:p>
                    <a:pPr>
                      <a:defRPr sz="1400" b="1" i="0" u="none" strike="noStrike" kern="1200" spc="0" baseline="0">
                        <a:solidFill>
                          <a:schemeClr val="accent1"/>
                        </a:solidFill>
                        <a:latin typeface="+mn-lt"/>
                        <a:ea typeface="+mn-ea"/>
                        <a:cs typeface="+mn-cs"/>
                      </a:defRPr>
                    </a:pPr>
                    <a:fld id="{8CC1852A-1EE0-43E2-AC88-36C67E2CF9B7}" type="CATEGORYNAME">
                      <a:rPr lang="ru-RU"/>
                      <a:pPr>
                        <a:defRPr>
                          <a:solidFill>
                            <a:schemeClr val="accent1"/>
                          </a:solidFill>
                        </a:defRPr>
                      </a:pPr>
                      <a:t>[CATEGORY NAME]</a:t>
                    </a:fld>
                    <a:r>
                      <a:rPr lang="ru-RU" dirty="0"/>
                      <a:t>
20,7%</a:t>
                    </a:r>
                  </a:p>
                </c:rich>
              </c:tx>
              <c:numFmt formatCode="0.00%" sourceLinked="0"/>
              <c:spPr>
                <a:noFill/>
                <a:ln>
                  <a:noFill/>
                </a:ln>
                <a:effectLst/>
              </c:spPr>
              <c:txPr>
                <a:bodyPr rot="0" spcFirstLastPara="1" vertOverflow="ellipsis" vert="horz" wrap="square" anchor="ctr" anchorCtr="1"/>
                <a:lstStyle/>
                <a:p>
                  <a:pPr>
                    <a:defRPr sz="1400" b="1" i="0" u="none" strike="noStrike" kern="1200" spc="0" baseline="0">
                      <a:solidFill>
                        <a:schemeClr val="accent1"/>
                      </a:solidFill>
                      <a:latin typeface="+mn-lt"/>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layout>
                    <c:manualLayout>
                      <c:w val="0.39923552755905511"/>
                      <c:h val="0.29767979002624673"/>
                    </c:manualLayout>
                  </c15:layout>
                  <c15:dlblFieldTable/>
                  <c15:showDataLabelsRange val="0"/>
                </c:ext>
                <c:ext xmlns:c16="http://schemas.microsoft.com/office/drawing/2014/chart" uri="{C3380CC4-5D6E-409C-BE32-E72D297353CC}">
                  <c16:uniqueId val="{00000005-B294-43E5-A12C-75A022223A15}"/>
                </c:ext>
              </c:extLst>
            </c:dLbl>
            <c:dLbl>
              <c:idx val="3"/>
              <c:layout>
                <c:manualLayout>
                  <c:x val="-9.6379516902292406E-3"/>
                  <c:y val="-4.6560862079194146E-2"/>
                </c:manualLayout>
              </c:layout>
              <c:tx>
                <c:rich>
                  <a:bodyPr rot="0" spcFirstLastPara="1" vertOverflow="ellipsis" vert="horz" wrap="square" anchor="ctr" anchorCtr="1"/>
                  <a:lstStyle/>
                  <a:p>
                    <a:pPr>
                      <a:defRPr sz="1400" b="1" i="0" u="none" strike="noStrike" kern="1200" spc="0" baseline="0">
                        <a:solidFill>
                          <a:schemeClr val="accent1"/>
                        </a:solidFill>
                        <a:latin typeface="+mn-lt"/>
                        <a:ea typeface="+mn-ea"/>
                        <a:cs typeface="+mn-cs"/>
                      </a:defRPr>
                    </a:pPr>
                    <a:fld id="{CBAFCDFD-B321-4D7A-ABFC-78378DDC9057}" type="CATEGORYNAME">
                      <a:rPr lang="ru-RU"/>
                      <a:pPr>
                        <a:defRPr>
                          <a:solidFill>
                            <a:schemeClr val="accent1"/>
                          </a:solidFill>
                        </a:defRPr>
                      </a:pPr>
                      <a:t>[CATEGORY NAME]</a:t>
                    </a:fld>
                    <a:r>
                      <a:rPr lang="ru-RU" dirty="0"/>
                      <a:t>
</a:t>
                    </a:r>
                    <a:fld id="{B8BC8C8B-D216-4CE9-A6C8-99C859F8FF24}" type="VALUE">
                      <a:rPr lang="ru-RU"/>
                      <a:pPr>
                        <a:defRPr>
                          <a:solidFill>
                            <a:schemeClr val="accent1"/>
                          </a:solidFill>
                        </a:defRPr>
                      </a:pPr>
                      <a:t>[VALUE]</a:t>
                    </a:fld>
                    <a:endParaRPr lang="ru-RU" dirty="0"/>
                  </a:p>
                </c:rich>
              </c:tx>
              <c:spPr>
                <a:noFill/>
                <a:ln>
                  <a:noFill/>
                </a:ln>
                <a:effectLst/>
              </c:spPr>
              <c:txPr>
                <a:bodyPr rot="0" spcFirstLastPara="1" vertOverflow="ellipsis" vert="horz" wrap="square" anchor="ctr" anchorCtr="1"/>
                <a:lstStyle/>
                <a:p>
                  <a:pPr>
                    <a:defRPr sz="1400" b="1" i="0" u="none" strike="noStrike" kern="1200" spc="0" baseline="0">
                      <a:solidFill>
                        <a:schemeClr val="accent1"/>
                      </a:solidFill>
                      <a:latin typeface="+mn-lt"/>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layout>
                    <c:manualLayout>
                      <c:w val="0.18365866666666666"/>
                      <c:h val="0.27578743961352659"/>
                    </c:manualLayout>
                  </c15:layout>
                  <c15:dlblFieldTable/>
                  <c15:showDataLabelsRange val="0"/>
                </c:ext>
                <c:ext xmlns:c16="http://schemas.microsoft.com/office/drawing/2014/chart" uri="{C3380CC4-5D6E-409C-BE32-E72D297353CC}">
                  <c16:uniqueId val="{00000007-B294-43E5-A12C-75A022223A15}"/>
                </c:ext>
              </c:extLst>
            </c:dLbl>
            <c:dLbl>
              <c:idx val="4"/>
              <c:layout>
                <c:manualLayout>
                  <c:x val="8.1692994095018512E-2"/>
                  <c:y val="-1.6931222574252402E-2"/>
                </c:manualLayout>
              </c:layout>
              <c:spPr>
                <a:noFill/>
                <a:ln>
                  <a:noFill/>
                </a:ln>
                <a:effectLst/>
              </c:spPr>
              <c:txPr>
                <a:bodyPr rot="0" spcFirstLastPara="1" vertOverflow="ellipsis" vert="horz" wrap="square" anchor="ctr" anchorCtr="1"/>
                <a:lstStyle/>
                <a:p>
                  <a:pPr>
                    <a:defRPr sz="1400" b="1" i="0" u="none" strike="noStrike" kern="1200" spc="0" baseline="0">
                      <a:solidFill>
                        <a:schemeClr val="accent5"/>
                      </a:solidFill>
                      <a:latin typeface="+mn-lt"/>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layout>
                    <c:manualLayout>
                      <c:w val="0.27744000000000002"/>
                      <c:h val="0.27578743961352659"/>
                    </c:manualLayout>
                  </c15:layout>
                </c:ext>
                <c:ext xmlns:c16="http://schemas.microsoft.com/office/drawing/2014/chart" uri="{C3380CC4-5D6E-409C-BE32-E72D297353CC}">
                  <c16:uniqueId val="{00000009-B294-43E5-A12C-75A022223A15}"/>
                </c:ext>
              </c:extLst>
            </c:dLbl>
            <c:spPr>
              <a:noFill/>
              <a:ln>
                <a:noFill/>
              </a:ln>
              <a:effectLst/>
            </c:spPr>
            <c:txPr>
              <a:bodyPr rot="0" spcFirstLastPara="1" vertOverflow="ellipsis" vert="horz" wrap="square" anchor="ctr" anchorCtr="1"/>
              <a:lstStyle/>
              <a:p>
                <a:pPr>
                  <a:defRPr sz="1400" b="1" i="0" u="none" strike="noStrike" kern="1200" spc="0" baseline="0">
                    <a:solidFill>
                      <a:schemeClr val="accent1"/>
                    </a:solidFill>
                    <a:latin typeface="+mn-lt"/>
                    <a:ea typeface="+mn-ea"/>
                    <a:cs typeface="+mn-cs"/>
                  </a:defRPr>
                </a:pPr>
                <a:endParaRPr lang="ru-RU"/>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6</c:f>
              <c:strCache>
                <c:ptCount val="5"/>
                <c:pt idx="0">
                  <c:v>Только хирургическое лечение</c:v>
                </c:pt>
                <c:pt idx="1">
                  <c:v>Только лучевое лечение</c:v>
                </c:pt>
                <c:pt idx="2">
                  <c:v>Комбинированное, кроме ХЛТ</c:v>
                </c:pt>
                <c:pt idx="3">
                  <c:v>Химио-лучевая терапия</c:v>
                </c:pt>
                <c:pt idx="4">
                  <c:v>Только лекарственная терапия</c:v>
                </c:pt>
              </c:strCache>
            </c:strRef>
          </c:cat>
          <c:val>
            <c:numRef>
              <c:f>Лист1!$B$2:$B$6</c:f>
              <c:numCache>
                <c:formatCode>0.00%</c:formatCode>
                <c:ptCount val="5"/>
                <c:pt idx="0">
                  <c:v>0.53900000000000003</c:v>
                </c:pt>
                <c:pt idx="1">
                  <c:v>0.20599999999999999</c:v>
                </c:pt>
                <c:pt idx="2">
                  <c:v>0.20699999999999999</c:v>
                </c:pt>
                <c:pt idx="3">
                  <c:v>4.8000000000000001E-2</c:v>
                </c:pt>
                <c:pt idx="4" formatCode="General">
                  <c:v>0</c:v>
                </c:pt>
              </c:numCache>
            </c:numRef>
          </c:val>
          <c:extLst>
            <c:ext xmlns:c16="http://schemas.microsoft.com/office/drawing/2014/chart" uri="{C3380CC4-5D6E-409C-BE32-E72D297353CC}">
              <c16:uniqueId val="{0000000A-B294-43E5-A12C-75A022223A15}"/>
            </c:ext>
          </c:extLst>
        </c:ser>
        <c:dLbls>
          <c:dLblPos val="outEnd"/>
          <c:showLegendKey val="0"/>
          <c:showVal val="0"/>
          <c:showCatName val="0"/>
          <c:showSerName val="0"/>
          <c:showPercent val="1"/>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1"/>
      </a:solidFill>
    </a:ln>
    <a:effectLst/>
  </c:spPr>
  <c:txPr>
    <a:bodyPr/>
    <a:lstStyle/>
    <a:p>
      <a:pPr>
        <a:defRPr sz="1400"/>
      </a:pPr>
      <a:endParaRPr lang="ru-R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759041839042368E-2"/>
          <c:y val="1.5882508128247984E-3"/>
          <c:w val="0.89029491073496536"/>
          <c:h val="0.95149844461726452"/>
        </c:manualLayout>
      </c:layout>
      <c:barChart>
        <c:barDir val="bar"/>
        <c:grouping val="stacked"/>
        <c:varyColors val="0"/>
        <c:ser>
          <c:idx val="0"/>
          <c:order val="0"/>
          <c:tx>
            <c:strRef>
              <c:f>Лист1!$B$1</c:f>
              <c:strCache>
                <c:ptCount val="1"/>
                <c:pt idx="0">
                  <c:v>С 60</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21</c:f>
              <c:numCache>
                <c:formatCode>General</c:formatCode>
                <c:ptCount val="20"/>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0</c:v>
                </c:pt>
                <c:pt idx="18">
                  <c:v>2021</c:v>
                </c:pt>
                <c:pt idx="19">
                  <c:v>2022</c:v>
                </c:pt>
              </c:numCache>
            </c:numRef>
          </c:cat>
          <c:val>
            <c:numRef>
              <c:f>Лист1!$B$2:$B$21</c:f>
              <c:numCache>
                <c:formatCode>General</c:formatCode>
                <c:ptCount val="20"/>
                <c:pt idx="0">
                  <c:v>12</c:v>
                </c:pt>
                <c:pt idx="1">
                  <c:v>9</c:v>
                </c:pt>
                <c:pt idx="2">
                  <c:v>7</c:v>
                </c:pt>
                <c:pt idx="3">
                  <c:v>15</c:v>
                </c:pt>
                <c:pt idx="4">
                  <c:v>8</c:v>
                </c:pt>
                <c:pt idx="5">
                  <c:v>10</c:v>
                </c:pt>
                <c:pt idx="6">
                  <c:v>23</c:v>
                </c:pt>
                <c:pt idx="7">
                  <c:v>7</c:v>
                </c:pt>
                <c:pt idx="8">
                  <c:v>16</c:v>
                </c:pt>
                <c:pt idx="9">
                  <c:v>12</c:v>
                </c:pt>
                <c:pt idx="10">
                  <c:v>12</c:v>
                </c:pt>
                <c:pt idx="11">
                  <c:v>12</c:v>
                </c:pt>
                <c:pt idx="12">
                  <c:v>10</c:v>
                </c:pt>
                <c:pt idx="13">
                  <c:v>13</c:v>
                </c:pt>
                <c:pt idx="14">
                  <c:v>15</c:v>
                </c:pt>
                <c:pt idx="15">
                  <c:v>15</c:v>
                </c:pt>
                <c:pt idx="16">
                  <c:v>15</c:v>
                </c:pt>
                <c:pt idx="17">
                  <c:v>11</c:v>
                </c:pt>
                <c:pt idx="18">
                  <c:v>23</c:v>
                </c:pt>
                <c:pt idx="19">
                  <c:v>19</c:v>
                </c:pt>
              </c:numCache>
            </c:numRef>
          </c:val>
          <c:extLst>
            <c:ext xmlns:c16="http://schemas.microsoft.com/office/drawing/2014/chart" uri="{C3380CC4-5D6E-409C-BE32-E72D297353CC}">
              <c16:uniqueId val="{00000000-97CF-41F6-AF7A-92F327EE03AA}"/>
            </c:ext>
          </c:extLst>
        </c:ser>
        <c:ser>
          <c:idx val="1"/>
          <c:order val="1"/>
          <c:tx>
            <c:strRef>
              <c:f>Лист1!$C$1</c:f>
              <c:strCache>
                <c:ptCount val="1"/>
                <c:pt idx="0">
                  <c:v>С 61</c:v>
                </c:pt>
              </c:strCache>
            </c:strRef>
          </c:tx>
          <c:invertIfNegative val="0"/>
          <c:dLbls>
            <c:dLbl>
              <c:idx val="19"/>
              <c:showLegendKey val="0"/>
              <c:showVal val="1"/>
              <c:showCatName val="0"/>
              <c:showSerName val="0"/>
              <c:showPercent val="0"/>
              <c:showBubbleSize val="0"/>
              <c:extLst>
                <c:ext xmlns:c15="http://schemas.microsoft.com/office/drawing/2012/chart" uri="{CE6537A1-D6FC-4f65-9D91-7224C49458BB}">
                  <c15:layout>
                    <c:manualLayout>
                      <c:w val="5.1110124333925401E-2"/>
                      <c:h val="5.6942872104708747E-2"/>
                    </c:manualLayout>
                  </c15:layout>
                </c:ext>
                <c:ext xmlns:c16="http://schemas.microsoft.com/office/drawing/2014/chart" uri="{C3380CC4-5D6E-409C-BE32-E72D297353CC}">
                  <c16:uniqueId val="{00000000-E204-4490-AEB6-A43E28F009CC}"/>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21</c:f>
              <c:numCache>
                <c:formatCode>General</c:formatCode>
                <c:ptCount val="20"/>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0</c:v>
                </c:pt>
                <c:pt idx="18">
                  <c:v>2021</c:v>
                </c:pt>
                <c:pt idx="19">
                  <c:v>2022</c:v>
                </c:pt>
              </c:numCache>
            </c:numRef>
          </c:cat>
          <c:val>
            <c:numRef>
              <c:f>Лист1!$C$2:$C$21</c:f>
              <c:numCache>
                <c:formatCode>General</c:formatCode>
                <c:ptCount val="20"/>
                <c:pt idx="0">
                  <c:v>380</c:v>
                </c:pt>
                <c:pt idx="1">
                  <c:v>373</c:v>
                </c:pt>
                <c:pt idx="2">
                  <c:v>425</c:v>
                </c:pt>
                <c:pt idx="3">
                  <c:v>517</c:v>
                </c:pt>
                <c:pt idx="4">
                  <c:v>601</c:v>
                </c:pt>
                <c:pt idx="5">
                  <c:v>713</c:v>
                </c:pt>
                <c:pt idx="6">
                  <c:v>673</c:v>
                </c:pt>
                <c:pt idx="7">
                  <c:v>719</c:v>
                </c:pt>
                <c:pt idx="8">
                  <c:v>866</c:v>
                </c:pt>
                <c:pt idx="9">
                  <c:v>910</c:v>
                </c:pt>
                <c:pt idx="10">
                  <c:v>1031</c:v>
                </c:pt>
                <c:pt idx="11">
                  <c:v>1181</c:v>
                </c:pt>
                <c:pt idx="12">
                  <c:v>1198</c:v>
                </c:pt>
                <c:pt idx="13">
                  <c:v>1234</c:v>
                </c:pt>
                <c:pt idx="14">
                  <c:v>1201</c:v>
                </c:pt>
                <c:pt idx="15">
                  <c:v>1295</c:v>
                </c:pt>
                <c:pt idx="16">
                  <c:v>1509</c:v>
                </c:pt>
                <c:pt idx="17">
                  <c:v>1345</c:v>
                </c:pt>
                <c:pt idx="18">
                  <c:v>1363</c:v>
                </c:pt>
                <c:pt idx="19">
                  <c:v>1709</c:v>
                </c:pt>
              </c:numCache>
            </c:numRef>
          </c:val>
          <c:extLst>
            <c:ext xmlns:c16="http://schemas.microsoft.com/office/drawing/2014/chart" uri="{C3380CC4-5D6E-409C-BE32-E72D297353CC}">
              <c16:uniqueId val="{00000001-97CF-41F6-AF7A-92F327EE03AA}"/>
            </c:ext>
          </c:extLst>
        </c:ser>
        <c:ser>
          <c:idx val="2"/>
          <c:order val="2"/>
          <c:tx>
            <c:strRef>
              <c:f>Лист1!$D$1</c:f>
              <c:strCache>
                <c:ptCount val="1"/>
                <c:pt idx="0">
                  <c:v>С 62</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21</c:f>
              <c:numCache>
                <c:formatCode>General</c:formatCode>
                <c:ptCount val="20"/>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0</c:v>
                </c:pt>
                <c:pt idx="18">
                  <c:v>2021</c:v>
                </c:pt>
                <c:pt idx="19">
                  <c:v>2022</c:v>
                </c:pt>
              </c:numCache>
            </c:numRef>
          </c:cat>
          <c:val>
            <c:numRef>
              <c:f>Лист1!$D$2:$D$21</c:f>
              <c:numCache>
                <c:formatCode>General</c:formatCode>
                <c:ptCount val="20"/>
                <c:pt idx="0">
                  <c:v>38</c:v>
                </c:pt>
                <c:pt idx="1">
                  <c:v>24</c:v>
                </c:pt>
                <c:pt idx="2">
                  <c:v>30</c:v>
                </c:pt>
                <c:pt idx="3">
                  <c:v>31</c:v>
                </c:pt>
                <c:pt idx="4">
                  <c:v>30</c:v>
                </c:pt>
                <c:pt idx="5">
                  <c:v>27</c:v>
                </c:pt>
                <c:pt idx="6">
                  <c:v>34</c:v>
                </c:pt>
                <c:pt idx="7">
                  <c:v>36</c:v>
                </c:pt>
                <c:pt idx="8">
                  <c:v>38</c:v>
                </c:pt>
                <c:pt idx="9">
                  <c:v>35</c:v>
                </c:pt>
                <c:pt idx="10">
                  <c:v>35</c:v>
                </c:pt>
                <c:pt idx="11">
                  <c:v>54</c:v>
                </c:pt>
                <c:pt idx="12">
                  <c:v>40</c:v>
                </c:pt>
                <c:pt idx="13">
                  <c:v>40</c:v>
                </c:pt>
                <c:pt idx="14">
                  <c:v>47</c:v>
                </c:pt>
                <c:pt idx="15">
                  <c:v>47</c:v>
                </c:pt>
                <c:pt idx="16">
                  <c:v>47</c:v>
                </c:pt>
                <c:pt idx="17">
                  <c:v>34</c:v>
                </c:pt>
                <c:pt idx="18">
                  <c:v>31</c:v>
                </c:pt>
                <c:pt idx="19">
                  <c:v>32</c:v>
                </c:pt>
              </c:numCache>
            </c:numRef>
          </c:val>
          <c:extLst>
            <c:ext xmlns:c16="http://schemas.microsoft.com/office/drawing/2014/chart" uri="{C3380CC4-5D6E-409C-BE32-E72D297353CC}">
              <c16:uniqueId val="{00000002-97CF-41F6-AF7A-92F327EE03AA}"/>
            </c:ext>
          </c:extLst>
        </c:ser>
        <c:ser>
          <c:idx val="3"/>
          <c:order val="3"/>
          <c:tx>
            <c:strRef>
              <c:f>Лист1!$E$1</c:f>
              <c:strCache>
                <c:ptCount val="1"/>
                <c:pt idx="0">
                  <c:v>С 64</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21</c:f>
              <c:numCache>
                <c:formatCode>General</c:formatCode>
                <c:ptCount val="20"/>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0</c:v>
                </c:pt>
                <c:pt idx="18">
                  <c:v>2021</c:v>
                </c:pt>
                <c:pt idx="19">
                  <c:v>2022</c:v>
                </c:pt>
              </c:numCache>
            </c:numRef>
          </c:cat>
          <c:val>
            <c:numRef>
              <c:f>Лист1!$E$2:$E$21</c:f>
              <c:numCache>
                <c:formatCode>General</c:formatCode>
                <c:ptCount val="20"/>
                <c:pt idx="0">
                  <c:v>515</c:v>
                </c:pt>
                <c:pt idx="1">
                  <c:v>440</c:v>
                </c:pt>
                <c:pt idx="2">
                  <c:v>506</c:v>
                </c:pt>
                <c:pt idx="3">
                  <c:v>518</c:v>
                </c:pt>
                <c:pt idx="4">
                  <c:v>491</c:v>
                </c:pt>
                <c:pt idx="5">
                  <c:v>503</c:v>
                </c:pt>
                <c:pt idx="6">
                  <c:v>527</c:v>
                </c:pt>
                <c:pt idx="7">
                  <c:v>529</c:v>
                </c:pt>
                <c:pt idx="8">
                  <c:v>589</c:v>
                </c:pt>
                <c:pt idx="9">
                  <c:v>560</c:v>
                </c:pt>
                <c:pt idx="10">
                  <c:v>603</c:v>
                </c:pt>
                <c:pt idx="11">
                  <c:v>640</c:v>
                </c:pt>
                <c:pt idx="12">
                  <c:v>652</c:v>
                </c:pt>
                <c:pt idx="13">
                  <c:v>689</c:v>
                </c:pt>
                <c:pt idx="14">
                  <c:v>683</c:v>
                </c:pt>
                <c:pt idx="15">
                  <c:v>647</c:v>
                </c:pt>
                <c:pt idx="16">
                  <c:v>689</c:v>
                </c:pt>
                <c:pt idx="17">
                  <c:v>589</c:v>
                </c:pt>
                <c:pt idx="18">
                  <c:v>618</c:v>
                </c:pt>
                <c:pt idx="19">
                  <c:v>685</c:v>
                </c:pt>
              </c:numCache>
            </c:numRef>
          </c:val>
          <c:extLst>
            <c:ext xmlns:c16="http://schemas.microsoft.com/office/drawing/2014/chart" uri="{C3380CC4-5D6E-409C-BE32-E72D297353CC}">
              <c16:uniqueId val="{00000003-97CF-41F6-AF7A-92F327EE03AA}"/>
            </c:ext>
          </c:extLst>
        </c:ser>
        <c:ser>
          <c:idx val="4"/>
          <c:order val="4"/>
          <c:tx>
            <c:strRef>
              <c:f>Лист1!$F$1</c:f>
              <c:strCache>
                <c:ptCount val="1"/>
                <c:pt idx="0">
                  <c:v>С 67</c:v>
                </c:pt>
              </c:strCache>
            </c:strRef>
          </c:tx>
          <c:invertIfNegative val="0"/>
          <c:dLbls>
            <c:dLbl>
              <c:idx val="0"/>
              <c:layout>
                <c:manualLayout>
                  <c:x val="7.6227405994437475E-2"/>
                  <c:y val="-1.7157798818409901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7CF-41F6-AF7A-92F327EE03AA}"/>
                </c:ext>
              </c:extLst>
            </c:dLbl>
            <c:dLbl>
              <c:idx val="1"/>
              <c:layout>
                <c:manualLayout>
                  <c:x val="7.1743440935941205E-2"/>
                  <c:y val="-2.33972686728627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7CF-41F6-AF7A-92F327EE03AA}"/>
                </c:ext>
              </c:extLst>
            </c:dLbl>
            <c:dLbl>
              <c:idx val="2"/>
              <c:layout>
                <c:manualLayout>
                  <c:x val="7.1743440935941205E-2"/>
                  <c:y val="-7.019180601858725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7CF-41F6-AF7A-92F327EE03AA}"/>
                </c:ext>
              </c:extLst>
            </c:dLbl>
            <c:dLbl>
              <c:idx val="3"/>
              <c:layout>
                <c:manualLayout>
                  <c:x val="8.5195336111430181E-2"/>
                  <c:y val="-7.019180601858811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7CF-41F6-AF7A-92F327EE03AA}"/>
                </c:ext>
              </c:extLst>
            </c:dLbl>
            <c:dLbl>
              <c:idx val="4"/>
              <c:layout>
                <c:manualLayout>
                  <c:x val="7.473275097493875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7CF-41F6-AF7A-92F327EE03AA}"/>
                </c:ext>
              </c:extLst>
            </c:dLbl>
            <c:dLbl>
              <c:idx val="5"/>
              <c:layout>
                <c:manualLayout>
                  <c:x val="7.9216716033435081E-2"/>
                  <c:y val="2.33972686728618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7CF-41F6-AF7A-92F327EE03AA}"/>
                </c:ext>
              </c:extLst>
            </c:dLbl>
            <c:dLbl>
              <c:idx val="6"/>
              <c:layout>
                <c:manualLayout>
                  <c:x val="7.622740599443741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7CF-41F6-AF7A-92F327EE03AA}"/>
                </c:ext>
              </c:extLst>
            </c:dLbl>
            <c:dLbl>
              <c:idx val="7"/>
              <c:layout>
                <c:manualLayout>
                  <c:x val="7.9216716033434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7CF-41F6-AF7A-92F327EE03AA}"/>
                </c:ext>
              </c:extLst>
            </c:dLbl>
            <c:dLbl>
              <c:idx val="8"/>
              <c:layout>
                <c:manualLayout>
                  <c:x val="7.4732750974938755E-2"/>
                  <c:y val="-8.5788994092049503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7CF-41F6-AF7A-92F327EE03AA}"/>
                </c:ext>
              </c:extLst>
            </c:dLbl>
            <c:dLbl>
              <c:idx val="9"/>
              <c:layout>
                <c:manualLayout>
                  <c:x val="7.622740599443753E-2"/>
                  <c:y val="-2.339726867286356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7CF-41F6-AF7A-92F327EE03AA}"/>
                </c:ext>
              </c:extLst>
            </c:dLbl>
            <c:dLbl>
              <c:idx val="10"/>
              <c:layout>
                <c:manualLayout>
                  <c:x val="7.4732750974938755E-2"/>
                  <c:y val="-2.33972686728627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7CF-41F6-AF7A-92F327EE03AA}"/>
                </c:ext>
              </c:extLst>
            </c:dLbl>
            <c:dLbl>
              <c:idx val="11"/>
              <c:layout>
                <c:manualLayout>
                  <c:x val="7.921671603343497E-2"/>
                  <c:y val="-2.339726867286313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7CF-41F6-AF7A-92F327EE03AA}"/>
                </c:ext>
              </c:extLst>
            </c:dLbl>
            <c:dLbl>
              <c:idx val="12"/>
              <c:layout>
                <c:manualLayout>
                  <c:x val="8.3700681091931406E-2"/>
                  <c:y val="-2.33972686728624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97CF-41F6-AF7A-92F327EE03AA}"/>
                </c:ext>
              </c:extLst>
            </c:dLbl>
            <c:dLbl>
              <c:idx val="13"/>
              <c:layout>
                <c:manualLayout>
                  <c:x val="8.370068109193129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7CF-41F6-AF7A-92F327EE03AA}"/>
                </c:ext>
              </c:extLst>
            </c:dLbl>
            <c:dLbl>
              <c:idx val="14"/>
              <c:layout>
                <c:manualLayout>
                  <c:x val="0.10910981642341058"/>
                  <c:y val="-2.339634752055275E-3"/>
                </c:manualLayout>
              </c:layout>
              <c:spPr>
                <a:noFill/>
                <a:ln>
                  <a:noFill/>
                </a:ln>
                <a:effectLst/>
              </c:spPr>
              <c:txPr>
                <a:bodyPr wrap="square" lIns="38100" tIns="19050" rIns="38100" bIns="19050" anchor="ctr">
                  <a:noAutofit/>
                </a:bodyPr>
                <a:lstStyle/>
                <a:p>
                  <a:pPr>
                    <a:defRPr/>
                  </a:pPr>
                  <a:endParaRPr lang="ru-RU"/>
                </a:p>
              </c:txPr>
              <c:showLegendKey val="0"/>
              <c:showVal val="1"/>
              <c:showCatName val="0"/>
              <c:showSerName val="0"/>
              <c:showPercent val="0"/>
              <c:showBubbleSize val="0"/>
              <c:extLst>
                <c:ext xmlns:c15="http://schemas.microsoft.com/office/drawing/2012/chart" uri="{CE6537A1-D6FC-4f65-9D91-7224C49458BB}">
                  <c15:layout>
                    <c:manualLayout>
                      <c:w val="8.1271807840560095E-2"/>
                      <c:h val="3.9716955687415435E-2"/>
                    </c:manualLayout>
                  </c15:layout>
                </c:ext>
                <c:ext xmlns:c16="http://schemas.microsoft.com/office/drawing/2014/chart" uri="{C3380CC4-5D6E-409C-BE32-E72D297353CC}">
                  <c16:uniqueId val="{00000012-97CF-41F6-AF7A-92F327EE03AA}"/>
                </c:ext>
              </c:extLst>
            </c:dLbl>
            <c:dLbl>
              <c:idx val="15"/>
              <c:layout>
                <c:manualLayout>
                  <c:x val="8.519533611143018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97CF-41F6-AF7A-92F327EE03AA}"/>
                </c:ext>
              </c:extLst>
            </c:dLbl>
            <c:dLbl>
              <c:idx val="16"/>
              <c:layout>
                <c:manualLayout>
                  <c:x val="8.220602607243252E-2"/>
                  <c:y val="2.3397268672862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97CF-41F6-AF7A-92F327EE03AA}"/>
                </c:ext>
              </c:extLst>
            </c:dLbl>
            <c:dLbl>
              <c:idx val="17"/>
              <c:layout>
                <c:manualLayout>
                  <c:x val="8.220602607243252E-2"/>
                  <c:y val="-2.33972686728627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97CF-41F6-AF7A-92F327EE03AA}"/>
                </c:ext>
              </c:extLst>
            </c:dLbl>
            <c:dLbl>
              <c:idx val="18"/>
              <c:layout>
                <c:manualLayout>
                  <c:x val="8.071137105293374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97CF-41F6-AF7A-92F327EE03A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21</c:f>
              <c:numCache>
                <c:formatCode>General</c:formatCode>
                <c:ptCount val="20"/>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0</c:v>
                </c:pt>
                <c:pt idx="18">
                  <c:v>2021</c:v>
                </c:pt>
                <c:pt idx="19">
                  <c:v>2022</c:v>
                </c:pt>
              </c:numCache>
            </c:numRef>
          </c:cat>
          <c:val>
            <c:numRef>
              <c:f>Лист1!$F$2:$F$21</c:f>
              <c:numCache>
                <c:formatCode>General</c:formatCode>
                <c:ptCount val="20"/>
                <c:pt idx="0">
                  <c:v>348</c:v>
                </c:pt>
                <c:pt idx="1">
                  <c:v>352</c:v>
                </c:pt>
                <c:pt idx="2">
                  <c:v>339</c:v>
                </c:pt>
                <c:pt idx="3">
                  <c:v>356</c:v>
                </c:pt>
                <c:pt idx="4">
                  <c:v>328</c:v>
                </c:pt>
                <c:pt idx="5">
                  <c:v>367</c:v>
                </c:pt>
                <c:pt idx="6">
                  <c:v>332</c:v>
                </c:pt>
                <c:pt idx="7">
                  <c:v>361</c:v>
                </c:pt>
                <c:pt idx="8">
                  <c:v>352</c:v>
                </c:pt>
                <c:pt idx="9">
                  <c:v>356</c:v>
                </c:pt>
                <c:pt idx="10">
                  <c:v>337</c:v>
                </c:pt>
                <c:pt idx="11">
                  <c:v>354</c:v>
                </c:pt>
                <c:pt idx="12">
                  <c:v>418</c:v>
                </c:pt>
                <c:pt idx="13">
                  <c:v>378</c:v>
                </c:pt>
                <c:pt idx="14">
                  <c:v>465</c:v>
                </c:pt>
                <c:pt idx="15">
                  <c:v>439</c:v>
                </c:pt>
                <c:pt idx="16">
                  <c:v>422</c:v>
                </c:pt>
                <c:pt idx="17">
                  <c:v>416</c:v>
                </c:pt>
                <c:pt idx="18">
                  <c:v>400</c:v>
                </c:pt>
                <c:pt idx="19">
                  <c:v>461</c:v>
                </c:pt>
              </c:numCache>
            </c:numRef>
          </c:val>
          <c:extLst>
            <c:ext xmlns:c16="http://schemas.microsoft.com/office/drawing/2014/chart" uri="{C3380CC4-5D6E-409C-BE32-E72D297353CC}">
              <c16:uniqueId val="{00000017-97CF-41F6-AF7A-92F327EE03AA}"/>
            </c:ext>
          </c:extLst>
        </c:ser>
        <c:dLbls>
          <c:showLegendKey val="0"/>
          <c:showVal val="0"/>
          <c:showCatName val="0"/>
          <c:showSerName val="0"/>
          <c:showPercent val="0"/>
          <c:showBubbleSize val="0"/>
        </c:dLbls>
        <c:gapWidth val="150"/>
        <c:overlap val="100"/>
        <c:axId val="65387136"/>
        <c:axId val="65397120"/>
      </c:barChart>
      <c:catAx>
        <c:axId val="65387136"/>
        <c:scaling>
          <c:orientation val="minMax"/>
        </c:scaling>
        <c:delete val="0"/>
        <c:axPos val="l"/>
        <c:numFmt formatCode="General" sourceLinked="1"/>
        <c:majorTickMark val="out"/>
        <c:minorTickMark val="none"/>
        <c:tickLblPos val="nextTo"/>
        <c:crossAx val="65397120"/>
        <c:crosses val="autoZero"/>
        <c:auto val="1"/>
        <c:lblAlgn val="ctr"/>
        <c:lblOffset val="100"/>
        <c:noMultiLvlLbl val="0"/>
      </c:catAx>
      <c:valAx>
        <c:axId val="65397120"/>
        <c:scaling>
          <c:orientation val="minMax"/>
        </c:scaling>
        <c:delete val="1"/>
        <c:axPos val="b"/>
        <c:numFmt formatCode="General" sourceLinked="1"/>
        <c:majorTickMark val="out"/>
        <c:minorTickMark val="none"/>
        <c:tickLblPos val="none"/>
        <c:crossAx val="65387136"/>
        <c:crosses val="autoZero"/>
        <c:crossBetween val="between"/>
      </c:valAx>
    </c:plotArea>
    <c:legend>
      <c:legendPos val="r"/>
      <c:layout>
        <c:manualLayout>
          <c:xMode val="edge"/>
          <c:yMode val="edge"/>
          <c:x val="0.86157568585026556"/>
          <c:y val="0.28334685624800532"/>
          <c:w val="0.12158466473777899"/>
          <c:h val="0.6752304555888563"/>
        </c:manualLayout>
      </c:layout>
      <c:overlay val="0"/>
    </c:legend>
    <c:plotVisOnly val="1"/>
    <c:dispBlanksAs val="gap"/>
    <c:showDLblsOverMax val="0"/>
  </c:chart>
  <c:txPr>
    <a:bodyPr/>
    <a:lstStyle/>
    <a:p>
      <a:pPr>
        <a:defRPr sz="1800"/>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cked"/>
        <c:varyColors val="0"/>
        <c:ser>
          <c:idx val="0"/>
          <c:order val="0"/>
          <c:tx>
            <c:strRef>
              <c:f>Лист1!$B$1</c:f>
              <c:strCache>
                <c:ptCount val="1"/>
                <c:pt idx="0">
                  <c:v>С60</c:v>
                </c:pt>
              </c:strCache>
            </c:strRef>
          </c:tx>
          <c:spPr>
            <a:ln w="57150"/>
          </c:spPr>
          <c:marker>
            <c:symbol val="none"/>
          </c:marker>
          <c:cat>
            <c:numRef>
              <c:f>Лист1!$A$2:$A$21</c:f>
              <c:numCache>
                <c:formatCode>General</c:formatCode>
                <c:ptCount val="20"/>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0</c:v>
                </c:pt>
                <c:pt idx="18">
                  <c:v>2021</c:v>
                </c:pt>
                <c:pt idx="19">
                  <c:v>2022</c:v>
                </c:pt>
              </c:numCache>
            </c:numRef>
          </c:cat>
          <c:val>
            <c:numRef>
              <c:f>Лист1!$B$2:$B$21</c:f>
              <c:numCache>
                <c:formatCode>General</c:formatCode>
                <c:ptCount val="20"/>
                <c:pt idx="0">
                  <c:v>0.72</c:v>
                </c:pt>
                <c:pt idx="1">
                  <c:v>0.55000000000000004</c:v>
                </c:pt>
                <c:pt idx="2">
                  <c:v>0.43</c:v>
                </c:pt>
                <c:pt idx="3">
                  <c:v>0.92</c:v>
                </c:pt>
                <c:pt idx="4">
                  <c:v>0.5</c:v>
                </c:pt>
                <c:pt idx="5">
                  <c:v>0.62</c:v>
                </c:pt>
                <c:pt idx="6">
                  <c:v>1.43</c:v>
                </c:pt>
                <c:pt idx="7">
                  <c:v>0.4</c:v>
                </c:pt>
                <c:pt idx="8">
                  <c:v>1</c:v>
                </c:pt>
                <c:pt idx="9">
                  <c:v>0.75</c:v>
                </c:pt>
                <c:pt idx="10">
                  <c:v>0.75</c:v>
                </c:pt>
                <c:pt idx="11">
                  <c:v>0.8</c:v>
                </c:pt>
                <c:pt idx="12">
                  <c:v>0.6</c:v>
                </c:pt>
                <c:pt idx="13">
                  <c:v>0.8</c:v>
                </c:pt>
                <c:pt idx="14">
                  <c:v>0.9</c:v>
                </c:pt>
                <c:pt idx="15">
                  <c:v>0.63</c:v>
                </c:pt>
                <c:pt idx="19">
                  <c:v>1.2</c:v>
                </c:pt>
              </c:numCache>
            </c:numRef>
          </c:val>
          <c:smooth val="0"/>
          <c:extLst>
            <c:ext xmlns:c16="http://schemas.microsoft.com/office/drawing/2014/chart" uri="{C3380CC4-5D6E-409C-BE32-E72D297353CC}">
              <c16:uniqueId val="{00000000-3A70-4212-9F63-67C2B3B4CAC4}"/>
            </c:ext>
          </c:extLst>
        </c:ser>
        <c:ser>
          <c:idx val="1"/>
          <c:order val="1"/>
          <c:tx>
            <c:strRef>
              <c:f>Лист1!$C$1</c:f>
              <c:strCache>
                <c:ptCount val="1"/>
                <c:pt idx="0">
                  <c:v>С62</c:v>
                </c:pt>
              </c:strCache>
            </c:strRef>
          </c:tx>
          <c:spPr>
            <a:ln w="63500"/>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1-3A70-4212-9F63-67C2B3B4CAC4}"/>
                </c:ext>
              </c:extLst>
            </c:dLbl>
            <c:dLbl>
              <c:idx val="3"/>
              <c:delete val="1"/>
              <c:extLst>
                <c:ext xmlns:c15="http://schemas.microsoft.com/office/drawing/2012/chart" uri="{CE6537A1-D6FC-4f65-9D91-7224C49458BB}"/>
                <c:ext xmlns:c16="http://schemas.microsoft.com/office/drawing/2014/chart" uri="{C3380CC4-5D6E-409C-BE32-E72D297353CC}">
                  <c16:uniqueId val="{00000002-3A70-4212-9F63-67C2B3B4CAC4}"/>
                </c:ext>
              </c:extLst>
            </c:dLbl>
            <c:dLbl>
              <c:idx val="5"/>
              <c:delete val="1"/>
              <c:extLst>
                <c:ext xmlns:c15="http://schemas.microsoft.com/office/drawing/2012/chart" uri="{CE6537A1-D6FC-4f65-9D91-7224C49458BB}"/>
                <c:ext xmlns:c16="http://schemas.microsoft.com/office/drawing/2014/chart" uri="{C3380CC4-5D6E-409C-BE32-E72D297353CC}">
                  <c16:uniqueId val="{00000003-3A70-4212-9F63-67C2B3B4CAC4}"/>
                </c:ext>
              </c:extLst>
            </c:dLbl>
            <c:dLbl>
              <c:idx val="7"/>
              <c:delete val="1"/>
              <c:extLst>
                <c:ext xmlns:c15="http://schemas.microsoft.com/office/drawing/2012/chart" uri="{CE6537A1-D6FC-4f65-9D91-7224C49458BB}"/>
                <c:ext xmlns:c16="http://schemas.microsoft.com/office/drawing/2014/chart" uri="{C3380CC4-5D6E-409C-BE32-E72D297353CC}">
                  <c16:uniqueId val="{00000004-3A70-4212-9F63-67C2B3B4CAC4}"/>
                </c:ext>
              </c:extLst>
            </c:dLbl>
            <c:dLbl>
              <c:idx val="9"/>
              <c:delete val="1"/>
              <c:extLst>
                <c:ext xmlns:c15="http://schemas.microsoft.com/office/drawing/2012/chart" uri="{CE6537A1-D6FC-4f65-9D91-7224C49458BB}"/>
                <c:ext xmlns:c16="http://schemas.microsoft.com/office/drawing/2014/chart" uri="{C3380CC4-5D6E-409C-BE32-E72D297353CC}">
                  <c16:uniqueId val="{00000005-3A70-4212-9F63-67C2B3B4CAC4}"/>
                </c:ext>
              </c:extLst>
            </c:dLbl>
            <c:dLbl>
              <c:idx val="11"/>
              <c:delete val="1"/>
              <c:extLst>
                <c:ext xmlns:c15="http://schemas.microsoft.com/office/drawing/2012/chart" uri="{CE6537A1-D6FC-4f65-9D91-7224C49458BB}"/>
                <c:ext xmlns:c16="http://schemas.microsoft.com/office/drawing/2014/chart" uri="{C3380CC4-5D6E-409C-BE32-E72D297353CC}">
                  <c16:uniqueId val="{00000006-3A70-4212-9F63-67C2B3B4CAC4}"/>
                </c:ext>
              </c:extLst>
            </c:dLbl>
            <c:dLbl>
              <c:idx val="13"/>
              <c:delete val="1"/>
              <c:extLst>
                <c:ext xmlns:c15="http://schemas.microsoft.com/office/drawing/2012/chart" uri="{CE6537A1-D6FC-4f65-9D91-7224C49458BB}"/>
                <c:ext xmlns:c16="http://schemas.microsoft.com/office/drawing/2014/chart" uri="{C3380CC4-5D6E-409C-BE32-E72D297353CC}">
                  <c16:uniqueId val="{00000007-3A70-4212-9F63-67C2B3B4CAC4}"/>
                </c:ext>
              </c:extLst>
            </c:dLbl>
            <c:dLbl>
              <c:idx val="14"/>
              <c:layout>
                <c:manualLayout>
                  <c:x val="-8.9679301169925604E-3"/>
                  <c:y val="-2.93948820501425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A70-4212-9F63-67C2B3B4CAC4}"/>
                </c:ext>
              </c:extLst>
            </c:dLbl>
            <c:spPr>
              <a:noFill/>
              <a:ln>
                <a:noFill/>
              </a:ln>
              <a:effectLst/>
            </c:spPr>
            <c:txPr>
              <a:bodyPr wrap="square" lIns="38100" tIns="19050" rIns="38100" bIns="19050" anchor="ctr">
                <a:spAutoFit/>
              </a:bodyPr>
              <a:lstStyle/>
              <a:p>
                <a:pPr>
                  <a:defRPr sz="1200" baseline="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21</c:f>
              <c:numCache>
                <c:formatCode>General</c:formatCode>
                <c:ptCount val="20"/>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0</c:v>
                </c:pt>
                <c:pt idx="18">
                  <c:v>2021</c:v>
                </c:pt>
                <c:pt idx="19">
                  <c:v>2022</c:v>
                </c:pt>
              </c:numCache>
            </c:numRef>
          </c:cat>
          <c:val>
            <c:numRef>
              <c:f>Лист1!$C$2:$C$21</c:f>
              <c:numCache>
                <c:formatCode>General</c:formatCode>
                <c:ptCount val="20"/>
                <c:pt idx="0">
                  <c:v>2.2999999999999998</c:v>
                </c:pt>
                <c:pt idx="1">
                  <c:v>1.5</c:v>
                </c:pt>
                <c:pt idx="2">
                  <c:v>1.8</c:v>
                </c:pt>
                <c:pt idx="3">
                  <c:v>1.9</c:v>
                </c:pt>
                <c:pt idx="4">
                  <c:v>1.9</c:v>
                </c:pt>
                <c:pt idx="5">
                  <c:v>1.7</c:v>
                </c:pt>
                <c:pt idx="6">
                  <c:v>2.1</c:v>
                </c:pt>
                <c:pt idx="7">
                  <c:v>2.2999999999999998</c:v>
                </c:pt>
                <c:pt idx="8">
                  <c:v>2.4</c:v>
                </c:pt>
                <c:pt idx="9">
                  <c:v>2.2000000000000002</c:v>
                </c:pt>
                <c:pt idx="10">
                  <c:v>2.2000000000000002</c:v>
                </c:pt>
                <c:pt idx="11">
                  <c:v>3.4</c:v>
                </c:pt>
                <c:pt idx="12">
                  <c:v>2.5</c:v>
                </c:pt>
                <c:pt idx="13">
                  <c:v>2.5</c:v>
                </c:pt>
                <c:pt idx="14">
                  <c:v>2.9</c:v>
                </c:pt>
                <c:pt idx="15">
                  <c:v>2.2999999999999998</c:v>
                </c:pt>
                <c:pt idx="17">
                  <c:v>2.1</c:v>
                </c:pt>
                <c:pt idx="18">
                  <c:v>2</c:v>
                </c:pt>
                <c:pt idx="19">
                  <c:v>2</c:v>
                </c:pt>
              </c:numCache>
            </c:numRef>
          </c:val>
          <c:smooth val="0"/>
          <c:extLst>
            <c:ext xmlns:c16="http://schemas.microsoft.com/office/drawing/2014/chart" uri="{C3380CC4-5D6E-409C-BE32-E72D297353CC}">
              <c16:uniqueId val="{00000009-3A70-4212-9F63-67C2B3B4CAC4}"/>
            </c:ext>
          </c:extLst>
        </c:ser>
        <c:ser>
          <c:idx val="2"/>
          <c:order val="2"/>
          <c:tx>
            <c:strRef>
              <c:f>Лист1!$D$1</c:f>
              <c:strCache>
                <c:ptCount val="1"/>
                <c:pt idx="0">
                  <c:v>С67</c:v>
                </c:pt>
              </c:strCache>
            </c:strRef>
          </c:tx>
          <c:spPr>
            <a:ln w="63500"/>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A-3A70-4212-9F63-67C2B3B4CAC4}"/>
                </c:ext>
              </c:extLst>
            </c:dLbl>
            <c:dLbl>
              <c:idx val="3"/>
              <c:delete val="1"/>
              <c:extLst>
                <c:ext xmlns:c15="http://schemas.microsoft.com/office/drawing/2012/chart" uri="{CE6537A1-D6FC-4f65-9D91-7224C49458BB}"/>
                <c:ext xmlns:c16="http://schemas.microsoft.com/office/drawing/2014/chart" uri="{C3380CC4-5D6E-409C-BE32-E72D297353CC}">
                  <c16:uniqueId val="{0000000B-3A70-4212-9F63-67C2B3B4CAC4}"/>
                </c:ext>
              </c:extLst>
            </c:dLbl>
            <c:dLbl>
              <c:idx val="5"/>
              <c:delete val="1"/>
              <c:extLst>
                <c:ext xmlns:c15="http://schemas.microsoft.com/office/drawing/2012/chart" uri="{CE6537A1-D6FC-4f65-9D91-7224C49458BB}"/>
                <c:ext xmlns:c16="http://schemas.microsoft.com/office/drawing/2014/chart" uri="{C3380CC4-5D6E-409C-BE32-E72D297353CC}">
                  <c16:uniqueId val="{0000000C-3A70-4212-9F63-67C2B3B4CAC4}"/>
                </c:ext>
              </c:extLst>
            </c:dLbl>
            <c:dLbl>
              <c:idx val="7"/>
              <c:delete val="1"/>
              <c:extLst>
                <c:ext xmlns:c15="http://schemas.microsoft.com/office/drawing/2012/chart" uri="{CE6537A1-D6FC-4f65-9D91-7224C49458BB}"/>
                <c:ext xmlns:c16="http://schemas.microsoft.com/office/drawing/2014/chart" uri="{C3380CC4-5D6E-409C-BE32-E72D297353CC}">
                  <c16:uniqueId val="{0000000D-3A70-4212-9F63-67C2B3B4CAC4}"/>
                </c:ext>
              </c:extLst>
            </c:dLbl>
            <c:dLbl>
              <c:idx val="9"/>
              <c:delete val="1"/>
              <c:extLst>
                <c:ext xmlns:c15="http://schemas.microsoft.com/office/drawing/2012/chart" uri="{CE6537A1-D6FC-4f65-9D91-7224C49458BB}"/>
                <c:ext xmlns:c16="http://schemas.microsoft.com/office/drawing/2014/chart" uri="{C3380CC4-5D6E-409C-BE32-E72D297353CC}">
                  <c16:uniqueId val="{0000000E-3A70-4212-9F63-67C2B3B4CAC4}"/>
                </c:ext>
              </c:extLst>
            </c:dLbl>
            <c:dLbl>
              <c:idx val="11"/>
              <c:delete val="1"/>
              <c:extLst>
                <c:ext xmlns:c15="http://schemas.microsoft.com/office/drawing/2012/chart" uri="{CE6537A1-D6FC-4f65-9D91-7224C49458BB}"/>
                <c:ext xmlns:c16="http://schemas.microsoft.com/office/drawing/2014/chart" uri="{C3380CC4-5D6E-409C-BE32-E72D297353CC}">
                  <c16:uniqueId val="{0000000F-3A70-4212-9F63-67C2B3B4CAC4}"/>
                </c:ext>
              </c:extLst>
            </c:dLbl>
            <c:dLbl>
              <c:idx val="13"/>
              <c:delete val="1"/>
              <c:extLst>
                <c:ext xmlns:c15="http://schemas.microsoft.com/office/drawing/2012/chart" uri="{CE6537A1-D6FC-4f65-9D91-7224C49458BB}"/>
                <c:ext xmlns:c16="http://schemas.microsoft.com/office/drawing/2014/chart" uri="{C3380CC4-5D6E-409C-BE32-E72D297353CC}">
                  <c16:uniqueId val="{00000010-3A70-4212-9F63-67C2B3B4CAC4}"/>
                </c:ext>
              </c:extLst>
            </c:dLbl>
            <c:dLbl>
              <c:idx val="14"/>
              <c:layout>
                <c:manualLayout>
                  <c:x val="-1.7935860233985249E-2"/>
                  <c:y val="-2.713373727705479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3A70-4212-9F63-67C2B3B4CAC4}"/>
                </c:ext>
              </c:extLst>
            </c:dLbl>
            <c:spPr>
              <a:noFill/>
              <a:ln>
                <a:noFill/>
              </a:ln>
              <a:effectLst/>
            </c:spPr>
            <c:txPr>
              <a:bodyPr wrap="square" lIns="38100" tIns="19050" rIns="38100" bIns="19050" anchor="ctr">
                <a:spAutoFit/>
              </a:bodyPr>
              <a:lstStyle/>
              <a:p>
                <a:pPr>
                  <a:defRPr sz="1200" baseline="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21</c:f>
              <c:numCache>
                <c:formatCode>General</c:formatCode>
                <c:ptCount val="20"/>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0</c:v>
                </c:pt>
                <c:pt idx="18">
                  <c:v>2021</c:v>
                </c:pt>
                <c:pt idx="19">
                  <c:v>2022</c:v>
                </c:pt>
              </c:numCache>
            </c:numRef>
          </c:cat>
          <c:val>
            <c:numRef>
              <c:f>Лист1!$D$2:$D$21</c:f>
              <c:numCache>
                <c:formatCode>General</c:formatCode>
                <c:ptCount val="20"/>
                <c:pt idx="0">
                  <c:v>9.6999999999999993</c:v>
                </c:pt>
                <c:pt idx="1">
                  <c:v>9.9</c:v>
                </c:pt>
                <c:pt idx="2">
                  <c:v>9.6</c:v>
                </c:pt>
                <c:pt idx="3">
                  <c:v>10</c:v>
                </c:pt>
                <c:pt idx="4">
                  <c:v>9.3000000000000007</c:v>
                </c:pt>
                <c:pt idx="5">
                  <c:v>10.5</c:v>
                </c:pt>
                <c:pt idx="6">
                  <c:v>9.5</c:v>
                </c:pt>
                <c:pt idx="7">
                  <c:v>10.5</c:v>
                </c:pt>
                <c:pt idx="8">
                  <c:v>10</c:v>
                </c:pt>
                <c:pt idx="9">
                  <c:v>10.1</c:v>
                </c:pt>
                <c:pt idx="10">
                  <c:v>9.6999999999999993</c:v>
                </c:pt>
                <c:pt idx="11">
                  <c:v>10.199999999999999</c:v>
                </c:pt>
                <c:pt idx="12">
                  <c:v>12</c:v>
                </c:pt>
                <c:pt idx="13">
                  <c:v>10.8</c:v>
                </c:pt>
                <c:pt idx="14">
                  <c:v>13.3</c:v>
                </c:pt>
                <c:pt idx="15">
                  <c:v>12.6</c:v>
                </c:pt>
                <c:pt idx="16">
                  <c:v>12.1</c:v>
                </c:pt>
                <c:pt idx="17">
                  <c:v>12</c:v>
                </c:pt>
                <c:pt idx="18">
                  <c:v>11.6</c:v>
                </c:pt>
                <c:pt idx="19">
                  <c:v>13.5</c:v>
                </c:pt>
              </c:numCache>
            </c:numRef>
          </c:val>
          <c:smooth val="0"/>
          <c:extLst>
            <c:ext xmlns:c16="http://schemas.microsoft.com/office/drawing/2014/chart" uri="{C3380CC4-5D6E-409C-BE32-E72D297353CC}">
              <c16:uniqueId val="{00000012-3A70-4212-9F63-67C2B3B4CAC4}"/>
            </c:ext>
          </c:extLst>
        </c:ser>
        <c:ser>
          <c:idx val="3"/>
          <c:order val="3"/>
          <c:tx>
            <c:strRef>
              <c:f>Лист1!$E$1</c:f>
              <c:strCache>
                <c:ptCount val="1"/>
                <c:pt idx="0">
                  <c:v>С64</c:v>
                </c:pt>
              </c:strCache>
            </c:strRef>
          </c:tx>
          <c:spPr>
            <a:ln w="63500"/>
          </c:spPr>
          <c:marker>
            <c:symbol val="none"/>
          </c:marker>
          <c:dLbls>
            <c:dLbl>
              <c:idx val="0"/>
              <c:layout>
                <c:manualLayout>
                  <c:x val="-2.3914480311980367E-2"/>
                  <c:y val="-2.26114477308789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A70-4212-9F63-67C2B3B4CAC4}"/>
                </c:ext>
              </c:extLst>
            </c:dLbl>
            <c:dLbl>
              <c:idx val="1"/>
              <c:layout>
                <c:manualLayout>
                  <c:x val="-2.241982529248164E-2"/>
                  <c:y val="2.035030295779101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3A70-4212-9F63-67C2B3B4CAC4}"/>
                </c:ext>
              </c:extLst>
            </c:dLbl>
            <c:dLbl>
              <c:idx val="2"/>
              <c:layout>
                <c:manualLayout>
                  <c:x val="-1.3451895175488981E-2"/>
                  <c:y val="-2.71337372770547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A70-4212-9F63-67C2B3B4CAC4}"/>
                </c:ext>
              </c:extLst>
            </c:dLbl>
            <c:dLbl>
              <c:idx val="3"/>
              <c:layout>
                <c:manualLayout>
                  <c:x val="-5.9786200779951143E-3"/>
                  <c:y val="-3.16560268232305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3A70-4212-9F63-67C2B3B4CAC4}"/>
                </c:ext>
              </c:extLst>
            </c:dLbl>
            <c:dLbl>
              <c:idx val="4"/>
              <c:layout>
                <c:manualLayout>
                  <c:x val="-1.3451895175488981E-2"/>
                  <c:y val="1.80891581847030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3A70-4212-9F63-67C2B3B4CAC4}"/>
                </c:ext>
              </c:extLst>
            </c:dLbl>
            <c:dLbl>
              <c:idx val="5"/>
              <c:layout>
                <c:manualLayout>
                  <c:x val="-4.4839650584963375E-3"/>
                  <c:y val="-2.03503029577911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3A70-4212-9F63-67C2B3B4CAC4}"/>
                </c:ext>
              </c:extLst>
            </c:dLbl>
            <c:dLbl>
              <c:idx val="6"/>
              <c:layout>
                <c:manualLayout>
                  <c:x val="-4.4839650584963375E-3"/>
                  <c:y val="-2.71337372770547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A70-4212-9F63-67C2B3B4CAC4}"/>
                </c:ext>
              </c:extLst>
            </c:dLbl>
            <c:dLbl>
              <c:idx val="7"/>
              <c:layout>
                <c:manualLayout>
                  <c:x val="-1.1957240155990196E-2"/>
                  <c:y val="-3.61783163694062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3A70-4212-9F63-67C2B3B4CAC4}"/>
                </c:ext>
              </c:extLst>
            </c:dLbl>
            <c:dLbl>
              <c:idx val="8"/>
              <c:layout>
                <c:manualLayout>
                  <c:x val="-1.1957240155990196E-2"/>
                  <c:y val="-3.84394611424940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3A70-4212-9F63-67C2B3B4CAC4}"/>
                </c:ext>
              </c:extLst>
            </c:dLbl>
            <c:dLbl>
              <c:idx val="9"/>
              <c:layout>
                <c:manualLayout>
                  <c:x val="-1.0462585136491441E-2"/>
                  <c:y val="2.261144773087985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3A70-4212-9F63-67C2B3B4CAC4}"/>
                </c:ext>
              </c:extLst>
            </c:dLbl>
            <c:dLbl>
              <c:idx val="10"/>
              <c:layout>
                <c:manualLayout>
                  <c:x val="-2.690379035097799E-2"/>
                  <c:y val="-4.07006059155821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3A70-4212-9F63-67C2B3B4CAC4}"/>
                </c:ext>
              </c:extLst>
            </c:dLbl>
            <c:dLbl>
              <c:idx val="11"/>
              <c:layout>
                <c:manualLayout>
                  <c:x val="-1.0462585136491441E-2"/>
                  <c:y val="-3.39171715963183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3A70-4212-9F63-67C2B3B4CAC4}"/>
                </c:ext>
              </c:extLst>
            </c:dLbl>
            <c:dLbl>
              <c:idx val="13"/>
              <c:layout>
                <c:manualLayout>
                  <c:x val="-1.4946550194987805E-3"/>
                  <c:y val="-3.84394611424941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3A70-4212-9F63-67C2B3B4CAC4}"/>
                </c:ext>
              </c:extLst>
            </c:dLbl>
            <c:spPr>
              <a:noFill/>
              <a:ln>
                <a:noFill/>
              </a:ln>
              <a:effectLst/>
            </c:spPr>
            <c:txPr>
              <a:bodyPr wrap="square" lIns="38100" tIns="19050" rIns="38100" bIns="19050" anchor="ctr">
                <a:spAutoFit/>
              </a:bodyPr>
              <a:lstStyle/>
              <a:p>
                <a:pPr>
                  <a:defRPr sz="1200" baseline="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21</c:f>
              <c:numCache>
                <c:formatCode>General</c:formatCode>
                <c:ptCount val="20"/>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0</c:v>
                </c:pt>
                <c:pt idx="18">
                  <c:v>2021</c:v>
                </c:pt>
                <c:pt idx="19">
                  <c:v>2022</c:v>
                </c:pt>
              </c:numCache>
            </c:numRef>
          </c:cat>
          <c:val>
            <c:numRef>
              <c:f>Лист1!$E$2:$E$21</c:f>
              <c:numCache>
                <c:formatCode>General</c:formatCode>
                <c:ptCount val="20"/>
                <c:pt idx="0">
                  <c:v>14.3</c:v>
                </c:pt>
                <c:pt idx="1">
                  <c:v>12.3</c:v>
                </c:pt>
                <c:pt idx="2">
                  <c:v>14.3</c:v>
                </c:pt>
                <c:pt idx="3">
                  <c:v>14.7</c:v>
                </c:pt>
                <c:pt idx="4">
                  <c:v>14</c:v>
                </c:pt>
                <c:pt idx="5">
                  <c:v>14.3</c:v>
                </c:pt>
                <c:pt idx="6">
                  <c:v>15</c:v>
                </c:pt>
                <c:pt idx="7">
                  <c:v>15.4</c:v>
                </c:pt>
                <c:pt idx="8">
                  <c:v>16.8</c:v>
                </c:pt>
                <c:pt idx="9">
                  <c:v>16</c:v>
                </c:pt>
                <c:pt idx="10">
                  <c:v>17.3</c:v>
                </c:pt>
                <c:pt idx="11">
                  <c:v>18.399999999999999</c:v>
                </c:pt>
                <c:pt idx="12">
                  <c:v>16.899999999999999</c:v>
                </c:pt>
                <c:pt idx="13">
                  <c:v>19.7</c:v>
                </c:pt>
                <c:pt idx="14">
                  <c:v>19.5</c:v>
                </c:pt>
                <c:pt idx="15">
                  <c:v>18.5</c:v>
                </c:pt>
                <c:pt idx="16">
                  <c:v>19.8</c:v>
                </c:pt>
                <c:pt idx="17">
                  <c:v>17.100000000000001</c:v>
                </c:pt>
                <c:pt idx="18">
                  <c:v>18</c:v>
                </c:pt>
                <c:pt idx="19">
                  <c:v>20</c:v>
                </c:pt>
              </c:numCache>
            </c:numRef>
          </c:val>
          <c:smooth val="0"/>
          <c:extLst>
            <c:ext xmlns:c16="http://schemas.microsoft.com/office/drawing/2014/chart" uri="{C3380CC4-5D6E-409C-BE32-E72D297353CC}">
              <c16:uniqueId val="{00000020-3A70-4212-9F63-67C2B3B4CAC4}"/>
            </c:ext>
          </c:extLst>
        </c:ser>
        <c:ser>
          <c:idx val="4"/>
          <c:order val="4"/>
          <c:tx>
            <c:strRef>
              <c:f>Лист1!$F$1</c:f>
              <c:strCache>
                <c:ptCount val="1"/>
                <c:pt idx="0">
                  <c:v>С 61</c:v>
                </c:pt>
              </c:strCache>
            </c:strRef>
          </c:tx>
          <c:spPr>
            <a:ln w="63500"/>
          </c:spPr>
          <c:marker>
            <c:symbol val="none"/>
          </c:marker>
          <c:dLbls>
            <c:dLbl>
              <c:idx val="0"/>
              <c:layout>
                <c:manualLayout>
                  <c:x val="-2.3914480311980367E-2"/>
                  <c:y val="-1.80891581847031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3A70-4212-9F63-67C2B3B4CAC4}"/>
                </c:ext>
              </c:extLst>
            </c:dLbl>
            <c:dLbl>
              <c:idx val="1"/>
              <c:layout>
                <c:manualLayout>
                  <c:x val="-2.241982529248164E-2"/>
                  <c:y val="2.26114477308789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3A70-4212-9F63-67C2B3B4CAC4}"/>
                </c:ext>
              </c:extLst>
            </c:dLbl>
            <c:dLbl>
              <c:idx val="3"/>
              <c:layout>
                <c:manualLayout>
                  <c:x val="-4.7828960623960824E-2"/>
                  <c:y val="-1.58280134116152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3A70-4212-9F63-67C2B3B4CAC4}"/>
                </c:ext>
              </c:extLst>
            </c:dLbl>
            <c:dLbl>
              <c:idx val="5"/>
              <c:layout>
                <c:manualLayout>
                  <c:x val="-4.6334305604461987E-2"/>
                  <c:y val="-9.044579092351604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3A70-4212-9F63-67C2B3B4CAC4}"/>
                </c:ext>
              </c:extLst>
            </c:dLbl>
            <c:dLbl>
              <c:idx val="7"/>
              <c:layout>
                <c:manualLayout>
                  <c:x val="-4.6334305604461987E-2"/>
                  <c:y val="-2.48725925039668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3A70-4212-9F63-67C2B3B4CAC4}"/>
                </c:ext>
              </c:extLst>
            </c:dLbl>
            <c:dLbl>
              <c:idx val="8"/>
              <c:layout>
                <c:manualLayout>
                  <c:x val="-4.4839650584963336E-2"/>
                  <c:y val="-1.13057238654394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3A70-4212-9F63-67C2B3B4CAC4}"/>
                </c:ext>
              </c:extLst>
            </c:dLbl>
            <c:dLbl>
              <c:idx val="11"/>
              <c:layout>
                <c:manualLayout>
                  <c:x val="-4.3344995565464457E-2"/>
                  <c:y val="-9.044579092351562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3A70-4212-9F63-67C2B3B4CAC4}"/>
                </c:ext>
              </c:extLst>
            </c:dLbl>
            <c:dLbl>
              <c:idx val="12"/>
              <c:layout>
                <c:manualLayout>
                  <c:x val="-2.690379035097799E-2"/>
                  <c:y val="-3.39171715963183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3A70-4212-9F63-67C2B3B4CAC4}"/>
                </c:ext>
              </c:extLst>
            </c:dLbl>
            <c:dLbl>
              <c:idx val="13"/>
              <c:layout>
                <c:manualLayout>
                  <c:x val="-8.9679301169926784E-3"/>
                  <c:y val="-1.80891581847031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3A70-4212-9F63-67C2B3B4CAC4}"/>
                </c:ext>
              </c:extLst>
            </c:dLbl>
            <c:dLbl>
              <c:idx val="14"/>
              <c:layout>
                <c:manualLayout>
                  <c:x val="1.0960676857650073E-16"/>
                  <c:y val="2.26114477308789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3A70-4212-9F63-67C2B3B4CAC4}"/>
                </c:ext>
              </c:extLst>
            </c:dLbl>
            <c:spPr>
              <a:noFill/>
              <a:ln>
                <a:noFill/>
              </a:ln>
              <a:effectLst/>
            </c:spPr>
            <c:txPr>
              <a:bodyPr wrap="square" lIns="38100" tIns="19050" rIns="38100" bIns="19050" anchor="ctr">
                <a:spAutoFit/>
              </a:bodyPr>
              <a:lstStyle/>
              <a:p>
                <a:pPr>
                  <a:defRPr sz="1600" baseline="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21</c:f>
              <c:numCache>
                <c:formatCode>General</c:formatCode>
                <c:ptCount val="20"/>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0</c:v>
                </c:pt>
                <c:pt idx="18">
                  <c:v>2021</c:v>
                </c:pt>
                <c:pt idx="19">
                  <c:v>2022</c:v>
                </c:pt>
              </c:numCache>
            </c:numRef>
          </c:cat>
          <c:val>
            <c:numRef>
              <c:f>Лист1!$F$2:$F$21</c:f>
              <c:numCache>
                <c:formatCode>General</c:formatCode>
                <c:ptCount val="20"/>
                <c:pt idx="0">
                  <c:v>22.8</c:v>
                </c:pt>
                <c:pt idx="1">
                  <c:v>22.6</c:v>
                </c:pt>
                <c:pt idx="2">
                  <c:v>26</c:v>
                </c:pt>
                <c:pt idx="3">
                  <c:v>31.8</c:v>
                </c:pt>
                <c:pt idx="4">
                  <c:v>37.200000000000003</c:v>
                </c:pt>
                <c:pt idx="5">
                  <c:v>44.2</c:v>
                </c:pt>
                <c:pt idx="6">
                  <c:v>41.8</c:v>
                </c:pt>
                <c:pt idx="7">
                  <c:v>46.1</c:v>
                </c:pt>
                <c:pt idx="8">
                  <c:v>53.8</c:v>
                </c:pt>
                <c:pt idx="9">
                  <c:v>56.5</c:v>
                </c:pt>
                <c:pt idx="10">
                  <c:v>64.599999999999994</c:v>
                </c:pt>
                <c:pt idx="11">
                  <c:v>74</c:v>
                </c:pt>
                <c:pt idx="12">
                  <c:v>74.8</c:v>
                </c:pt>
                <c:pt idx="13">
                  <c:v>77</c:v>
                </c:pt>
                <c:pt idx="14">
                  <c:v>74.900000000000006</c:v>
                </c:pt>
                <c:pt idx="15">
                  <c:v>80.099999999999994</c:v>
                </c:pt>
                <c:pt idx="16">
                  <c:v>94.8</c:v>
                </c:pt>
                <c:pt idx="17">
                  <c:v>84.7</c:v>
                </c:pt>
                <c:pt idx="18">
                  <c:v>86.4</c:v>
                </c:pt>
                <c:pt idx="19">
                  <c:v>109</c:v>
                </c:pt>
              </c:numCache>
            </c:numRef>
          </c:val>
          <c:smooth val="0"/>
          <c:extLst>
            <c:ext xmlns:c16="http://schemas.microsoft.com/office/drawing/2014/chart" uri="{C3380CC4-5D6E-409C-BE32-E72D297353CC}">
              <c16:uniqueId val="{0000002B-3A70-4212-9F63-67C2B3B4CAC4}"/>
            </c:ext>
          </c:extLst>
        </c:ser>
        <c:dLbls>
          <c:showLegendKey val="0"/>
          <c:showVal val="0"/>
          <c:showCatName val="0"/>
          <c:showSerName val="0"/>
          <c:showPercent val="0"/>
          <c:showBubbleSize val="0"/>
        </c:dLbls>
        <c:smooth val="0"/>
        <c:axId val="59224448"/>
        <c:axId val="59225984"/>
      </c:lineChart>
      <c:catAx>
        <c:axId val="59224448"/>
        <c:scaling>
          <c:orientation val="minMax"/>
        </c:scaling>
        <c:delete val="0"/>
        <c:axPos val="b"/>
        <c:numFmt formatCode="General" sourceLinked="1"/>
        <c:majorTickMark val="out"/>
        <c:minorTickMark val="none"/>
        <c:tickLblPos val="nextTo"/>
        <c:crossAx val="59225984"/>
        <c:crosses val="autoZero"/>
        <c:auto val="1"/>
        <c:lblAlgn val="ctr"/>
        <c:lblOffset val="100"/>
        <c:noMultiLvlLbl val="0"/>
      </c:catAx>
      <c:valAx>
        <c:axId val="59225984"/>
        <c:scaling>
          <c:orientation val="minMax"/>
        </c:scaling>
        <c:delete val="0"/>
        <c:axPos val="l"/>
        <c:majorGridlines/>
        <c:numFmt formatCode="General" sourceLinked="1"/>
        <c:majorTickMark val="out"/>
        <c:minorTickMark val="none"/>
        <c:tickLblPos val="nextTo"/>
        <c:crossAx val="59224448"/>
        <c:crosses val="autoZero"/>
        <c:crossBetween val="between"/>
      </c:valAx>
    </c:plotArea>
    <c:legend>
      <c:legendPos val="r"/>
      <c:overlay val="0"/>
    </c:legend>
    <c:plotVisOnly val="1"/>
    <c:dispBlanksAs val="zero"/>
    <c:showDLblsOverMax val="0"/>
  </c:chart>
  <c:txPr>
    <a:bodyPr/>
    <a:lstStyle/>
    <a:p>
      <a:pPr>
        <a:defRPr sz="1800"/>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238578427575592E-2"/>
          <c:y val="1.6500873162974983E-2"/>
          <c:w val="0.88946314970582852"/>
          <c:h val="0.8346082663060802"/>
        </c:manualLayout>
      </c:layout>
      <c:bubbleChart>
        <c:varyColors val="0"/>
        <c:ser>
          <c:idx val="0"/>
          <c:order val="0"/>
          <c:tx>
            <c:strRef>
              <c:f>Sheet1!$B$1</c:f>
              <c:strCache>
                <c:ptCount val="1"/>
                <c:pt idx="0">
                  <c:v>Значения Y</c:v>
                </c:pt>
              </c:strCache>
            </c:strRef>
          </c:tx>
          <c:spPr>
            <a:solidFill>
              <a:srgbClr val="3F4444"/>
            </a:solidFill>
            <a:ln>
              <a:noFill/>
            </a:ln>
            <a:effectLst/>
          </c:spPr>
          <c:invertIfNegative val="0"/>
          <c:errBars>
            <c:errDir val="x"/>
            <c:errBarType val="both"/>
            <c:errValType val="cust"/>
            <c:noEndCap val="0"/>
            <c:plus>
              <c:numRef>
                <c:f>Sheet1!$F$2:$F$17</c:f>
                <c:numCache>
                  <c:formatCode>General</c:formatCode>
                  <c:ptCount val="16"/>
                  <c:pt idx="0">
                    <c:v>0.15000000000000002</c:v>
                  </c:pt>
                  <c:pt idx="1">
                    <c:v>0.24</c:v>
                  </c:pt>
                  <c:pt idx="2">
                    <c:v>0.20999999999999996</c:v>
                  </c:pt>
                  <c:pt idx="3">
                    <c:v>0.17999999999999994</c:v>
                  </c:pt>
                  <c:pt idx="4">
                    <c:v>0.31000000000000005</c:v>
                  </c:pt>
                  <c:pt idx="5">
                    <c:v>0.27</c:v>
                  </c:pt>
                  <c:pt idx="6">
                    <c:v>0.37</c:v>
                  </c:pt>
                  <c:pt idx="7">
                    <c:v>0.22999999999999998</c:v>
                  </c:pt>
                  <c:pt idx="8">
                    <c:v>0.31000000000000005</c:v>
                  </c:pt>
                  <c:pt idx="9">
                    <c:v>0.18000000000000005</c:v>
                  </c:pt>
                  <c:pt idx="10">
                    <c:v>0.27</c:v>
                  </c:pt>
                  <c:pt idx="11">
                    <c:v>0.18999999999999995</c:v>
                  </c:pt>
                  <c:pt idx="12">
                    <c:v>0.22999999999999998</c:v>
                  </c:pt>
                  <c:pt idx="13">
                    <c:v>0.20999999999999996</c:v>
                  </c:pt>
                  <c:pt idx="14">
                    <c:v>0.19999999999999998</c:v>
                  </c:pt>
                  <c:pt idx="15">
                    <c:v>0.17999999999999994</c:v>
                  </c:pt>
                </c:numCache>
              </c:numRef>
            </c:plus>
            <c:minus>
              <c:numRef>
                <c:f>Sheet1!$E$2:$E$17</c:f>
                <c:numCache>
                  <c:formatCode>General</c:formatCode>
                  <c:ptCount val="16"/>
                  <c:pt idx="0">
                    <c:v>0.12</c:v>
                  </c:pt>
                  <c:pt idx="1">
                    <c:v>0.16000000000000003</c:v>
                  </c:pt>
                  <c:pt idx="2">
                    <c:v>0.16000000000000003</c:v>
                  </c:pt>
                  <c:pt idx="3">
                    <c:v>0.15000000000000002</c:v>
                  </c:pt>
                  <c:pt idx="4">
                    <c:v>0.21999999999999997</c:v>
                  </c:pt>
                  <c:pt idx="5">
                    <c:v>0.17999999999999994</c:v>
                  </c:pt>
                  <c:pt idx="6">
                    <c:v>0.22999999999999998</c:v>
                  </c:pt>
                  <c:pt idx="7">
                    <c:v>0.18</c:v>
                  </c:pt>
                  <c:pt idx="8">
                    <c:v>0.20999999999999996</c:v>
                  </c:pt>
                  <c:pt idx="9">
                    <c:v>0.14999999999999991</c:v>
                  </c:pt>
                  <c:pt idx="10">
                    <c:v>0.19999999999999996</c:v>
                  </c:pt>
                  <c:pt idx="11">
                    <c:v>0.15000000000000002</c:v>
                  </c:pt>
                  <c:pt idx="12">
                    <c:v>0.15999999999999998</c:v>
                  </c:pt>
                  <c:pt idx="13">
                    <c:v>0.17000000000000004</c:v>
                  </c:pt>
                  <c:pt idx="14">
                    <c:v>0.11000000000000001</c:v>
                  </c:pt>
                  <c:pt idx="15">
                    <c:v>0.15000000000000002</c:v>
                  </c:pt>
                </c:numCache>
              </c:numRef>
            </c:minus>
            <c:spPr>
              <a:noFill/>
              <a:ln w="12700" cap="flat" cmpd="sng" algn="ctr">
                <a:solidFill>
                  <a:srgbClr val="000000">
                    <a:lumMod val="50000"/>
                    <a:lumOff val="50000"/>
                  </a:srgbClr>
                </a:solidFill>
                <a:round/>
              </a:ln>
              <a:effectLst/>
            </c:spPr>
          </c:errBars>
          <c:xVal>
            <c:numRef>
              <c:f>Sheet1!$A$2:$A$17</c:f>
              <c:numCache>
                <c:formatCode>General</c:formatCode>
                <c:ptCount val="16"/>
                <c:pt idx="0">
                  <c:v>0.66</c:v>
                </c:pt>
                <c:pt idx="1">
                  <c:v>0.51</c:v>
                </c:pt>
                <c:pt idx="2">
                  <c:v>0.78</c:v>
                </c:pt>
                <c:pt idx="3">
                  <c:v>0.67</c:v>
                </c:pt>
                <c:pt idx="4">
                  <c:v>0.75</c:v>
                </c:pt>
                <c:pt idx="5">
                  <c:v>0.72</c:v>
                </c:pt>
                <c:pt idx="6">
                  <c:v>0.62</c:v>
                </c:pt>
                <c:pt idx="7">
                  <c:v>0.62</c:v>
                </c:pt>
                <c:pt idx="8">
                  <c:v>0.61</c:v>
                </c:pt>
                <c:pt idx="9">
                  <c:v>0.71</c:v>
                </c:pt>
                <c:pt idx="10">
                  <c:v>0.75</c:v>
                </c:pt>
                <c:pt idx="11">
                  <c:v>0.63</c:v>
                </c:pt>
                <c:pt idx="12">
                  <c:v>0.5</c:v>
                </c:pt>
                <c:pt idx="13">
                  <c:v>0.76</c:v>
                </c:pt>
                <c:pt idx="14">
                  <c:v>0.23</c:v>
                </c:pt>
                <c:pt idx="15">
                  <c:v>0.76</c:v>
                </c:pt>
              </c:numCache>
            </c:numRef>
          </c:xVal>
          <c:yVal>
            <c:numRef>
              <c:f>Sheet1!$B$2:$B$17</c:f>
              <c:numCache>
                <c:formatCode>General</c:formatCode>
                <c:ptCount val="16"/>
                <c:pt idx="0">
                  <c:v>16</c:v>
                </c:pt>
                <c:pt idx="1">
                  <c:v>15</c:v>
                </c:pt>
                <c:pt idx="2">
                  <c:v>14</c:v>
                </c:pt>
                <c:pt idx="3">
                  <c:v>13</c:v>
                </c:pt>
                <c:pt idx="4">
                  <c:v>12</c:v>
                </c:pt>
                <c:pt idx="5">
                  <c:v>11</c:v>
                </c:pt>
                <c:pt idx="6">
                  <c:v>10</c:v>
                </c:pt>
                <c:pt idx="7">
                  <c:v>9</c:v>
                </c:pt>
                <c:pt idx="8">
                  <c:v>8</c:v>
                </c:pt>
                <c:pt idx="9">
                  <c:v>7</c:v>
                </c:pt>
                <c:pt idx="10">
                  <c:v>6</c:v>
                </c:pt>
                <c:pt idx="11">
                  <c:v>5</c:v>
                </c:pt>
                <c:pt idx="12">
                  <c:v>4</c:v>
                </c:pt>
                <c:pt idx="13">
                  <c:v>3</c:v>
                </c:pt>
                <c:pt idx="14">
                  <c:v>2</c:v>
                </c:pt>
                <c:pt idx="15">
                  <c:v>1</c:v>
                </c:pt>
              </c:numCache>
            </c:numRef>
          </c:yVal>
          <c:bubbleSize>
            <c:numRef>
              <c:f>Sheet1!$C$2:$C$17</c:f>
              <c:numCache>
                <c:formatCode>General</c:formatCode>
                <c:ptCount val="16"/>
                <c:pt idx="0">
                  <c:v>796</c:v>
                </c:pt>
                <c:pt idx="1">
                  <c:v>227</c:v>
                </c:pt>
                <c:pt idx="2">
                  <c:v>569</c:v>
                </c:pt>
                <c:pt idx="3">
                  <c:v>558</c:v>
                </c:pt>
                <c:pt idx="4">
                  <c:v>236</c:v>
                </c:pt>
                <c:pt idx="5">
                  <c:v>434</c:v>
                </c:pt>
                <c:pt idx="6">
                  <c:v>105</c:v>
                </c:pt>
                <c:pt idx="7">
                  <c:v>257</c:v>
                </c:pt>
                <c:pt idx="8">
                  <c:v>189</c:v>
                </c:pt>
                <c:pt idx="9">
                  <c:v>607</c:v>
                </c:pt>
                <c:pt idx="10">
                  <c:v>396</c:v>
                </c:pt>
                <c:pt idx="11">
                  <c:v>397</c:v>
                </c:pt>
                <c:pt idx="12">
                  <c:v>226</c:v>
                </c:pt>
                <c:pt idx="13">
                  <c:v>552</c:v>
                </c:pt>
                <c:pt idx="14">
                  <c:v>85</c:v>
                </c:pt>
                <c:pt idx="15">
                  <c:v>693</c:v>
                </c:pt>
              </c:numCache>
            </c:numRef>
          </c:bubbleSize>
          <c:bubble3D val="0"/>
          <c:extLst>
            <c:ext xmlns:c16="http://schemas.microsoft.com/office/drawing/2014/chart" uri="{C3380CC4-5D6E-409C-BE32-E72D297353CC}">
              <c16:uniqueId val="{00000000-55E1-4C86-A5F0-B0D5008863CA}"/>
            </c:ext>
          </c:extLst>
        </c:ser>
        <c:dLbls>
          <c:showLegendKey val="0"/>
          <c:showVal val="0"/>
          <c:showCatName val="0"/>
          <c:showSerName val="0"/>
          <c:showPercent val="0"/>
          <c:showBubbleSize val="0"/>
        </c:dLbls>
        <c:bubbleScale val="11"/>
        <c:showNegBubbles val="0"/>
        <c:axId val="110306432"/>
        <c:axId val="110307968"/>
      </c:bubbleChart>
      <c:valAx>
        <c:axId val="110306432"/>
        <c:scaling>
          <c:logBase val="10"/>
          <c:orientation val="minMax"/>
          <c:max val="10"/>
          <c:min val="0.1"/>
        </c:scaling>
        <c:delete val="0"/>
        <c:axPos val="b"/>
        <c:numFmt formatCode="General" sourceLinked="1"/>
        <c:majorTickMark val="out"/>
        <c:minorTickMark val="out"/>
        <c:tickLblPos val="nextTo"/>
        <c:spPr>
          <a:noFill/>
          <a:ln w="12700" cap="flat" cmpd="sng" algn="ctr">
            <a:solidFill>
              <a:srgbClr val="000000"/>
            </a:solidFill>
            <a:round/>
          </a:ln>
          <a:effectLst/>
        </c:spPr>
        <c:txPr>
          <a:bodyPr rot="-60000000" spcFirstLastPara="1" vertOverflow="ellipsis" vert="horz" wrap="square" anchor="ctr" anchorCtr="1"/>
          <a:lstStyle/>
          <a:p>
            <a:pPr>
              <a:defRPr sz="900" b="0" i="0" u="none" strike="noStrike" kern="1200" baseline="0">
                <a:solidFill>
                  <a:schemeClr val="accent6"/>
                </a:solidFill>
                <a:latin typeface="+mn-lt"/>
                <a:ea typeface="+mn-ea"/>
                <a:cs typeface="+mn-cs"/>
              </a:defRPr>
            </a:pPr>
            <a:endParaRPr lang="ru-RU"/>
          </a:p>
        </c:txPr>
        <c:crossAx val="110307968"/>
        <c:crosses val="autoZero"/>
        <c:crossBetween val="midCat"/>
        <c:majorUnit val="0.5"/>
      </c:valAx>
      <c:valAx>
        <c:axId val="110307968"/>
        <c:scaling>
          <c:orientation val="minMax"/>
          <c:max val="16.5"/>
          <c:min val="0"/>
        </c:scaling>
        <c:delete val="0"/>
        <c:axPos val="l"/>
        <c:numFmt formatCode="General" sourceLinked="1"/>
        <c:majorTickMark val="none"/>
        <c:minorTickMark val="none"/>
        <c:tickLblPos val="none"/>
        <c:spPr>
          <a:noFill/>
          <a:ln w="28575" cap="flat" cmpd="sng" algn="ctr">
            <a:solidFill>
              <a:srgbClr val="C00000"/>
            </a:solidFill>
            <a:prstDash val="dash"/>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10306432"/>
        <c:crosses val="autoZero"/>
        <c:crossBetween val="midCat"/>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89411973934609"/>
          <c:y val="0.20526096595606103"/>
          <c:w val="0.84350942415680974"/>
          <c:h val="0.68195778743622504"/>
        </c:manualLayout>
      </c:layout>
      <c:barChart>
        <c:barDir val="col"/>
        <c:grouping val="clustered"/>
        <c:varyColors val="0"/>
        <c:ser>
          <c:idx val="0"/>
          <c:order val="0"/>
          <c:tx>
            <c:strRef>
              <c:f>Sheet1!$B$1</c:f>
              <c:strCache>
                <c:ptCount val="1"/>
                <c:pt idx="0">
                  <c:v>ЧО</c:v>
                </c:pt>
              </c:strCache>
            </c:strRef>
          </c:tx>
          <c:spPr>
            <a:solidFill>
              <a:schemeClr val="accent3"/>
            </a:solidFill>
            <a:ln>
              <a:noFill/>
            </a:ln>
            <a:effectLst/>
          </c:spPr>
          <c:invertIfNegative val="0"/>
          <c:dPt>
            <c:idx val="0"/>
            <c:invertIfNegative val="0"/>
            <c:bubble3D val="0"/>
            <c:extLst>
              <c:ext xmlns:c16="http://schemas.microsoft.com/office/drawing/2014/chart" uri="{C3380CC4-5D6E-409C-BE32-E72D297353CC}">
                <c16:uniqueId val="{00000001-4C97-4403-8AF6-3545D407D24F}"/>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3-4C97-4403-8AF6-3545D407D24F}"/>
              </c:ext>
            </c:extLst>
          </c:dPt>
          <c:dLbls>
            <c:delete val="1"/>
          </c:dLbls>
          <c:cat>
            <c:strRef>
              <c:f>Sheet1!$A$2:$A$3</c:f>
              <c:strCache>
                <c:ptCount val="2"/>
                <c:pt idx="0">
                  <c:v>Олапариб + абиратерон (n = 161)</c:v>
                </c:pt>
                <c:pt idx="1">
                  <c:v>Плацебо + абиратерон (n = 160)</c:v>
                </c:pt>
              </c:strCache>
            </c:strRef>
          </c:cat>
          <c:val>
            <c:numRef>
              <c:f>Sheet1!$B$2:$B$3</c:f>
              <c:numCache>
                <c:formatCode>General</c:formatCode>
                <c:ptCount val="2"/>
                <c:pt idx="0">
                  <c:v>58.4</c:v>
                </c:pt>
                <c:pt idx="1">
                  <c:v>48.1</c:v>
                </c:pt>
              </c:numCache>
            </c:numRef>
          </c:val>
          <c:extLst>
            <c:ext xmlns:c16="http://schemas.microsoft.com/office/drawing/2014/chart" uri="{C3380CC4-5D6E-409C-BE32-E72D297353CC}">
              <c16:uniqueId val="{00000004-4C97-4403-8AF6-3545D407D24F}"/>
            </c:ext>
          </c:extLst>
        </c:ser>
        <c:ser>
          <c:idx val="1"/>
          <c:order val="1"/>
          <c:tx>
            <c:strRef>
              <c:f>Sheet1!$C$1</c:f>
              <c:strCache>
                <c:ptCount val="1"/>
                <c:pt idx="0">
                  <c:v>ПО</c:v>
                </c:pt>
              </c:strCache>
            </c:strRef>
          </c:tx>
          <c:spPr>
            <a:solidFill>
              <a:schemeClr val="accent6">
                <a:lumMod val="20000"/>
                <a:lumOff val="80000"/>
              </a:schemeClr>
            </a:solidFill>
            <a:ln>
              <a:noFill/>
            </a:ln>
            <a:effectLst/>
          </c:spPr>
          <c:invertIfNegative val="0"/>
          <c:dPt>
            <c:idx val="0"/>
            <c:invertIfNegative val="0"/>
            <c:bubble3D val="0"/>
            <c:extLst>
              <c:ext xmlns:c16="http://schemas.microsoft.com/office/drawing/2014/chart" uri="{C3380CC4-5D6E-409C-BE32-E72D297353CC}">
                <c16:uniqueId val="{00000006-4C97-4403-8AF6-3545D407D24F}"/>
              </c:ext>
            </c:extLst>
          </c:dPt>
          <c:dPt>
            <c:idx val="1"/>
            <c:invertIfNegative val="0"/>
            <c:bubble3D val="0"/>
            <c:spPr>
              <a:solidFill>
                <a:schemeClr val="accent6">
                  <a:lumMod val="20000"/>
                  <a:lumOff val="80000"/>
                </a:schemeClr>
              </a:solidFill>
              <a:ln>
                <a:noFill/>
              </a:ln>
              <a:effectLst/>
            </c:spPr>
            <c:extLst>
              <c:ext xmlns:c16="http://schemas.microsoft.com/office/drawing/2014/chart" uri="{C3380CC4-5D6E-409C-BE32-E72D297353CC}">
                <c16:uniqueId val="{00000008-4C97-4403-8AF6-3545D407D24F}"/>
              </c:ext>
            </c:extLst>
          </c:dPt>
          <c:dLbls>
            <c:delete val="1"/>
          </c:dLbls>
          <c:cat>
            <c:strRef>
              <c:f>Sheet1!$A$2:$A$3</c:f>
              <c:strCache>
                <c:ptCount val="2"/>
                <c:pt idx="0">
                  <c:v>Олапариб + абиратерон (n = 161)</c:v>
                </c:pt>
                <c:pt idx="1">
                  <c:v>Плацебо + абиратерон (n = 160)</c:v>
                </c:pt>
              </c:strCache>
            </c:strRef>
          </c:cat>
          <c:val>
            <c:numRef>
              <c:f>Sheet1!$C$2:$C$3</c:f>
              <c:numCache>
                <c:formatCode>General</c:formatCode>
                <c:ptCount val="2"/>
                <c:pt idx="0">
                  <c:v>26.1</c:v>
                </c:pt>
                <c:pt idx="1">
                  <c:v>28.1</c:v>
                </c:pt>
              </c:numCache>
            </c:numRef>
          </c:val>
          <c:extLst>
            <c:ext xmlns:c16="http://schemas.microsoft.com/office/drawing/2014/chart" uri="{C3380CC4-5D6E-409C-BE32-E72D297353CC}">
              <c16:uniqueId val="{00000009-4C97-4403-8AF6-3545D407D24F}"/>
            </c:ext>
          </c:extLst>
        </c:ser>
        <c:ser>
          <c:idx val="2"/>
          <c:order val="2"/>
          <c:tx>
            <c:strRef>
              <c:f>Sheet1!$D$1</c:f>
              <c:strCache>
                <c:ptCount val="1"/>
                <c:pt idx="0">
                  <c:v>Серия 3</c:v>
                </c:pt>
              </c:strCache>
            </c:strRef>
          </c:tx>
          <c:spPr>
            <a:solidFill>
              <a:srgbClr val="FFC000"/>
            </a:solidFill>
            <a:ln>
              <a:noFill/>
            </a:ln>
            <a:effectLst/>
          </c:spPr>
          <c:invertIfNegative val="0"/>
          <c:dPt>
            <c:idx val="0"/>
            <c:invertIfNegative val="0"/>
            <c:bubble3D val="0"/>
            <c:extLst>
              <c:ext xmlns:c16="http://schemas.microsoft.com/office/drawing/2014/chart" uri="{C3380CC4-5D6E-409C-BE32-E72D297353CC}">
                <c16:uniqueId val="{0000000B-4C97-4403-8AF6-3545D407D24F}"/>
              </c:ext>
            </c:extLst>
          </c:dPt>
          <c:dPt>
            <c:idx val="1"/>
            <c:invertIfNegative val="0"/>
            <c:bubble3D val="0"/>
            <c:spPr>
              <a:solidFill>
                <a:srgbClr val="FFC000"/>
              </a:solidFill>
              <a:ln>
                <a:noFill/>
              </a:ln>
              <a:effectLst/>
            </c:spPr>
            <c:extLst>
              <c:ext xmlns:c16="http://schemas.microsoft.com/office/drawing/2014/chart" uri="{C3380CC4-5D6E-409C-BE32-E72D297353CC}">
                <c16:uniqueId val="{0000000D-4C97-4403-8AF6-3545D407D24F}"/>
              </c:ext>
            </c:extLst>
          </c:dPt>
          <c:dLbls>
            <c:delete val="1"/>
          </c:dLbls>
          <c:cat>
            <c:strRef>
              <c:f>Sheet1!$A$2:$A$3</c:f>
              <c:strCache>
                <c:ptCount val="2"/>
                <c:pt idx="0">
                  <c:v>Олапариб + абиратерон (n = 161)</c:v>
                </c:pt>
                <c:pt idx="1">
                  <c:v>Плацебо + абиратерон (n = 160)</c:v>
                </c:pt>
              </c:strCache>
            </c:strRef>
          </c:cat>
          <c:val>
            <c:numRef>
              <c:f>Sheet1!$D$2:$D$3</c:f>
              <c:numCache>
                <c:formatCode>General</c:formatCode>
                <c:ptCount val="2"/>
                <c:pt idx="0">
                  <c:v>13.7</c:v>
                </c:pt>
                <c:pt idx="1">
                  <c:v>19.399999999999999</c:v>
                </c:pt>
              </c:numCache>
            </c:numRef>
          </c:val>
          <c:extLst>
            <c:ext xmlns:c16="http://schemas.microsoft.com/office/drawing/2014/chart" uri="{C3380CC4-5D6E-409C-BE32-E72D297353CC}">
              <c16:uniqueId val="{0000000E-4C97-4403-8AF6-3545D407D24F}"/>
            </c:ext>
          </c:extLst>
        </c:ser>
        <c:dLbls>
          <c:dLblPos val="ctr"/>
          <c:showLegendKey val="0"/>
          <c:showVal val="1"/>
          <c:showCatName val="0"/>
          <c:showSerName val="0"/>
          <c:showPercent val="0"/>
          <c:showBubbleSize val="0"/>
        </c:dLbls>
        <c:gapWidth val="235"/>
        <c:overlap val="-10"/>
        <c:axId val="55391360"/>
        <c:axId val="55392896"/>
      </c:barChart>
      <c:catAx>
        <c:axId val="5539136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crossAx val="55392896"/>
        <c:crosses val="autoZero"/>
        <c:auto val="1"/>
        <c:lblAlgn val="ctr"/>
        <c:lblOffset val="100"/>
        <c:noMultiLvlLbl val="0"/>
      </c:catAx>
      <c:valAx>
        <c:axId val="55392896"/>
        <c:scaling>
          <c:orientation val="minMax"/>
        </c:scaling>
        <c:delete val="0"/>
        <c:axPos val="l"/>
        <c:title>
          <c:tx>
            <c:rich>
              <a:bodyPr rot="-5400000" spcFirstLastPara="1" vertOverflow="ellipsis" vert="horz" wrap="square" anchor="ctr" anchorCtr="1"/>
              <a:lstStyle/>
              <a:p>
                <a:pPr>
                  <a:defRPr sz="1800" b="0" i="0" u="none" strike="noStrike" kern="1200" baseline="0">
                    <a:solidFill>
                      <a:schemeClr val="tx1"/>
                    </a:solidFill>
                    <a:latin typeface="+mn-lt"/>
                    <a:ea typeface="+mn-ea"/>
                    <a:cs typeface="+mn-cs"/>
                  </a:defRPr>
                </a:pPr>
                <a:r>
                  <a:rPr lang="en-US" sz="1800" b="1"/>
                  <a:t>Частота (%)</a:t>
                </a:r>
              </a:p>
            </c:rich>
          </c:tx>
          <c:layout>
            <c:manualLayout>
              <c:xMode val="edge"/>
              <c:yMode val="edge"/>
              <c:x val="2.1505779849626087E-2"/>
              <c:y val="0.3837967833012178"/>
            </c:manualLayout>
          </c:layout>
          <c:overlay val="0"/>
          <c:spPr>
            <a:noFill/>
            <a:ln>
              <a:noFill/>
            </a:ln>
            <a:effectLst/>
          </c:spPr>
          <c:txPr>
            <a:bodyPr rot="-54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ru-RU"/>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ru-RU"/>
          </a:p>
        </c:txPr>
        <c:crossAx val="55391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1800">
          <a:solidFill>
            <a:schemeClr val="tx1"/>
          </a:solidFill>
        </a:defRPr>
      </a:pPr>
      <a:endParaRPr lang="ru-RU"/>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4627438092968354E-2"/>
          <c:y val="8.8831769701534377E-2"/>
          <c:w val="0.77063514995293936"/>
          <c:h val="0.82895971382286715"/>
        </c:manualLayout>
      </c:layout>
      <c:barChart>
        <c:barDir val="bar"/>
        <c:grouping val="clustered"/>
        <c:varyColors val="0"/>
        <c:ser>
          <c:idx val="0"/>
          <c:order val="0"/>
          <c:tx>
            <c:strRef>
              <c:f>Sheet1!$B$1</c:f>
              <c:strCache>
                <c:ptCount val="1"/>
                <c:pt idx="0">
                  <c:v>All grades</c:v>
                </c:pt>
              </c:strCache>
            </c:strRef>
          </c:tx>
          <c:spPr>
            <a:solidFill>
              <a:schemeClr val="accent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ot flush</c:v>
                </c:pt>
                <c:pt idx="1">
                  <c:v>Cough</c:v>
                </c:pt>
                <c:pt idx="2">
                  <c:v>Urinary tract infection</c:v>
                </c:pt>
                <c:pt idx="3">
                  <c:v>Dizziness</c:v>
                </c:pt>
                <c:pt idx="4">
                  <c:v>Peripheral oedema </c:v>
                </c:pt>
                <c:pt idx="5">
                  <c:v>COVID-19</c:v>
                </c:pt>
                <c:pt idx="6">
                  <c:v>Arthralgia</c:v>
                </c:pt>
                <c:pt idx="7">
                  <c:v>Hypertension</c:v>
                </c:pt>
                <c:pt idx="8">
                  <c:v>Vomiting</c:v>
                </c:pt>
                <c:pt idx="9">
                  <c:v>Decreased appetite</c:v>
                </c:pt>
                <c:pt idx="10">
                  <c:v>Constipation</c:v>
                </c:pt>
                <c:pt idx="11">
                  <c:v>Diarrhoea</c:v>
                </c:pt>
                <c:pt idx="12">
                  <c:v>Back pain</c:v>
                </c:pt>
                <c:pt idx="13">
                  <c:v>Nausea</c:v>
                </c:pt>
                <c:pt idx="14">
                  <c:v>Fatigue or asthenia</c:v>
                </c:pt>
                <c:pt idx="15">
                  <c:v>Anaemia*</c:v>
                </c:pt>
                <c:pt idx="16">
                  <c:v>Any</c:v>
                </c:pt>
              </c:strCache>
            </c:strRef>
          </c:cat>
          <c:val>
            <c:numRef>
              <c:f>Sheet1!$B$2:$B$18</c:f>
              <c:numCache>
                <c:formatCode>0.0</c:formatCode>
                <c:ptCount val="17"/>
                <c:pt idx="0">
                  <c:v>12.9</c:v>
                </c:pt>
                <c:pt idx="1">
                  <c:v>7.3</c:v>
                </c:pt>
                <c:pt idx="2">
                  <c:v>8.8000000000000007</c:v>
                </c:pt>
                <c:pt idx="3">
                  <c:v>6.8</c:v>
                </c:pt>
                <c:pt idx="4">
                  <c:v>12.6</c:v>
                </c:pt>
                <c:pt idx="5">
                  <c:v>8.8000000000000007</c:v>
                </c:pt>
                <c:pt idx="6">
                  <c:v>19.399999999999999</c:v>
                </c:pt>
                <c:pt idx="7">
                  <c:v>18.7</c:v>
                </c:pt>
                <c:pt idx="8">
                  <c:v>9.3000000000000007</c:v>
                </c:pt>
                <c:pt idx="9">
                  <c:v>7.8</c:v>
                </c:pt>
                <c:pt idx="10">
                  <c:v>14.9</c:v>
                </c:pt>
                <c:pt idx="11">
                  <c:v>10.6</c:v>
                </c:pt>
                <c:pt idx="12">
                  <c:v>19.899999999999999</c:v>
                </c:pt>
                <c:pt idx="13">
                  <c:v>14.4</c:v>
                </c:pt>
                <c:pt idx="14">
                  <c:v>30.3</c:v>
                </c:pt>
                <c:pt idx="15">
                  <c:v>17.7</c:v>
                </c:pt>
                <c:pt idx="16">
                  <c:v>96</c:v>
                </c:pt>
              </c:numCache>
            </c:numRef>
          </c:val>
          <c:extLst>
            <c:ext xmlns:c16="http://schemas.microsoft.com/office/drawing/2014/chart" uri="{C3380CC4-5D6E-409C-BE32-E72D297353CC}">
              <c16:uniqueId val="{00000000-0D6C-4F54-9DEA-A334E9BF0A49}"/>
            </c:ext>
          </c:extLst>
        </c:ser>
        <c:ser>
          <c:idx val="1"/>
          <c:order val="1"/>
          <c:tx>
            <c:strRef>
              <c:f>Sheet1!$C$1</c:f>
              <c:strCache>
                <c:ptCount val="1"/>
                <c:pt idx="0">
                  <c:v>Grade &gt;=3</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D6C-4F54-9DEA-A334E9BF0A49}"/>
                </c:ext>
              </c:extLst>
            </c:dLbl>
            <c:dLbl>
              <c:idx val="1"/>
              <c:delete val="1"/>
              <c:extLst>
                <c:ext xmlns:c15="http://schemas.microsoft.com/office/drawing/2012/chart" uri="{CE6537A1-D6FC-4f65-9D91-7224C49458BB}"/>
                <c:ext xmlns:c16="http://schemas.microsoft.com/office/drawing/2014/chart" uri="{C3380CC4-5D6E-409C-BE32-E72D297353CC}">
                  <c16:uniqueId val="{00000002-0D6C-4F54-9DEA-A334E9BF0A49}"/>
                </c:ext>
              </c:extLst>
            </c:dLbl>
            <c:dLbl>
              <c:idx val="2"/>
              <c:delete val="1"/>
              <c:extLst>
                <c:ext xmlns:c15="http://schemas.microsoft.com/office/drawing/2012/chart" uri="{CE6537A1-D6FC-4f65-9D91-7224C49458BB}"/>
                <c:ext xmlns:c16="http://schemas.microsoft.com/office/drawing/2014/chart" uri="{C3380CC4-5D6E-409C-BE32-E72D297353CC}">
                  <c16:uniqueId val="{00000003-0D6C-4F54-9DEA-A334E9BF0A49}"/>
                </c:ext>
              </c:extLst>
            </c:dLbl>
            <c:dLbl>
              <c:idx val="3"/>
              <c:delete val="1"/>
              <c:extLst>
                <c:ext xmlns:c15="http://schemas.microsoft.com/office/drawing/2012/chart" uri="{CE6537A1-D6FC-4f65-9D91-7224C49458BB}"/>
                <c:ext xmlns:c16="http://schemas.microsoft.com/office/drawing/2014/chart" uri="{C3380CC4-5D6E-409C-BE32-E72D297353CC}">
                  <c16:uniqueId val="{00000004-0D6C-4F54-9DEA-A334E9BF0A49}"/>
                </c:ext>
              </c:extLst>
            </c:dLbl>
            <c:dLbl>
              <c:idx val="9"/>
              <c:delete val="1"/>
              <c:extLst>
                <c:ext xmlns:c15="http://schemas.microsoft.com/office/drawing/2012/chart" uri="{CE6537A1-D6FC-4f65-9D91-7224C49458BB}"/>
                <c:ext xmlns:c16="http://schemas.microsoft.com/office/drawing/2014/chart" uri="{C3380CC4-5D6E-409C-BE32-E72D297353CC}">
                  <c16:uniqueId val="{00000005-0D6C-4F54-9DEA-A334E9BF0A49}"/>
                </c:ext>
              </c:extLst>
            </c:dLbl>
            <c:dLbl>
              <c:idx val="16"/>
              <c:layout>
                <c:manualLayout>
                  <c:x val="-7.5485039793097744E-2"/>
                  <c:y val="0"/>
                </c:manualLayout>
              </c:layout>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D6C-4F54-9DEA-A334E9BF0A4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ot flush</c:v>
                </c:pt>
                <c:pt idx="1">
                  <c:v>Cough</c:v>
                </c:pt>
                <c:pt idx="2">
                  <c:v>Urinary tract infection</c:v>
                </c:pt>
                <c:pt idx="3">
                  <c:v>Dizziness</c:v>
                </c:pt>
                <c:pt idx="4">
                  <c:v>Peripheral oedema </c:v>
                </c:pt>
                <c:pt idx="5">
                  <c:v>COVID-19</c:v>
                </c:pt>
                <c:pt idx="6">
                  <c:v>Arthralgia</c:v>
                </c:pt>
                <c:pt idx="7">
                  <c:v>Hypertension</c:v>
                </c:pt>
                <c:pt idx="8">
                  <c:v>Vomiting</c:v>
                </c:pt>
                <c:pt idx="9">
                  <c:v>Decreased appetite</c:v>
                </c:pt>
                <c:pt idx="10">
                  <c:v>Constipation</c:v>
                </c:pt>
                <c:pt idx="11">
                  <c:v>Diarrhoea</c:v>
                </c:pt>
                <c:pt idx="12">
                  <c:v>Back pain</c:v>
                </c:pt>
                <c:pt idx="13">
                  <c:v>Nausea</c:v>
                </c:pt>
                <c:pt idx="14">
                  <c:v>Fatigue or asthenia</c:v>
                </c:pt>
                <c:pt idx="15">
                  <c:v>Anaemia*</c:v>
                </c:pt>
                <c:pt idx="16">
                  <c:v>Any</c:v>
                </c:pt>
              </c:strCache>
            </c:strRef>
          </c:cat>
          <c:val>
            <c:numRef>
              <c:f>Sheet1!$C$2:$C$18</c:f>
              <c:numCache>
                <c:formatCode>0.0</c:formatCode>
                <c:ptCount val="17"/>
                <c:pt idx="0">
                  <c:v>0</c:v>
                </c:pt>
                <c:pt idx="1">
                  <c:v>0</c:v>
                </c:pt>
                <c:pt idx="2">
                  <c:v>1</c:v>
                </c:pt>
                <c:pt idx="3">
                  <c:v>0</c:v>
                </c:pt>
                <c:pt idx="4">
                  <c:v>0.3</c:v>
                </c:pt>
                <c:pt idx="5">
                  <c:v>2</c:v>
                </c:pt>
                <c:pt idx="6">
                  <c:v>0.5</c:v>
                </c:pt>
                <c:pt idx="7">
                  <c:v>4.5</c:v>
                </c:pt>
                <c:pt idx="8">
                  <c:v>0.3</c:v>
                </c:pt>
                <c:pt idx="9">
                  <c:v>0</c:v>
                </c:pt>
                <c:pt idx="10">
                  <c:v>0.3</c:v>
                </c:pt>
                <c:pt idx="11">
                  <c:v>0.3</c:v>
                </c:pt>
                <c:pt idx="12">
                  <c:v>1.5</c:v>
                </c:pt>
                <c:pt idx="13">
                  <c:v>0.3</c:v>
                </c:pt>
                <c:pt idx="14">
                  <c:v>1.5</c:v>
                </c:pt>
                <c:pt idx="15">
                  <c:v>3.3</c:v>
                </c:pt>
                <c:pt idx="16">
                  <c:v>43.2</c:v>
                </c:pt>
              </c:numCache>
            </c:numRef>
          </c:val>
          <c:extLst>
            <c:ext xmlns:c16="http://schemas.microsoft.com/office/drawing/2014/chart" uri="{C3380CC4-5D6E-409C-BE32-E72D297353CC}">
              <c16:uniqueId val="{00000007-0D6C-4F54-9DEA-A334E9BF0A49}"/>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1"/>
        <c:axPos val="l"/>
        <c:numFmt formatCode="General" sourceLinked="1"/>
        <c:majorTickMark val="none"/>
        <c:minorTickMark val="none"/>
        <c:tickLblPos val="high"/>
        <c:crossAx val="572317807"/>
        <c:crosses val="autoZero"/>
        <c:auto val="1"/>
        <c:lblAlgn val="ctr"/>
        <c:lblOffset val="100"/>
        <c:noMultiLvlLbl val="0"/>
      </c:catAx>
      <c:valAx>
        <c:axId val="572317807"/>
        <c:scaling>
          <c:orientation val="minMax"/>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ru-RU"/>
          </a:p>
        </c:txPr>
        <c:crossAx val="5723248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616487785281999"/>
          <c:y val="8.5806697169279855E-2"/>
          <c:w val="0.80164272098711709"/>
          <c:h val="0.82500051807411712"/>
        </c:manualLayout>
      </c:layout>
      <c:barChart>
        <c:barDir val="bar"/>
        <c:grouping val="clustered"/>
        <c:varyColors val="0"/>
        <c:ser>
          <c:idx val="0"/>
          <c:order val="0"/>
          <c:tx>
            <c:strRef>
              <c:f>Sheet1!$B$1</c:f>
              <c:strCache>
                <c:ptCount val="1"/>
                <c:pt idx="0">
                  <c:v>Grade &gt;=3</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D305-4E65-B2F6-BBC98DD9D08D}"/>
                </c:ext>
              </c:extLst>
            </c:dLbl>
            <c:dLbl>
              <c:idx val="1"/>
              <c:delete val="1"/>
              <c:extLst>
                <c:ext xmlns:c15="http://schemas.microsoft.com/office/drawing/2012/chart" uri="{CE6537A1-D6FC-4f65-9D91-7224C49458BB}"/>
                <c:ext xmlns:c16="http://schemas.microsoft.com/office/drawing/2014/chart" uri="{C3380CC4-5D6E-409C-BE32-E72D297353CC}">
                  <c16:uniqueId val="{00000001-D305-4E65-B2F6-BBC98DD9D08D}"/>
                </c:ext>
              </c:extLst>
            </c:dLbl>
            <c:dLbl>
              <c:idx val="2"/>
              <c:delete val="1"/>
              <c:extLst>
                <c:ext xmlns:c15="http://schemas.microsoft.com/office/drawing/2012/chart" uri="{CE6537A1-D6FC-4f65-9D91-7224C49458BB}"/>
                <c:ext xmlns:c16="http://schemas.microsoft.com/office/drawing/2014/chart" uri="{C3380CC4-5D6E-409C-BE32-E72D297353CC}">
                  <c16:uniqueId val="{00000002-D305-4E65-B2F6-BBC98DD9D08D}"/>
                </c:ext>
              </c:extLst>
            </c:dLbl>
            <c:dLbl>
              <c:idx val="3"/>
              <c:delete val="1"/>
              <c:extLst>
                <c:ext xmlns:c15="http://schemas.microsoft.com/office/drawing/2012/chart" uri="{CE6537A1-D6FC-4f65-9D91-7224C49458BB}"/>
                <c:ext xmlns:c16="http://schemas.microsoft.com/office/drawing/2014/chart" uri="{C3380CC4-5D6E-409C-BE32-E72D297353CC}">
                  <c16:uniqueId val="{00000003-D305-4E65-B2F6-BBC98DD9D08D}"/>
                </c:ext>
              </c:extLst>
            </c:dLbl>
            <c:dLbl>
              <c:idx val="4"/>
              <c:delete val="1"/>
              <c:extLst>
                <c:ext xmlns:c15="http://schemas.microsoft.com/office/drawing/2012/chart" uri="{CE6537A1-D6FC-4f65-9D91-7224C49458BB}"/>
                <c:ext xmlns:c16="http://schemas.microsoft.com/office/drawing/2014/chart" uri="{C3380CC4-5D6E-409C-BE32-E72D297353CC}">
                  <c16:uniqueId val="{00000004-D305-4E65-B2F6-BBC98DD9D08D}"/>
                </c:ext>
              </c:extLst>
            </c:dLbl>
            <c:dLbl>
              <c:idx val="5"/>
              <c:delete val="1"/>
              <c:extLst>
                <c:ext xmlns:c15="http://schemas.microsoft.com/office/drawing/2012/chart" uri="{CE6537A1-D6FC-4f65-9D91-7224C49458BB}"/>
                <c:ext xmlns:c16="http://schemas.microsoft.com/office/drawing/2014/chart" uri="{C3380CC4-5D6E-409C-BE32-E72D297353CC}">
                  <c16:uniqueId val="{00000005-D305-4E65-B2F6-BBC98DD9D08D}"/>
                </c:ext>
              </c:extLst>
            </c:dLbl>
            <c:dLbl>
              <c:idx val="6"/>
              <c:delete val="1"/>
              <c:extLst>
                <c:ext xmlns:c15="http://schemas.microsoft.com/office/drawing/2012/chart" uri="{CE6537A1-D6FC-4f65-9D91-7224C49458BB}"/>
                <c:ext xmlns:c16="http://schemas.microsoft.com/office/drawing/2014/chart" uri="{C3380CC4-5D6E-409C-BE32-E72D297353CC}">
                  <c16:uniqueId val="{00000006-D305-4E65-B2F6-BBC98DD9D08D}"/>
                </c:ext>
              </c:extLst>
            </c:dLbl>
            <c:dLbl>
              <c:idx val="7"/>
              <c:delete val="1"/>
              <c:extLst>
                <c:ext xmlns:c15="http://schemas.microsoft.com/office/drawing/2012/chart" uri="{CE6537A1-D6FC-4f65-9D91-7224C49458BB}"/>
                <c:ext xmlns:c16="http://schemas.microsoft.com/office/drawing/2014/chart" uri="{C3380CC4-5D6E-409C-BE32-E72D297353CC}">
                  <c16:uniqueId val="{00000007-D305-4E65-B2F6-BBC98DD9D08D}"/>
                </c:ext>
              </c:extLst>
            </c:dLbl>
            <c:dLbl>
              <c:idx val="8"/>
              <c:layout>
                <c:manualLayout>
                  <c:x val="-1.776177429585862E-3"/>
                  <c:y val="-5.5459094333524358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305-4E65-B2F6-BBC98DD9D08D}"/>
                </c:ext>
              </c:extLst>
            </c:dLbl>
            <c:dLbl>
              <c:idx val="9"/>
              <c:layout>
                <c:manualLayout>
                  <c:x val="-2.1336358663593701E-3"/>
                  <c:y val="-5.5459094333524358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305-4E65-B2F6-BBC98DD9D08D}"/>
                </c:ext>
              </c:extLst>
            </c:dLbl>
            <c:dLbl>
              <c:idx val="10"/>
              <c:delete val="1"/>
              <c:extLst>
                <c:ext xmlns:c15="http://schemas.microsoft.com/office/drawing/2012/chart" uri="{CE6537A1-D6FC-4f65-9D91-7224C49458BB}"/>
                <c:ext xmlns:c16="http://schemas.microsoft.com/office/drawing/2014/chart" uri="{C3380CC4-5D6E-409C-BE32-E72D297353CC}">
                  <c16:uniqueId val="{0000000A-D305-4E65-B2F6-BBC98DD9D08D}"/>
                </c:ext>
              </c:extLst>
            </c:dLbl>
            <c:dLbl>
              <c:idx val="11"/>
              <c:layout>
                <c:manualLayout>
                  <c:x val="-2.1336358663593701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305-4E65-B2F6-BBC98DD9D08D}"/>
                </c:ext>
              </c:extLst>
            </c:dLbl>
            <c:dLbl>
              <c:idx val="12"/>
              <c:layout>
                <c:manualLayout>
                  <c:x val="-2.1336358663593701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D305-4E65-B2F6-BBC98DD9D08D}"/>
                </c:ext>
              </c:extLst>
            </c:dLbl>
            <c:dLbl>
              <c:idx val="13"/>
              <c:layout>
                <c:manualLayout>
                  <c:x val="-3.7988642308947299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305-4E65-B2F6-BBC98DD9D08D}"/>
                </c:ext>
              </c:extLst>
            </c:dLbl>
            <c:dLbl>
              <c:idx val="14"/>
              <c:layout>
                <c:manualLayout>
                  <c:x val="-1.0203344429563024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D305-4E65-B2F6-BBC98DD9D08D}"/>
                </c:ext>
              </c:extLst>
            </c:dLbl>
            <c:dLbl>
              <c:idx val="15"/>
              <c:layout>
                <c:manualLayout>
                  <c:x val="2.8809443095236958E-2"/>
                  <c:y val="-2.7729547166762179E-17"/>
                </c:manualLayout>
              </c:layout>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D305-4E65-B2F6-BBC98DD9D08D}"/>
                </c:ext>
              </c:extLst>
            </c:dLbl>
            <c:dLbl>
              <c:idx val="16"/>
              <c:layout>
                <c:manualLayout>
                  <c:x val="0.17711321250536882"/>
                  <c:y val="0"/>
                </c:manualLayout>
              </c:layout>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D305-4E65-B2F6-BBC98DD9D08D}"/>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8</c:f>
              <c:numCache>
                <c:formatCode>General</c:formatCode>
                <c:ptCount val="17"/>
              </c:numCache>
            </c:numRef>
          </c:cat>
          <c:val>
            <c:numRef>
              <c:f>Sheet1!$B$2:$B$18</c:f>
              <c:numCache>
                <c:formatCode>0.0</c:formatCode>
                <c:ptCount val="17"/>
                <c:pt idx="0">
                  <c:v>0</c:v>
                </c:pt>
                <c:pt idx="1">
                  <c:v>0</c:v>
                </c:pt>
                <c:pt idx="2">
                  <c:v>2.5</c:v>
                </c:pt>
                <c:pt idx="3">
                  <c:v>0</c:v>
                </c:pt>
                <c:pt idx="4">
                  <c:v>0</c:v>
                </c:pt>
                <c:pt idx="5">
                  <c:v>3.8</c:v>
                </c:pt>
                <c:pt idx="6">
                  <c:v>0</c:v>
                </c:pt>
                <c:pt idx="7">
                  <c:v>3.8</c:v>
                </c:pt>
                <c:pt idx="8">
                  <c:v>1.5</c:v>
                </c:pt>
                <c:pt idx="9">
                  <c:v>1</c:v>
                </c:pt>
                <c:pt idx="10">
                  <c:v>0</c:v>
                </c:pt>
                <c:pt idx="11">
                  <c:v>1.3</c:v>
                </c:pt>
                <c:pt idx="12">
                  <c:v>1</c:v>
                </c:pt>
                <c:pt idx="13">
                  <c:v>0.3</c:v>
                </c:pt>
                <c:pt idx="14">
                  <c:v>2.5</c:v>
                </c:pt>
                <c:pt idx="15">
                  <c:v>16.100000000000001</c:v>
                </c:pt>
                <c:pt idx="16">
                  <c:v>55.8</c:v>
                </c:pt>
              </c:numCache>
            </c:numRef>
          </c:val>
          <c:extLst>
            <c:ext xmlns:c16="http://schemas.microsoft.com/office/drawing/2014/chart" uri="{C3380CC4-5D6E-409C-BE32-E72D297353CC}">
              <c16:uniqueId val="{00000011-D305-4E65-B2F6-BBC98DD9D08D}"/>
            </c:ext>
          </c:extLst>
        </c:ser>
        <c:ser>
          <c:idx val="1"/>
          <c:order val="1"/>
          <c:tx>
            <c:strRef>
              <c:f>Sheet1!$C$1</c:f>
              <c:strCache>
                <c:ptCount val="1"/>
                <c:pt idx="0">
                  <c:v>All grades</c:v>
                </c:pt>
              </c:strCache>
            </c:strRef>
          </c:tx>
          <c:spPr>
            <a:solidFill>
              <a:schemeClr val="accent1">
                <a:lumMod val="60000"/>
                <a:lumOff val="40000"/>
                <a:alpha val="30196"/>
              </a:schemeClr>
            </a:solidFill>
            <a:ln>
              <a:noFill/>
            </a:ln>
            <a:effectLst/>
          </c:spPr>
          <c:invertIfNegative val="0"/>
          <c:dLbls>
            <c:dLbl>
              <c:idx val="0"/>
              <c:layout>
                <c:manualLayout>
                  <c:x val="-1.2569000791529195E-2"/>
                  <c:y val="0"/>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6.5697724730407664E-2"/>
                      <c:h val="5.3546173749548988E-2"/>
                    </c:manualLayout>
                  </c15:layout>
                </c:ext>
                <c:ext xmlns:c16="http://schemas.microsoft.com/office/drawing/2014/chart" uri="{C3380CC4-5D6E-409C-BE32-E72D297353CC}">
                  <c16:uniqueId val="{00000012-D305-4E65-B2F6-BBC98DD9D08D}"/>
                </c:ext>
              </c:extLst>
            </c:dLbl>
            <c:dLbl>
              <c:idx val="1"/>
              <c:layout>
                <c:manualLayout>
                  <c:x val="-7.0300820824602695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D305-4E65-B2F6-BBC98DD9D08D}"/>
                </c:ext>
              </c:extLst>
            </c:dLbl>
            <c:dLbl>
              <c:idx val="2"/>
              <c:layout>
                <c:manualLayout>
                  <c:x val="-6.6017670871482215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D305-4E65-B2F6-BBC98DD9D08D}"/>
                </c:ext>
              </c:extLst>
            </c:dLbl>
            <c:dLbl>
              <c:idx val="3"/>
              <c:layout>
                <c:manualLayout>
                  <c:x val="-8.8910095134357523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D305-4E65-B2F6-BBC98DD9D08D}"/>
                </c:ext>
              </c:extLst>
            </c:dLbl>
            <c:dLbl>
              <c:idx val="4"/>
              <c:layout>
                <c:manualLayout>
                  <c:x val="-8.8906125579256406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D305-4E65-B2F6-BBC98DD9D08D}"/>
                </c:ext>
              </c:extLst>
            </c:dLbl>
            <c:dLbl>
              <c:idx val="5"/>
              <c:layout>
                <c:manualLayout>
                  <c:x val="-9.5765516792409872E-3"/>
                  <c:y val="-1.114898934419816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D305-4E65-B2F6-BBC98DD9D08D}"/>
                </c:ext>
              </c:extLst>
            </c:dLbl>
            <c:dLbl>
              <c:idx val="6"/>
              <c:layout>
                <c:manualLayout>
                  <c:x val="-7.9647138308032717E-3"/>
                  <c:y val="-1.114898934419816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D305-4E65-B2F6-BBC98DD9D08D}"/>
                </c:ext>
              </c:extLst>
            </c:dLbl>
            <c:dLbl>
              <c:idx val="7"/>
              <c:layout>
                <c:manualLayout>
                  <c:x val="-1.0082669954516746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D305-4E65-B2F6-BBC98DD9D08D}"/>
                </c:ext>
              </c:extLst>
            </c:dLbl>
            <c:dLbl>
              <c:idx val="8"/>
              <c:layout>
                <c:manualLayout>
                  <c:x val="-1.0138442203674604E-2"/>
                  <c:y val="5.57449467209908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D305-4E65-B2F6-BBC98DD9D08D}"/>
                </c:ext>
              </c:extLst>
            </c:dLbl>
            <c:dLbl>
              <c:idx val="9"/>
              <c:layout>
                <c:manualLayout>
                  <c:x val="-7.5554526999721998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D305-4E65-B2F6-BBC98DD9D08D}"/>
                </c:ext>
              </c:extLst>
            </c:dLbl>
            <c:dLbl>
              <c:idx val="10"/>
              <c:layout>
                <c:manualLayout>
                  <c:x val="-9.782770066696464E-3"/>
                  <c:y val="-5.57449467209908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D305-4E65-B2F6-BBC98DD9D08D}"/>
                </c:ext>
              </c:extLst>
            </c:dLbl>
            <c:dLbl>
              <c:idx val="11"/>
              <c:layout>
                <c:manualLayout>
                  <c:x val="-9.2034134998217661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D305-4E65-B2F6-BBC98DD9D08D}"/>
                </c:ext>
              </c:extLst>
            </c:dLbl>
            <c:dLbl>
              <c:idx val="12"/>
              <c:layout>
                <c:manualLayout>
                  <c:x val="-5.819367776898208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D305-4E65-B2F6-BBC98DD9D08D}"/>
                </c:ext>
              </c:extLst>
            </c:dLbl>
            <c:dLbl>
              <c:idx val="13"/>
              <c:layout>
                <c:manualLayout>
                  <c:x val="-7.2726218990827943E-3"/>
                  <c:y val="-2.78724733604954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D305-4E65-B2F6-BBC98DD9D08D}"/>
                </c:ext>
              </c:extLst>
            </c:dLbl>
            <c:dLbl>
              <c:idx val="14"/>
              <c:layout>
                <c:manualLayout>
                  <c:x val="-8.2719573955590212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D305-4E65-B2F6-BBC98DD9D08D}"/>
                </c:ext>
              </c:extLst>
            </c:dLbl>
            <c:dLbl>
              <c:idx val="15"/>
              <c:layout>
                <c:manualLayout>
                  <c:x val="-8.4607097405736964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D305-4E65-B2F6-BBC98DD9D08D}"/>
                </c:ext>
              </c:extLst>
            </c:dLbl>
            <c:dLbl>
              <c:idx val="16"/>
              <c:layout>
                <c:manualLayout>
                  <c:x val="-1.3632246125118789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D305-4E65-B2F6-BBC98DD9D08D}"/>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ru-RU"/>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8</c:f>
              <c:numCache>
                <c:formatCode>General</c:formatCode>
                <c:ptCount val="17"/>
              </c:numCache>
            </c:numRef>
          </c:cat>
          <c:val>
            <c:numRef>
              <c:f>Sheet1!$C$2:$C$18</c:f>
              <c:numCache>
                <c:formatCode>0.0</c:formatCode>
                <c:ptCount val="17"/>
                <c:pt idx="0">
                  <c:v>8.8000000000000007</c:v>
                </c:pt>
                <c:pt idx="1">
                  <c:v>11.8</c:v>
                </c:pt>
                <c:pt idx="2">
                  <c:v>11.6</c:v>
                </c:pt>
                <c:pt idx="3">
                  <c:v>12.3</c:v>
                </c:pt>
                <c:pt idx="4">
                  <c:v>12.3</c:v>
                </c:pt>
                <c:pt idx="5">
                  <c:v>12.8</c:v>
                </c:pt>
                <c:pt idx="6">
                  <c:v>14.6</c:v>
                </c:pt>
                <c:pt idx="7">
                  <c:v>15.3</c:v>
                </c:pt>
                <c:pt idx="8">
                  <c:v>15.6</c:v>
                </c:pt>
                <c:pt idx="9">
                  <c:v>16.600000000000001</c:v>
                </c:pt>
                <c:pt idx="10">
                  <c:v>18.600000000000001</c:v>
                </c:pt>
                <c:pt idx="11">
                  <c:v>20.6</c:v>
                </c:pt>
                <c:pt idx="12">
                  <c:v>21.6</c:v>
                </c:pt>
                <c:pt idx="13">
                  <c:v>30.7</c:v>
                </c:pt>
                <c:pt idx="14">
                  <c:v>38.700000000000003</c:v>
                </c:pt>
                <c:pt idx="15">
                  <c:v>49.7</c:v>
                </c:pt>
                <c:pt idx="16">
                  <c:v>97.7</c:v>
                </c:pt>
              </c:numCache>
            </c:numRef>
          </c:val>
          <c:extLst>
            <c:ext xmlns:c16="http://schemas.microsoft.com/office/drawing/2014/chart" uri="{C3380CC4-5D6E-409C-BE32-E72D297353CC}">
              <c16:uniqueId val="{00000023-D305-4E65-B2F6-BBC98DD9D08D}"/>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0"/>
        <c:axPos val="r"/>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endParaRPr lang="ru-RU"/>
          </a:p>
        </c:txPr>
        <c:crossAx val="572317807"/>
        <c:crosses val="autoZero"/>
        <c:auto val="1"/>
        <c:lblAlgn val="l"/>
        <c:lblOffset val="1000"/>
        <c:noMultiLvlLbl val="0"/>
      </c:catAx>
      <c:valAx>
        <c:axId val="572317807"/>
        <c:scaling>
          <c:orientation val="maxMin"/>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ru-RU"/>
          </a:p>
        </c:txPr>
        <c:crossAx val="5723248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ru-RU"/>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571424342290898"/>
          <c:y val="8.7742297418061995E-3"/>
          <c:w val="0.46797359943185057"/>
          <c:h val="0.95525160546329624"/>
        </c:manualLayout>
      </c:layout>
      <c:pieChart>
        <c:varyColors val="1"/>
        <c:ser>
          <c:idx val="0"/>
          <c:order val="0"/>
          <c:dPt>
            <c:idx val="0"/>
            <c:bubble3D val="0"/>
            <c:spPr>
              <a:solidFill>
                <a:srgbClr val="012D5C"/>
              </a:solidFill>
              <a:ln w="19050">
                <a:solidFill>
                  <a:schemeClr val="lt1"/>
                </a:solidFill>
              </a:ln>
              <a:effectLst/>
            </c:spPr>
            <c:extLst>
              <c:ext xmlns:c16="http://schemas.microsoft.com/office/drawing/2014/chart" uri="{C3380CC4-5D6E-409C-BE32-E72D297353CC}">
                <c16:uniqueId val="{00000001-49DF-4D0D-9893-79967CAF192A}"/>
              </c:ext>
            </c:extLst>
          </c:dPt>
          <c:dPt>
            <c:idx val="1"/>
            <c:bubble3D val="0"/>
            <c:spPr>
              <a:solidFill>
                <a:srgbClr val="00BAE5"/>
              </a:solidFill>
              <a:ln w="19050">
                <a:solidFill>
                  <a:schemeClr val="lt1"/>
                </a:solidFill>
              </a:ln>
              <a:effectLst/>
            </c:spPr>
            <c:extLst>
              <c:ext xmlns:c16="http://schemas.microsoft.com/office/drawing/2014/chart" uri="{C3380CC4-5D6E-409C-BE32-E72D297353CC}">
                <c16:uniqueId val="{00000003-49DF-4D0D-9893-79967CAF192A}"/>
              </c:ext>
            </c:extLst>
          </c:dPt>
          <c:dPt>
            <c:idx val="2"/>
            <c:bubble3D val="0"/>
            <c:spPr>
              <a:solidFill>
                <a:srgbClr val="FFD147"/>
              </a:solidFill>
              <a:ln w="19050">
                <a:solidFill>
                  <a:schemeClr val="lt1"/>
                </a:solidFill>
              </a:ln>
              <a:effectLst/>
            </c:spPr>
            <c:extLst>
              <c:ext xmlns:c16="http://schemas.microsoft.com/office/drawing/2014/chart" uri="{C3380CC4-5D6E-409C-BE32-E72D297353CC}">
                <c16:uniqueId val="{00000005-49DF-4D0D-9893-79967CAF192A}"/>
              </c:ext>
            </c:extLst>
          </c:dPt>
          <c:dPt>
            <c:idx val="3"/>
            <c:bubble3D val="0"/>
            <c:spPr>
              <a:solidFill>
                <a:srgbClr val="6AC6C8"/>
              </a:solidFill>
              <a:ln w="19050">
                <a:solidFill>
                  <a:schemeClr val="lt1"/>
                </a:solidFill>
              </a:ln>
              <a:effectLst/>
            </c:spPr>
            <c:extLst>
              <c:ext xmlns:c16="http://schemas.microsoft.com/office/drawing/2014/chart" uri="{C3380CC4-5D6E-409C-BE32-E72D297353CC}">
                <c16:uniqueId val="{00000007-49DF-4D0D-9893-79967CAF192A}"/>
              </c:ext>
            </c:extLst>
          </c:dPt>
          <c:dPt>
            <c:idx val="4"/>
            <c:bubble3D val="0"/>
            <c:spPr>
              <a:solidFill>
                <a:srgbClr val="99CCFF">
                  <a:lumMod val="75000"/>
                </a:srgbClr>
              </a:solidFill>
              <a:ln w="19050">
                <a:solidFill>
                  <a:schemeClr val="lt1"/>
                </a:solidFill>
              </a:ln>
              <a:effectLst/>
            </c:spPr>
            <c:extLst>
              <c:ext xmlns:c16="http://schemas.microsoft.com/office/drawing/2014/chart" uri="{C3380CC4-5D6E-409C-BE32-E72D297353CC}">
                <c16:uniqueId val="{00000009-49DF-4D0D-9893-79967CAF192A}"/>
              </c:ext>
            </c:extLst>
          </c:dPt>
          <c:dPt>
            <c:idx val="5"/>
            <c:bubble3D val="0"/>
            <c:spPr>
              <a:solidFill>
                <a:srgbClr val="323F4F"/>
              </a:solidFill>
              <a:ln w="19050">
                <a:solidFill>
                  <a:schemeClr val="lt1"/>
                </a:solidFill>
              </a:ln>
              <a:effectLst/>
            </c:spPr>
            <c:extLst>
              <c:ext xmlns:c16="http://schemas.microsoft.com/office/drawing/2014/chart" uri="{C3380CC4-5D6E-409C-BE32-E72D297353CC}">
                <c16:uniqueId val="{0000000B-49DF-4D0D-9893-79967CAF192A}"/>
              </c:ext>
            </c:extLst>
          </c:dPt>
          <c:dPt>
            <c:idx val="6"/>
            <c:bubble3D val="0"/>
            <c:spPr>
              <a:solidFill>
                <a:srgbClr val="00BAE5">
                  <a:lumMod val="40000"/>
                  <a:lumOff val="60000"/>
                </a:srgbClr>
              </a:solidFill>
              <a:ln w="19050">
                <a:solidFill>
                  <a:schemeClr val="lt1"/>
                </a:solidFill>
              </a:ln>
              <a:effectLst/>
            </c:spPr>
            <c:extLst>
              <c:ext xmlns:c16="http://schemas.microsoft.com/office/drawing/2014/chart" uri="{C3380CC4-5D6E-409C-BE32-E72D297353CC}">
                <c16:uniqueId val="{0000000D-49DF-4D0D-9893-79967CAF192A}"/>
              </c:ext>
            </c:extLst>
          </c:dPt>
          <c:dPt>
            <c:idx val="7"/>
            <c:bubble3D val="0"/>
            <c:spPr>
              <a:solidFill>
                <a:srgbClr val="2E7B7D">
                  <a:lumMod val="75000"/>
                </a:srgbClr>
              </a:solidFill>
              <a:ln w="19050">
                <a:solidFill>
                  <a:schemeClr val="lt1"/>
                </a:solidFill>
              </a:ln>
              <a:effectLst/>
            </c:spPr>
            <c:extLst>
              <c:ext xmlns:c16="http://schemas.microsoft.com/office/drawing/2014/chart" uri="{C3380CC4-5D6E-409C-BE32-E72D297353CC}">
                <c16:uniqueId val="{0000000F-49DF-4D0D-9893-79967CAF192A}"/>
              </c:ext>
            </c:extLst>
          </c:dPt>
          <c:dPt>
            <c:idx val="8"/>
            <c:bubble3D val="0"/>
            <c:spPr>
              <a:solidFill>
                <a:srgbClr val="3E4444">
                  <a:lumMod val="60000"/>
                  <a:lumOff val="40000"/>
                </a:srgbClr>
              </a:solidFill>
              <a:ln w="19050">
                <a:solidFill>
                  <a:schemeClr val="lt1"/>
                </a:solidFill>
              </a:ln>
              <a:effectLst/>
            </c:spPr>
            <c:extLst>
              <c:ext xmlns:c16="http://schemas.microsoft.com/office/drawing/2014/chart" uri="{C3380CC4-5D6E-409C-BE32-E72D297353CC}">
                <c16:uniqueId val="{00000011-49DF-4D0D-9893-79967CAF192A}"/>
              </c:ext>
            </c:extLst>
          </c:dPt>
          <c:cat>
            <c:strRef>
              <c:f>Sheet1!$A$1:$A$9</c:f>
              <c:strCache>
                <c:ptCount val="9"/>
                <c:pt idx="0">
                  <c:v>только BRCA2</c:v>
                </c:pt>
                <c:pt idx="1">
                  <c:v>только BRCA1</c:v>
                </c:pt>
                <c:pt idx="2">
                  <c:v>только ATM</c:v>
                </c:pt>
                <c:pt idx="3">
                  <c:v>только CDK12</c:v>
                </c:pt>
                <c:pt idx="4">
                  <c:v>только CHEK2</c:v>
                </c:pt>
                <c:pt idx="5">
                  <c:v>только PPP2R2A</c:v>
                </c:pt>
                <c:pt idx="6">
                  <c:v>Гены с низкой частотой встречаемости </c:v>
                </c:pt>
                <c:pt idx="7">
                  <c:v>Совместно встречающиеся гены</c:v>
                </c:pt>
                <c:pt idx="8">
                  <c:v>Изменений генов HRR выявлено не было</c:v>
                </c:pt>
              </c:strCache>
            </c:strRef>
          </c:cat>
          <c:val>
            <c:numRef>
              <c:f>Sheet1!$B$1:$B$9</c:f>
              <c:numCache>
                <c:formatCode>0%</c:formatCode>
                <c:ptCount val="9"/>
                <c:pt idx="0" formatCode="0.00%">
                  <c:v>8.6999999999999994E-2</c:v>
                </c:pt>
                <c:pt idx="1">
                  <c:v>0.01</c:v>
                </c:pt>
                <c:pt idx="2" formatCode="0.00%">
                  <c:v>5.8999999999999997E-2</c:v>
                </c:pt>
                <c:pt idx="3" formatCode="0.00%">
                  <c:v>6.3E-2</c:v>
                </c:pt>
                <c:pt idx="4" formatCode="0.00%">
                  <c:v>1.2E-2</c:v>
                </c:pt>
                <c:pt idx="5">
                  <c:v>0.01</c:v>
                </c:pt>
                <c:pt idx="6" formatCode="0.00%">
                  <c:v>1.7000000000000001E-2</c:v>
                </c:pt>
                <c:pt idx="7" formatCode="0.00%">
                  <c:v>2.1000000000000001E-2</c:v>
                </c:pt>
                <c:pt idx="8" formatCode="0.00%">
                  <c:v>0.72099999999999997</c:v>
                </c:pt>
              </c:numCache>
            </c:numRef>
          </c:val>
          <c:extLst>
            <c:ext xmlns:c16="http://schemas.microsoft.com/office/drawing/2014/chart" uri="{C3380CC4-5D6E-409C-BE32-E72D297353CC}">
              <c16:uniqueId val="{00000012-49DF-4D0D-9893-79967CAF192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3813</cdr:x>
      <cdr:y>0.04359</cdr:y>
    </cdr:from>
    <cdr:to>
      <cdr:x>0.2682</cdr:x>
      <cdr:y>0.25797</cdr:y>
    </cdr:to>
    <cdr:sp macro="" textlink="">
      <cdr:nvSpPr>
        <cdr:cNvPr id="3" name="TextBox 2">
          <a:extLst xmlns:a="http://schemas.openxmlformats.org/drawingml/2006/main">
            <a:ext uri="{FF2B5EF4-FFF2-40B4-BE49-F238E27FC236}">
              <a16:creationId xmlns:a16="http://schemas.microsoft.com/office/drawing/2014/main" id="{C010D875-31F3-4DD4-8A45-83B2788660D4}"/>
            </a:ext>
          </a:extLst>
        </cdr:cNvPr>
        <cdr:cNvSpPr txBox="1"/>
      </cdr:nvSpPr>
      <cdr:spPr>
        <a:xfrm xmlns:a="http://schemas.openxmlformats.org/drawingml/2006/main">
          <a:off x="205540" y="143226"/>
          <a:ext cx="1240354" cy="704500"/>
        </a:xfrm>
        <a:prstGeom xmlns:a="http://schemas.openxmlformats.org/drawingml/2006/main" prst="roundRect">
          <a:avLst/>
        </a:prstGeom>
        <a:ln xmlns:a="http://schemas.openxmlformats.org/drawingml/2006/main">
          <a:solidFill>
            <a:schemeClr val="accent1"/>
          </a:solidFill>
        </a:ln>
      </cdr:spPr>
      <cdr:txBody>
        <a:bodyPr xmlns:a="http://schemas.openxmlformats.org/drawingml/2006/main" vertOverflow="clip" wrap="none" rtlCol="0"/>
        <a:lstStyle xmlns:a="http://schemas.openxmlformats.org/drawingml/2006/main"/>
        <a:p xmlns:a="http://schemas.openxmlformats.org/drawingml/2006/main">
          <a:pPr algn="ctr"/>
          <a:r>
            <a:rPr lang="ru-RU" sz="1000" dirty="0"/>
            <a:t>Распространенные </a:t>
          </a:r>
        </a:p>
        <a:p xmlns:a="http://schemas.openxmlformats.org/drawingml/2006/main">
          <a:pPr algn="ctr"/>
          <a:r>
            <a:rPr lang="ru-RU" sz="1000" dirty="0"/>
            <a:t>формы РПЖ</a:t>
          </a:r>
        </a:p>
        <a:p xmlns:a="http://schemas.openxmlformats.org/drawingml/2006/main">
          <a:pPr algn="ctr"/>
          <a:r>
            <a:rPr lang="ru-RU" sz="1000" dirty="0"/>
            <a:t>35,2%</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1C849D3-F0F1-034A-9CA7-FBCB4161EE7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5C6C645-3243-2245-8819-D4D4B4CEDD0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67FE92F-3EA8-A54C-8888-A0384EA35D19}" type="datetimeFigureOut">
              <a:rPr lang="en-US" smtClean="0"/>
              <a:t>4/17/2023</a:t>
            </a:fld>
            <a:endParaRPr lang="en-US"/>
          </a:p>
        </p:txBody>
      </p:sp>
      <p:sp>
        <p:nvSpPr>
          <p:cNvPr id="4" name="Footer Placeholder 3">
            <a:extLst>
              <a:ext uri="{FF2B5EF4-FFF2-40B4-BE49-F238E27FC236}">
                <a16:creationId xmlns:a16="http://schemas.microsoft.com/office/drawing/2014/main" id="{77F0C8C5-877E-D84B-8D84-04051DE627B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0102854-C976-D946-900E-6ECAD5C64D1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E1F8595-4CD4-1748-9A7A-C56A72F2DCDD}" type="slidenum">
              <a:rPr lang="en-US" smtClean="0"/>
              <a:t>‹#›</a:t>
            </a:fld>
            <a:endParaRPr lang="en-US"/>
          </a:p>
        </p:txBody>
      </p:sp>
    </p:spTree>
    <p:extLst>
      <p:ext uri="{BB962C8B-B14F-4D97-AF65-F5344CB8AC3E}">
        <p14:creationId xmlns:p14="http://schemas.microsoft.com/office/powerpoint/2010/main" val="37205693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A483F6-82E2-794C-A662-14B21F85DE11}" type="datetimeFigureOut">
              <a:rPr lang="en-US" smtClean="0"/>
              <a:t>4/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2B6D7E-132C-E84F-9364-23311CC96D25}" type="slidenum">
              <a:rPr lang="en-US" smtClean="0"/>
              <a:t>‹#›</a:t>
            </a:fld>
            <a:endParaRPr lang="en-US"/>
          </a:p>
        </p:txBody>
      </p:sp>
    </p:spTree>
    <p:extLst>
      <p:ext uri="{BB962C8B-B14F-4D97-AF65-F5344CB8AC3E}">
        <p14:creationId xmlns:p14="http://schemas.microsoft.com/office/powerpoint/2010/main" val="1393690552"/>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F59848-2F80-49EF-892D-E1B10485FCFF}" type="slidenum">
              <a:rPr lang="ru-RU" smtClean="0"/>
              <a:pPr/>
              <a:t>2</a:t>
            </a:fld>
            <a:endParaRPr lang="ru-RU"/>
          </a:p>
        </p:txBody>
      </p:sp>
    </p:spTree>
    <p:extLst>
      <p:ext uri="{BB962C8B-B14F-4D97-AF65-F5344CB8AC3E}">
        <p14:creationId xmlns:p14="http://schemas.microsoft.com/office/powerpoint/2010/main" val="16450963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342900" lvl="0" indent="-342900" rtl="0" fontAlgn="base">
              <a:buClr>
                <a:srgbClr val="F0AB00"/>
              </a:buClr>
              <a:buSzPts val="1100"/>
              <a:buFont typeface="Symbol" panose="05050102010706020507" pitchFamily="18" charset="2"/>
              <a:buChar char=""/>
              <a:tabLst>
                <a:tab pos="228600" algn="l"/>
              </a:tabLst>
            </a:pPr>
            <a:endParaRPr lang="en-GB" dirty="0"/>
          </a:p>
        </p:txBody>
      </p:sp>
      <p:sp>
        <p:nvSpPr>
          <p:cNvPr id="4" name="Slide Number Placeholder 3"/>
          <p:cNvSpPr>
            <a:spLocks noGrp="1"/>
          </p:cNvSpPr>
          <p:nvPr>
            <p:ph type="sldNum" sz="quarter" idx="5"/>
          </p:nvPr>
        </p:nvSpPr>
        <p:spPr/>
        <p:txBody>
          <a:bodyPr rtlCol="0"/>
          <a:lstStyle/>
          <a:p>
            <a:pPr rtl="0"/>
            <a:fld id="{7CECEF16-1845-4D05-AF61-647A7547EB36}" type="slidenum">
              <a:rPr lang="en-GB" smtClean="0"/>
              <a:t>16</a:t>
            </a:fld>
            <a:endParaRPr lang="en-GB" dirty="0"/>
          </a:p>
        </p:txBody>
      </p:sp>
    </p:spTree>
    <p:extLst>
      <p:ext uri="{BB962C8B-B14F-4D97-AF65-F5344CB8AC3E}">
        <p14:creationId xmlns:p14="http://schemas.microsoft.com/office/powerpoint/2010/main" val="5935575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342900" lvl="0" indent="-342900" rtl="0" fontAlgn="base">
              <a:buClr>
                <a:srgbClr val="F0AB00"/>
              </a:buClr>
              <a:buSzPts val="1100"/>
              <a:buFont typeface="Symbol" panose="05050102010706020507" pitchFamily="18" charset="2"/>
              <a:buChar char=""/>
              <a:tabLst>
                <a:tab pos="228600" algn="l"/>
              </a:tabLst>
            </a:pPr>
            <a:endParaRPr lang="en-GB" sz="1800" u="none" strike="noStrike" dirty="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9839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342900" lvl="0" indent="-342900" rtl="0" fontAlgn="base">
              <a:buClr>
                <a:srgbClr val="F0AB00"/>
              </a:buClr>
              <a:buSzPts val="1100"/>
              <a:buFont typeface="Symbol" panose="05050102010706020507" pitchFamily="18" charset="2"/>
              <a:buChar char=""/>
              <a:tabLst>
                <a:tab pos="228600" algn="l"/>
              </a:tabLst>
            </a:pPr>
            <a:endParaRPr lang="en-GB"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95799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60273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06721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03822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99541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03914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42059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37284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F59848-2F80-49EF-892D-E1B10485FCFF}" type="slidenum">
              <a:rPr lang="ru-RU" smtClean="0"/>
              <a:pPr/>
              <a:t>3</a:t>
            </a:fld>
            <a:endParaRPr lang="ru-RU"/>
          </a:p>
        </p:txBody>
      </p:sp>
    </p:spTree>
    <p:extLst>
      <p:ext uri="{BB962C8B-B14F-4D97-AF65-F5344CB8AC3E}">
        <p14:creationId xmlns:p14="http://schemas.microsoft.com/office/powerpoint/2010/main" val="3080314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1063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fontAlgn="base">
              <a:buClr>
                <a:srgbClr val="F0AB00"/>
              </a:buClr>
              <a:buSzPts val="1100"/>
              <a:buFont typeface="Symbol" panose="05050102010706020507" pitchFamily="18" charset="2"/>
              <a:buChar char=""/>
              <a:tabLst>
                <a:tab pos="228600" algn="l"/>
              </a:tabLst>
            </a:pPr>
            <a:endParaRPr lang="en-GB" sz="1200" u="none" strike="noStrike" dirty="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07010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9606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b="0" dirty="0"/>
          </a:p>
        </p:txBody>
      </p:sp>
      <p:sp>
        <p:nvSpPr>
          <p:cNvPr id="4" name="Slide Number Placeholder 3"/>
          <p:cNvSpPr>
            <a:spLocks noGrp="1"/>
          </p:cNvSpPr>
          <p:nvPr>
            <p:ph type="sldNum" sz="quarter" idx="5"/>
          </p:nvPr>
        </p:nvSpPr>
        <p:spPr/>
        <p:txBody>
          <a:bodyPr rtlCol="0"/>
          <a:lstStyle/>
          <a:p>
            <a:pPr rtl="0"/>
            <a:fld id="{7CECEF16-1845-4D05-AF61-647A7547EB36}" type="slidenum">
              <a:rPr lang="en-GB" smtClean="0"/>
              <a:t>32</a:t>
            </a:fld>
            <a:endParaRPr lang="en-GB" dirty="0"/>
          </a:p>
        </p:txBody>
      </p:sp>
    </p:spTree>
    <p:extLst>
      <p:ext uri="{BB962C8B-B14F-4D97-AF65-F5344CB8AC3E}">
        <p14:creationId xmlns:p14="http://schemas.microsoft.com/office/powerpoint/2010/main" val="32466164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15691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53712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u="none" dirty="0"/>
          </a:p>
        </p:txBody>
      </p:sp>
      <p:sp>
        <p:nvSpPr>
          <p:cNvPr id="4" name="Slide Number Placeholder 3"/>
          <p:cNvSpPr>
            <a:spLocks noGrp="1"/>
          </p:cNvSpPr>
          <p:nvPr>
            <p:ph type="sldNum" sz="quarter" idx="5"/>
          </p:nvPr>
        </p:nvSpPr>
        <p:spPr/>
        <p:txBody>
          <a:bodyPr rtlCol="0"/>
          <a:lstStyle/>
          <a:p>
            <a:pPr rtl="0"/>
            <a:fld id="{7CECEF16-1845-4D05-AF61-647A7547EB36}" type="slidenum">
              <a:rPr lang="en-GB" smtClean="0"/>
              <a:t>35</a:t>
            </a:fld>
            <a:endParaRPr lang="en-GB" dirty="0"/>
          </a:p>
        </p:txBody>
      </p:sp>
    </p:spTree>
    <p:extLst>
      <p:ext uri="{BB962C8B-B14F-4D97-AF65-F5344CB8AC3E}">
        <p14:creationId xmlns:p14="http://schemas.microsoft.com/office/powerpoint/2010/main" val="2892147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19033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F59848-2F80-49EF-892D-E1B10485FCFF}" type="slidenum">
              <a:rPr lang="ru-RU" smtClean="0"/>
              <a:pPr/>
              <a:t>4</a:t>
            </a:fld>
            <a:endParaRPr lang="ru-RU"/>
          </a:p>
        </p:txBody>
      </p:sp>
    </p:spTree>
    <p:extLst>
      <p:ext uri="{BB962C8B-B14F-4D97-AF65-F5344CB8AC3E}">
        <p14:creationId xmlns:p14="http://schemas.microsoft.com/office/powerpoint/2010/main" val="9878595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171450" indent="-171450" rtl="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CECEF16-1845-4D05-AF61-647A7547EB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2076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171450" indent="-171450" rtl="0">
              <a:buFont typeface="Arial" panose="020B0604020202020204" pitchFamily="34" charset="0"/>
              <a:buChar char="•"/>
            </a:pPr>
            <a:endParaRPr lang="en-GB" sz="1200" u="non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rtlCol="0"/>
          <a:lstStyle/>
          <a:p>
            <a:pPr rtl="0"/>
            <a:fld id="{7CECEF16-1845-4D05-AF61-647A7547EB36}" type="slidenum">
              <a:rPr lang="en-GB" smtClean="0"/>
              <a:t>7</a:t>
            </a:fld>
            <a:endParaRPr lang="en-GB" dirty="0"/>
          </a:p>
        </p:txBody>
      </p:sp>
    </p:spTree>
    <p:extLst>
      <p:ext uri="{BB962C8B-B14F-4D97-AF65-F5344CB8AC3E}">
        <p14:creationId xmlns:p14="http://schemas.microsoft.com/office/powerpoint/2010/main" val="7178453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5"/>
          </p:nvPr>
        </p:nvSpPr>
        <p:spPr/>
        <p:txBody>
          <a:bodyPr rtlCol="0"/>
          <a:lstStyle/>
          <a:p>
            <a:pPr rtl="0"/>
            <a:fld id="{7CECEF16-1845-4D05-AF61-647A7547EB36}" type="slidenum">
              <a:rPr lang="en-GB" smtClean="0"/>
              <a:t>9</a:t>
            </a:fld>
            <a:endParaRPr lang="en-GB" dirty="0"/>
          </a:p>
        </p:txBody>
      </p:sp>
    </p:spTree>
    <p:extLst>
      <p:ext uri="{BB962C8B-B14F-4D97-AF65-F5344CB8AC3E}">
        <p14:creationId xmlns:p14="http://schemas.microsoft.com/office/powerpoint/2010/main" val="3594536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149949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5"/>
          </p:nvPr>
        </p:nvSpPr>
        <p:spPr/>
        <p:txBody>
          <a:bodyPr rtlCol="0"/>
          <a:lstStyle/>
          <a:p>
            <a:pPr rtl="0"/>
            <a:fld id="{7CECEF16-1845-4D05-AF61-647A7547EB36}" type="slidenum">
              <a:rPr lang="en-GB" smtClean="0"/>
              <a:t>12</a:t>
            </a:fld>
            <a:endParaRPr lang="en-GB" dirty="0"/>
          </a:p>
        </p:txBody>
      </p:sp>
    </p:spTree>
    <p:extLst>
      <p:ext uri="{BB962C8B-B14F-4D97-AF65-F5344CB8AC3E}">
        <p14:creationId xmlns:p14="http://schemas.microsoft.com/office/powerpoint/2010/main" val="35095918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342900" lvl="0" indent="-342900" rtl="0" fontAlgn="base">
              <a:buClr>
                <a:srgbClr val="F0AB00"/>
              </a:buClr>
              <a:buSzPts val="1100"/>
              <a:buFont typeface="Symbol" panose="05050102010706020507" pitchFamily="18" charset="2"/>
              <a:buChar char=""/>
              <a:tabLst>
                <a:tab pos="228600" algn="l"/>
              </a:tabLst>
            </a:pPr>
            <a:endParaRPr lang="en-GB" dirty="0"/>
          </a:p>
        </p:txBody>
      </p:sp>
      <p:sp>
        <p:nvSpPr>
          <p:cNvPr id="4" name="Slide Number Placeholder 3"/>
          <p:cNvSpPr>
            <a:spLocks noGrp="1"/>
          </p:cNvSpPr>
          <p:nvPr>
            <p:ph type="sldNum" sz="quarter" idx="5"/>
          </p:nvPr>
        </p:nvSpPr>
        <p:spPr/>
        <p:txBody>
          <a:bodyPr rtlCol="0"/>
          <a:lstStyle/>
          <a:p>
            <a:pPr rtl="0"/>
            <a:fld id="{7CECEF16-1845-4D05-AF61-647A7547EB36}" type="slidenum">
              <a:rPr lang="en-GB" smtClean="0"/>
              <a:t>14</a:t>
            </a:fld>
            <a:endParaRPr lang="en-GB" dirty="0"/>
          </a:p>
        </p:txBody>
      </p:sp>
    </p:spTree>
    <p:extLst>
      <p:ext uri="{BB962C8B-B14F-4D97-AF65-F5344CB8AC3E}">
        <p14:creationId xmlns:p14="http://schemas.microsoft.com/office/powerpoint/2010/main" val="37566425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6.png"/><Relationship Id="rId2" Type="http://schemas.openxmlformats.org/officeDocument/2006/relationships/image" Target="../media/image3.jp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6.png"/><Relationship Id="rId2" Type="http://schemas.openxmlformats.org/officeDocument/2006/relationships/image" Target="../media/image14.jp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sv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2.bin"/><Relationship Id="rId5" Type="http://schemas.openxmlformats.org/officeDocument/2006/relationships/image" Target="../media/image30.emf"/><Relationship Id="rId4" Type="http://schemas.openxmlformats.org/officeDocument/2006/relationships/oleObject" Target="../embeddings/oleObject1.bin"/></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15.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16.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17.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18.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19.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14.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14.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14.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14.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8.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2.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24.jpeg"/><Relationship Id="rId4" Type="http://schemas.openxmlformats.org/officeDocument/2006/relationships/image" Target="../media/image22.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24.jpeg"/><Relationship Id="rId4" Type="http://schemas.openxmlformats.org/officeDocument/2006/relationships/image" Target="../media/image22.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24.jpeg"/><Relationship Id="rId4" Type="http://schemas.openxmlformats.org/officeDocument/2006/relationships/image" Target="../media/image22.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24.jpeg"/><Relationship Id="rId4" Type="http://schemas.openxmlformats.org/officeDocument/2006/relationships/image" Target="../media/image22.svg"/></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4.xml"/><Relationship Id="rId1" Type="http://schemas.openxmlformats.org/officeDocument/2006/relationships/tags" Target="../tags/tag28.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1.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2.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3.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4.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5.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6.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7.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39.xml"/><Relationship Id="rId5" Type="http://schemas.openxmlformats.org/officeDocument/2006/relationships/image" Target="../media/image24.jpeg"/><Relationship Id="rId4" Type="http://schemas.openxmlformats.org/officeDocument/2006/relationships/image" Target="../media/image22.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jpg"/><Relationship Id="rId7"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40.xml"/><Relationship Id="rId5" Type="http://schemas.openxmlformats.org/officeDocument/2006/relationships/image" Target="../media/image24.jpeg"/><Relationship Id="rId4" Type="http://schemas.openxmlformats.org/officeDocument/2006/relationships/image" Target="../media/image22.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41.xml"/><Relationship Id="rId5" Type="http://schemas.openxmlformats.org/officeDocument/2006/relationships/image" Target="../media/image24.jpeg"/><Relationship Id="rId4" Type="http://schemas.openxmlformats.org/officeDocument/2006/relationships/image" Target="../media/image22.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42.xml"/><Relationship Id="rId5" Type="http://schemas.openxmlformats.org/officeDocument/2006/relationships/image" Target="../media/image24.jpeg"/><Relationship Id="rId4" Type="http://schemas.openxmlformats.org/officeDocument/2006/relationships/image" Target="../media/image22.svg"/></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4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4.xml"/><Relationship Id="rId1" Type="http://schemas.openxmlformats.org/officeDocument/2006/relationships/tags" Target="../tags/tag45.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6.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jpg"/><Relationship Id="rId7"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to Panc - Hero Image Logo bottom right">
    <p:spTree>
      <p:nvGrpSpPr>
        <p:cNvPr id="1" name=""/>
        <p:cNvGrpSpPr/>
        <p:nvPr/>
      </p:nvGrpSpPr>
      <p:grpSpPr>
        <a:xfrm>
          <a:off x="0" y="0"/>
          <a:ext cx="0" cy="0"/>
          <a:chOff x="0" y="0"/>
          <a:chExt cx="0" cy="0"/>
        </a:xfrm>
      </p:grpSpPr>
      <p:pic>
        <p:nvPicPr>
          <p:cNvPr id="10" name="Hero Image">
            <a:extLst>
              <a:ext uri="{FF2B5EF4-FFF2-40B4-BE49-F238E27FC236}">
                <a16:creationId xmlns:a16="http://schemas.microsoft.com/office/drawing/2014/main" id="{802E39EB-9562-4D45-8A18-A8309C2A7C20}"/>
              </a:ext>
            </a:extLst>
          </p:cNvPr>
          <p:cNvPicPr>
            <a:picLocks noChangeAspect="1"/>
          </p:cNvPicPr>
          <p:nvPr userDrawn="1"/>
        </p:nvPicPr>
        <p:blipFill>
          <a:blip r:embed="rId2"/>
          <a:srcRect/>
          <a:stretch/>
        </p:blipFill>
        <p:spPr>
          <a:xfrm>
            <a:off x="0" y="0"/>
            <a:ext cx="12192000" cy="6858000"/>
          </a:xfrm>
          <a:prstGeom prst="rect">
            <a:avLst/>
          </a:prstGeom>
        </p:spPr>
      </p:pic>
      <p:sp>
        <p:nvSpPr>
          <p:cNvPr id="16" name="white Panel">
            <a:extLst>
              <a:ext uri="{FF2B5EF4-FFF2-40B4-BE49-F238E27FC236}">
                <a16:creationId xmlns:a16="http://schemas.microsoft.com/office/drawing/2014/main" id="{AA463619-309D-2D4E-A528-1B01E634E131}"/>
              </a:ext>
            </a:extLst>
          </p:cNvPr>
          <p:cNvSpPr/>
          <p:nvPr userDrawn="1"/>
        </p:nvSpPr>
        <p:spPr>
          <a:xfrm>
            <a:off x="0" y="5995538"/>
            <a:ext cx="12192000" cy="8669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a:p>
        </p:txBody>
      </p:sp>
      <p:sp>
        <p:nvSpPr>
          <p:cNvPr id="2" name="Base Rule">
            <a:extLst>
              <a:ext uri="{FF2B5EF4-FFF2-40B4-BE49-F238E27FC236}">
                <a16:creationId xmlns:a16="http://schemas.microsoft.com/office/drawing/2014/main" id="{F124C109-AD7F-2296-ADF2-012AC09B5EDA}"/>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pic>
        <p:nvPicPr>
          <p:cNvPr id="18" name="AZ Logo">
            <a:extLst>
              <a:ext uri="{FF2B5EF4-FFF2-40B4-BE49-F238E27FC236}">
                <a16:creationId xmlns:a16="http://schemas.microsoft.com/office/drawing/2014/main" id="{B97F4E40-6E2E-E743-84BA-95744BDD77C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313781" y="6218640"/>
            <a:ext cx="1147048" cy="275941"/>
          </a:xfrm>
          <a:prstGeom prst="rect">
            <a:avLst/>
          </a:prstGeom>
        </p:spPr>
      </p:pic>
      <p:pic>
        <p:nvPicPr>
          <p:cNvPr id="19" name="MSD Logo">
            <a:extLst>
              <a:ext uri="{FF2B5EF4-FFF2-40B4-BE49-F238E27FC236}">
                <a16:creationId xmlns:a16="http://schemas.microsoft.com/office/drawing/2014/main" id="{767707A2-F8F6-F14B-A9CD-55ABD664A7A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21791" y="6307032"/>
            <a:ext cx="668100" cy="244800"/>
          </a:xfrm>
          <a:prstGeom prst="rect">
            <a:avLst/>
          </a:prstGeom>
        </p:spPr>
      </p:pic>
      <p:pic>
        <p:nvPicPr>
          <p:cNvPr id="21" name="Lynparza Logo">
            <a:extLst>
              <a:ext uri="{FF2B5EF4-FFF2-40B4-BE49-F238E27FC236}">
                <a16:creationId xmlns:a16="http://schemas.microsoft.com/office/drawing/2014/main" id="{6E458BE3-913D-7F47-8F03-34D2F731BBF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503678" y="5967483"/>
            <a:ext cx="1563703" cy="883611"/>
          </a:xfrm>
          <a:prstGeom prst="rect">
            <a:avLst/>
          </a:prstGeom>
        </p:spPr>
      </p:pic>
      <p:sp>
        <p:nvSpPr>
          <p:cNvPr id="11" name="Copy">
            <a:extLst>
              <a:ext uri="{FF2B5EF4-FFF2-40B4-BE49-F238E27FC236}">
                <a16:creationId xmlns:a16="http://schemas.microsoft.com/office/drawing/2014/main" id="{67E40561-5F30-D047-806B-7A4A9BAB930C}"/>
              </a:ext>
            </a:extLst>
          </p:cNvPr>
          <p:cNvSpPr/>
          <p:nvPr userDrawn="1"/>
        </p:nvSpPr>
        <p:spPr>
          <a:xfrm>
            <a:off x="3769070" y="6340693"/>
            <a:ext cx="6277455" cy="153888"/>
          </a:xfrm>
          <a:prstGeom prst="rect">
            <a:avLst/>
          </a:prstGeom>
        </p:spPr>
        <p:txBody>
          <a:bodyPr wrap="square" lIns="0"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43448232"/>
      </p:ext>
    </p:extLst>
  </p:cSld>
  <p:clrMapOvr>
    <a:masterClrMapping/>
  </p:clrMapOvr>
  <p:extLst>
    <p:ext uri="{DCECCB84-F9BA-43D5-87BE-67443E8EF086}">
      <p15:sldGuideLst xmlns:p15="http://schemas.microsoft.com/office/powerpoint/2012/main">
        <p15:guide id="1" orient="horz" pos="377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 column with header_Lake">
    <p:bg>
      <p:bgPr>
        <a:solidFill>
          <a:schemeClr val="bg1"/>
        </a:solidFill>
        <a:effectLst/>
      </p:bgPr>
    </p:bg>
    <p:spTree>
      <p:nvGrpSpPr>
        <p:cNvPr id="1" name=""/>
        <p:cNvGrpSpPr/>
        <p:nvPr/>
      </p:nvGrpSpPr>
      <p:grpSpPr>
        <a:xfrm>
          <a:off x="0" y="0"/>
          <a:ext cx="0" cy="0"/>
          <a:chOff x="0" y="0"/>
          <a:chExt cx="0" cy="0"/>
        </a:xfrm>
      </p:grpSpPr>
      <p:pic>
        <p:nvPicPr>
          <p:cNvPr id="10" name="Hero Image">
            <a:extLst>
              <a:ext uri="{FF2B5EF4-FFF2-40B4-BE49-F238E27FC236}">
                <a16:creationId xmlns:a16="http://schemas.microsoft.com/office/drawing/2014/main" id="{DD98DF8E-A509-BE48-95F8-E9C523105BAB}"/>
              </a:ext>
            </a:extLst>
          </p:cNvPr>
          <p:cNvPicPr>
            <a:picLocks noChangeAspect="1"/>
          </p:cNvPicPr>
          <p:nvPr userDrawn="1"/>
        </p:nvPicPr>
        <p:blipFill rotWithShape="1">
          <a:blip r:embed="rId2"/>
          <a:srcRect l="5716" t="315" r="1" b="63396"/>
          <a:stretch/>
        </p:blipFill>
        <p:spPr>
          <a:xfrm>
            <a:off x="0" y="-2959"/>
            <a:ext cx="11161126" cy="1249363"/>
          </a:xfrm>
          <a:prstGeom prst="rect">
            <a:avLst/>
          </a:prstGeom>
        </p:spPr>
      </p:pic>
      <p:sp>
        <p:nvSpPr>
          <p:cNvPr id="5" name="Base Rule">
            <a:extLst>
              <a:ext uri="{FF2B5EF4-FFF2-40B4-BE49-F238E27FC236}">
                <a16:creationId xmlns:a16="http://schemas.microsoft.com/office/drawing/2014/main" id="{9C556E32-4266-0944-9D59-FFCE8BA9C33D}"/>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8" name="Copy">
            <a:extLst>
              <a:ext uri="{FF2B5EF4-FFF2-40B4-BE49-F238E27FC236}">
                <a16:creationId xmlns:a16="http://schemas.microsoft.com/office/drawing/2014/main" id="{7F04475A-3F47-744E-863A-2C31801325C2}"/>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22" name="AZ Logo">
            <a:extLst>
              <a:ext uri="{FF2B5EF4-FFF2-40B4-BE49-F238E27FC236}">
                <a16:creationId xmlns:a16="http://schemas.microsoft.com/office/drawing/2014/main" id="{96A8A6E8-E4CE-4140-B537-86F9E3492430}"/>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936591" y="6348816"/>
            <a:ext cx="1147048" cy="275941"/>
          </a:xfrm>
          <a:prstGeom prst="rect">
            <a:avLst/>
          </a:prstGeom>
        </p:spPr>
      </p:pic>
      <p:pic>
        <p:nvPicPr>
          <p:cNvPr id="23" name="MSD Logo">
            <a:extLst>
              <a:ext uri="{FF2B5EF4-FFF2-40B4-BE49-F238E27FC236}">
                <a16:creationId xmlns:a16="http://schemas.microsoft.com/office/drawing/2014/main" id="{43A12255-852D-CF4F-A398-B08E675E9AD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44601" y="6437207"/>
            <a:ext cx="668100" cy="244800"/>
          </a:xfrm>
          <a:prstGeom prst="rect">
            <a:avLst/>
          </a:prstGeom>
        </p:spPr>
      </p:pic>
      <p:pic>
        <p:nvPicPr>
          <p:cNvPr id="14" name="Lynparza Logo">
            <a:extLst>
              <a:ext uri="{FF2B5EF4-FFF2-40B4-BE49-F238E27FC236}">
                <a16:creationId xmlns:a16="http://schemas.microsoft.com/office/drawing/2014/main" id="{BDC31F5D-1439-F246-95C0-3359A6F3D84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sp>
        <p:nvSpPr>
          <p:cNvPr id="13" name="Text Placeholder 12">
            <a:extLst>
              <a:ext uri="{FF2B5EF4-FFF2-40B4-BE49-F238E27FC236}">
                <a16:creationId xmlns:a16="http://schemas.microsoft.com/office/drawing/2014/main" id="{1EDA0A41-D542-AE4D-9DFE-4F286B3F70C8}"/>
              </a:ext>
            </a:extLst>
          </p:cNvPr>
          <p:cNvSpPr>
            <a:spLocks noGrp="1"/>
          </p:cNvSpPr>
          <p:nvPr userDrawn="1">
            <p:ph type="body" sz="quarter" idx="12" hasCustomPrompt="1"/>
          </p:nvPr>
        </p:nvSpPr>
        <p:spPr>
          <a:xfrm>
            <a:off x="838800" y="1497600"/>
            <a:ext cx="9986400" cy="4147200"/>
          </a:xfrm>
          <a:prstGeom prst="rect">
            <a:avLst/>
          </a:prstGeom>
        </p:spPr>
        <p:txBody>
          <a:bodyPr lIns="0" tIns="0" rIns="0" bIns="0">
            <a:normAutofit/>
          </a:bodyPr>
          <a:lstStyle>
            <a:lvl1pPr>
              <a:buClr>
                <a:schemeClr val="accent1"/>
              </a:buClr>
              <a:defRPr sz="1400">
                <a:solidFill>
                  <a:srgbClr val="960064"/>
                </a:solidFill>
              </a:defRPr>
            </a:lvl1pPr>
            <a:lvl2pPr>
              <a:buClr>
                <a:schemeClr val="accent1"/>
              </a:buClr>
              <a:defRPr sz="1200">
                <a:solidFill>
                  <a:srgbClr val="960064"/>
                </a:solidFill>
              </a:defRPr>
            </a:lvl2pPr>
            <a:lvl3pPr>
              <a:buClr>
                <a:schemeClr val="accent1"/>
              </a:buClr>
              <a:defRPr sz="1100">
                <a:solidFill>
                  <a:srgbClr val="960064"/>
                </a:solidFill>
              </a:defRPr>
            </a:lvl3pPr>
            <a:lvl4pPr>
              <a:buClr>
                <a:schemeClr val="accent1"/>
              </a:buClr>
              <a:defRPr sz="1051">
                <a:solidFill>
                  <a:srgbClr val="960064"/>
                </a:solidFill>
              </a:defRPr>
            </a:lvl4pPr>
            <a:lvl5pPr>
              <a:buClr>
                <a:schemeClr val="accent1"/>
              </a:buClr>
              <a:defRPr sz="1000">
                <a:solidFill>
                  <a:srgbClr val="96006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Freeform 25">
            <a:extLst>
              <a:ext uri="{FF2B5EF4-FFF2-40B4-BE49-F238E27FC236}">
                <a16:creationId xmlns:a16="http://schemas.microsoft.com/office/drawing/2014/main" id="{BCFF43F5-04C3-C44D-9098-94D3B58E2493}"/>
              </a:ext>
            </a:extLst>
          </p:cNvPr>
          <p:cNvSpPr/>
          <p:nvPr userDrawn="1"/>
        </p:nvSpPr>
        <p:spPr>
          <a:xfrm>
            <a:off x="2" y="181685"/>
            <a:ext cx="7743533" cy="946539"/>
          </a:xfrm>
          <a:custGeom>
            <a:avLst/>
            <a:gdLst>
              <a:gd name="connsiteX0" fmla="*/ 0 w 7743533"/>
              <a:gd name="connsiteY0" fmla="*/ 0 h 946539"/>
              <a:gd name="connsiteX1" fmla="*/ 7743533 w 7743533"/>
              <a:gd name="connsiteY1" fmla="*/ 7185 h 946539"/>
              <a:gd name="connsiteX2" fmla="*/ 7513570 w 7743533"/>
              <a:gd name="connsiteY2" fmla="*/ 942420 h 946539"/>
              <a:gd name="connsiteX3" fmla="*/ 0 w 7743533"/>
              <a:gd name="connsiteY3" fmla="*/ 946539 h 946539"/>
            </a:gdLst>
            <a:ahLst/>
            <a:cxnLst>
              <a:cxn ang="0">
                <a:pos x="connsiteX0" y="connsiteY0"/>
              </a:cxn>
              <a:cxn ang="0">
                <a:pos x="connsiteX1" y="connsiteY1"/>
              </a:cxn>
              <a:cxn ang="0">
                <a:pos x="connsiteX2" y="connsiteY2"/>
              </a:cxn>
              <a:cxn ang="0">
                <a:pos x="connsiteX3" y="connsiteY3"/>
              </a:cxn>
            </a:cxnLst>
            <a:rect l="l" t="t" r="r" b="b"/>
            <a:pathLst>
              <a:path w="7743533" h="946539">
                <a:moveTo>
                  <a:pt x="0" y="0"/>
                </a:moveTo>
                <a:lnTo>
                  <a:pt x="7743533" y="7185"/>
                </a:lnTo>
                <a:lnTo>
                  <a:pt x="7513570" y="942420"/>
                </a:lnTo>
                <a:lnTo>
                  <a:pt x="0" y="946539"/>
                </a:lnTo>
                <a:close/>
              </a:path>
            </a:pathLst>
          </a:custGeom>
          <a:solidFill>
            <a:srgbClr val="960064">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25" name="Freeform 24">
            <a:extLst>
              <a:ext uri="{FF2B5EF4-FFF2-40B4-BE49-F238E27FC236}">
                <a16:creationId xmlns:a16="http://schemas.microsoft.com/office/drawing/2014/main" id="{9713A42D-AE26-3340-8848-AD6E5DAEC037}"/>
              </a:ext>
            </a:extLst>
          </p:cNvPr>
          <p:cNvSpPr/>
          <p:nvPr userDrawn="1"/>
        </p:nvSpPr>
        <p:spPr>
          <a:xfrm>
            <a:off x="1" y="1"/>
            <a:ext cx="7519155" cy="966668"/>
          </a:xfrm>
          <a:custGeom>
            <a:avLst/>
            <a:gdLst>
              <a:gd name="connsiteX0" fmla="*/ 0 w 7519155"/>
              <a:gd name="connsiteY0" fmla="*/ 0 h 966668"/>
              <a:gd name="connsiteX1" fmla="*/ 7519155 w 7519155"/>
              <a:gd name="connsiteY1" fmla="*/ 0 h 966668"/>
              <a:gd name="connsiteX2" fmla="*/ 7290187 w 7519155"/>
              <a:gd name="connsiteY2" fmla="*/ 966668 h 966668"/>
              <a:gd name="connsiteX3" fmla="*/ 0 w 7519155"/>
              <a:gd name="connsiteY3" fmla="*/ 956651 h 966668"/>
            </a:gdLst>
            <a:ahLst/>
            <a:cxnLst>
              <a:cxn ang="0">
                <a:pos x="connsiteX0" y="connsiteY0"/>
              </a:cxn>
              <a:cxn ang="0">
                <a:pos x="connsiteX1" y="connsiteY1"/>
              </a:cxn>
              <a:cxn ang="0">
                <a:pos x="connsiteX2" y="connsiteY2"/>
              </a:cxn>
              <a:cxn ang="0">
                <a:pos x="connsiteX3" y="connsiteY3"/>
              </a:cxn>
            </a:cxnLst>
            <a:rect l="l" t="t" r="r" b="b"/>
            <a:pathLst>
              <a:path w="7519155" h="966668">
                <a:moveTo>
                  <a:pt x="0" y="0"/>
                </a:moveTo>
                <a:lnTo>
                  <a:pt x="7519155" y="0"/>
                </a:lnTo>
                <a:lnTo>
                  <a:pt x="7290187" y="966668"/>
                </a:lnTo>
                <a:lnTo>
                  <a:pt x="0" y="956651"/>
                </a:lnTo>
                <a:close/>
              </a:path>
            </a:pathLst>
          </a:custGeom>
          <a:solidFill>
            <a:srgbClr val="960064">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11" name="Header">
            <a:extLst>
              <a:ext uri="{FF2B5EF4-FFF2-40B4-BE49-F238E27FC236}">
                <a16:creationId xmlns:a16="http://schemas.microsoft.com/office/drawing/2014/main" id="{83C9C947-5B46-4041-9416-D36AEA0A291D}"/>
              </a:ext>
            </a:extLst>
          </p:cNvPr>
          <p:cNvSpPr>
            <a:spLocks noGrp="1"/>
          </p:cNvSpPr>
          <p:nvPr userDrawn="1">
            <p:ph type="body" sz="quarter" idx="11" hasCustomPrompt="1"/>
          </p:nvPr>
        </p:nvSpPr>
        <p:spPr>
          <a:xfrm>
            <a:off x="838800" y="169200"/>
            <a:ext cx="6156000" cy="784800"/>
          </a:xfrm>
          <a:prstGeom prst="rect">
            <a:avLst/>
          </a:prstGeom>
        </p:spPr>
        <p:txBody>
          <a:bodyPr lIns="0" tIns="90000" rIns="46800" bIns="0">
            <a:normAutofit/>
          </a:bodyPr>
          <a:lstStyle>
            <a:lvl1pPr marL="0" indent="0">
              <a:lnSpc>
                <a:spcPct val="100000"/>
              </a:lnSpc>
              <a:spcAft>
                <a:spcPts val="200"/>
              </a:spcAft>
              <a:buFontTx/>
              <a:buNone/>
              <a:defRPr sz="2200" b="1" i="1">
                <a:solidFill>
                  <a:schemeClr val="bg1"/>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3536387376"/>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guide id="3" orient="horz" pos="2160" userDrawn="1">
          <p15:clr>
            <a:srgbClr val="FBAE40"/>
          </p15:clr>
        </p15:guide>
        <p15:guide id="4" orient="horz" pos="3997"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5" name="Rectangle 4"/>
          <p:cNvSpPr>
            <a:spLocks noGrp="1" noChangeArrowheads="1"/>
          </p:cNvSpPr>
          <p:nvPr userDrawn="1"/>
        </p:nvSpPr>
        <p:spPr bwMode="auto">
          <a:xfrm>
            <a:off x="705014" y="4575175"/>
            <a:ext cx="3585633" cy="381000"/>
          </a:xfrm>
          <a:prstGeom prst="rect">
            <a:avLst/>
          </a:prstGeom>
          <a:noFill/>
          <a:ln w="9525">
            <a:noFill/>
            <a:miter lim="800000"/>
            <a:headEnd/>
            <a:tailEnd/>
          </a:ln>
          <a:effectLst/>
        </p:spPr>
        <p:txBody>
          <a:bodyPr anchor="b"/>
          <a:lstStyle/>
          <a:p>
            <a:r>
              <a:rPr lang="en-GB" sz="1867" b="1" dirty="0">
                <a:solidFill>
                  <a:schemeClr val="tx1"/>
                </a:solidFill>
                <a:latin typeface="Arial" pitchFamily="34" charset="0"/>
                <a:cs typeface="Arial" pitchFamily="34" charset="0"/>
              </a:rPr>
              <a:t>Confidentiality Notice </a:t>
            </a:r>
            <a:endParaRPr lang="en-GB" sz="3200" dirty="0">
              <a:solidFill>
                <a:schemeClr val="tx1"/>
              </a:solidFill>
              <a:latin typeface="Arial" pitchFamily="34" charset="0"/>
              <a:cs typeface="Arial" pitchFamily="34" charset="0"/>
            </a:endParaRPr>
          </a:p>
        </p:txBody>
      </p:sp>
      <p:sp>
        <p:nvSpPr>
          <p:cNvPr id="7" name="Rectangle 6"/>
          <p:cNvSpPr>
            <a:spLocks noGrp="1" noChangeArrowheads="1"/>
          </p:cNvSpPr>
          <p:nvPr userDrawn="1"/>
        </p:nvSpPr>
        <p:spPr bwMode="auto">
          <a:xfrm>
            <a:off x="721946" y="4956175"/>
            <a:ext cx="9920657" cy="864000"/>
          </a:xfrm>
          <a:prstGeom prst="rect">
            <a:avLst/>
          </a:prstGeom>
          <a:noFill/>
          <a:ln w="9525">
            <a:noFill/>
            <a:miter lim="800000"/>
            <a:headEnd/>
            <a:tailEnd/>
          </a:ln>
          <a:effectLst/>
        </p:spPr>
        <p:txBody>
          <a:bodyPr/>
          <a:lstStyle/>
          <a:p>
            <a:r>
              <a:rPr lang="en-GB" sz="1200" noProof="0" dirty="0">
                <a:solidFill>
                  <a:schemeClr val="tx1"/>
                </a:solidFill>
                <a:latin typeface="+mn-lt"/>
                <a:cs typeface="Arial"/>
              </a:rPr>
              <a:t>This file is private and may contain confidential and proprietary information. If you have received this file in error, please notify us and remove </a:t>
            </a:r>
            <a:br>
              <a:rPr lang="en-GB" sz="1200" noProof="0" dirty="0">
                <a:solidFill>
                  <a:schemeClr val="tx1"/>
                </a:solidFill>
                <a:latin typeface="+mn-lt"/>
                <a:cs typeface="Arial"/>
              </a:rPr>
            </a:br>
            <a:r>
              <a:rPr lang="en-GB" sz="1200" noProof="0" dirty="0">
                <a:solidFill>
                  <a:schemeClr val="tx1"/>
                </a:solidFill>
                <a:latin typeface="+mn-lt"/>
                <a:cs typeface="Arial"/>
              </a:rPr>
              <a:t>it from your system and note that you must not copy, distribute or take any action in reliance on it. Any unauthorized use or disclosure of the contents of this file is not permitted and may be unlawful. AstraZeneca PLC, </a:t>
            </a:r>
            <a:r>
              <a:rPr lang="en-US" sz="1200" kern="1200" dirty="0">
                <a:solidFill>
                  <a:schemeClr val="tx1"/>
                </a:solidFill>
                <a:latin typeface="+mn-lt"/>
                <a:ea typeface="+mn-ea"/>
                <a:cs typeface="Arial"/>
              </a:rPr>
              <a:t>1 Francis Crick Avenue</a:t>
            </a:r>
            <a:r>
              <a:rPr lang="en-US" sz="1200" kern="1200" baseline="0" dirty="0">
                <a:solidFill>
                  <a:schemeClr val="tx1"/>
                </a:solidFill>
                <a:latin typeface="+mn-lt"/>
                <a:ea typeface="+mn-ea"/>
                <a:cs typeface="Arial"/>
              </a:rPr>
              <a:t>, </a:t>
            </a:r>
            <a:r>
              <a:rPr lang="en-US" sz="1200" kern="1200" dirty="0">
                <a:solidFill>
                  <a:schemeClr val="tx1"/>
                </a:solidFill>
                <a:latin typeface="+mn-lt"/>
                <a:ea typeface="+mn-ea"/>
                <a:cs typeface="Arial"/>
              </a:rPr>
              <a:t>Cambridge Biomedical Campus, Cambridge, CB2 0AA</a:t>
            </a:r>
            <a:r>
              <a:rPr lang="en-GB" sz="1200" noProof="0" dirty="0">
                <a:solidFill>
                  <a:schemeClr val="tx1"/>
                </a:solidFill>
                <a:latin typeface="+mn-lt"/>
                <a:cs typeface="Arial"/>
              </a:rPr>
              <a:t>, UK, T: +44(0)203 749 5000, www.astrazeneca.com</a:t>
            </a:r>
          </a:p>
        </p:txBody>
      </p:sp>
    </p:spTree>
    <p:extLst>
      <p:ext uri="{BB962C8B-B14F-4D97-AF65-F5344CB8AC3E}">
        <p14:creationId xmlns:p14="http://schemas.microsoft.com/office/powerpoint/2010/main" val="134287056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0" y="150875"/>
            <a:ext cx="11208792" cy="779060"/>
          </a:xfrm>
        </p:spPr>
        <p:txBody>
          <a:bodyPr/>
          <a:lstStyle>
            <a:lvl1pPr>
              <a:defRPr>
                <a:solidFill>
                  <a:srgbClr val="830051"/>
                </a:solidFill>
              </a:defRPr>
            </a:lvl1pPr>
          </a:lstStyle>
          <a:p>
            <a:r>
              <a:rPr lang="en-GB" dirty="0"/>
              <a:t>Click to edit Master title style</a:t>
            </a:r>
          </a:p>
        </p:txBody>
      </p:sp>
      <p:sp>
        <p:nvSpPr>
          <p:cNvPr id="8" name="Text Placeholder 7"/>
          <p:cNvSpPr>
            <a:spLocks noGrp="1"/>
          </p:cNvSpPr>
          <p:nvPr>
            <p:ph type="body" sz="quarter" idx="10"/>
          </p:nvPr>
        </p:nvSpPr>
        <p:spPr>
          <a:xfrm>
            <a:off x="-1" y="6152877"/>
            <a:ext cx="10244668" cy="694267"/>
          </a:xfrm>
          <a:prstGeom prst="rect">
            <a:avLst/>
          </a:prstGeom>
        </p:spPr>
        <p:txBody>
          <a:bodyPr anchor="b">
            <a:normAutofit/>
          </a:bodyPr>
          <a:lstStyle>
            <a:lvl1pPr marL="0" algn="l" defTabSz="816276" rtl="0" eaLnBrk="1" fontAlgn="base" latinLnBrk="0" hangingPunct="1">
              <a:spcBef>
                <a:spcPct val="0"/>
              </a:spcBef>
              <a:spcAft>
                <a:spcPct val="0"/>
              </a:spcAft>
              <a:buClr>
                <a:schemeClr val="tx2"/>
              </a:buClr>
              <a:defRPr lang="en-US" sz="933" b="0" kern="0" dirty="0" smtClean="0">
                <a:solidFill>
                  <a:srgbClr val="6A6356"/>
                </a:solidFill>
                <a:latin typeface="+mn-lt"/>
                <a:ea typeface="+mn-ea"/>
                <a:cs typeface="+mn-cs"/>
              </a:defRPr>
            </a:lvl1pPr>
          </a:lstStyle>
          <a:p>
            <a:pPr lvl="0"/>
            <a:r>
              <a:rPr lang="en-GB"/>
              <a:t>Click to edit Master text styles</a:t>
            </a:r>
          </a:p>
        </p:txBody>
      </p:sp>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3" y="6180270"/>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7" y="1057824"/>
            <a:ext cx="11204788" cy="701273"/>
          </a:xfrm>
          <a:prstGeom prst="rect">
            <a:avLst/>
          </a:prstGeom>
          <a:noFill/>
          <a:ln>
            <a:noFill/>
          </a:ln>
        </p:spPr>
        <p:txBody>
          <a:bodyPr anchor="t">
            <a:noAutofit/>
          </a:bodyPr>
          <a:lstStyle>
            <a:lvl1pPr marL="0" indent="0">
              <a:lnSpc>
                <a:spcPct val="100000"/>
              </a:lnSpc>
              <a:buNone/>
              <a:defRPr sz="1733" b="0" i="1" baseline="0">
                <a:solidFill>
                  <a:schemeClr val="accent4"/>
                </a:solidFill>
                <a:latin typeface="Arial" pitchFamily="34" charset="0"/>
                <a:cs typeface="Arial" pitchFamily="34" charset="0"/>
              </a:defRPr>
            </a:lvl1pPr>
            <a:lvl2pPr>
              <a:buNone/>
              <a:defRPr/>
            </a:lvl2pPr>
          </a:lstStyle>
          <a:p>
            <a:pPr lvl="0"/>
            <a:r>
              <a:rPr lang="en-GB" dirty="0"/>
              <a:t>Click to edit Master text styles</a:t>
            </a:r>
          </a:p>
        </p:txBody>
      </p:sp>
      <p:sp>
        <p:nvSpPr>
          <p:cNvPr id="9" name="Content Placeholder 8"/>
          <p:cNvSpPr>
            <a:spLocks noGrp="1"/>
          </p:cNvSpPr>
          <p:nvPr>
            <p:ph sz="quarter" idx="13" hasCustomPrompt="1"/>
          </p:nvPr>
        </p:nvSpPr>
        <p:spPr>
          <a:xfrm>
            <a:off x="430605" y="1686984"/>
            <a:ext cx="10443633" cy="4451349"/>
          </a:xfrm>
        </p:spPr>
        <p:txBody>
          <a:bodyPr>
            <a:normAutofit/>
          </a:bodyPr>
          <a:lstStyle>
            <a:lvl1pPr>
              <a:spcAft>
                <a:spcPts val="357"/>
              </a:spcAft>
              <a:defRPr sz="1867" b="0">
                <a:solidFill>
                  <a:srgbClr val="4B306A"/>
                </a:solidFill>
              </a:defRPr>
            </a:lvl1pPr>
            <a:lvl2pPr marL="215405" indent="-213517">
              <a:lnSpc>
                <a:spcPct val="100000"/>
              </a:lnSpc>
              <a:spcAft>
                <a:spcPts val="357"/>
              </a:spcAft>
              <a:defRPr sz="1867" b="0">
                <a:solidFill>
                  <a:schemeClr val="tx1"/>
                </a:solidFill>
              </a:defRPr>
            </a:lvl2pPr>
            <a:lvl3pPr marL="595201" indent="-168169">
              <a:lnSpc>
                <a:spcPct val="100000"/>
              </a:lnSpc>
              <a:spcAft>
                <a:spcPts val="357"/>
              </a:spcAft>
              <a:buSzPct val="80000"/>
              <a:buFont typeface="Arial" panose="020B0604020202020204" pitchFamily="34" charset="0"/>
              <a:buChar char="–"/>
              <a:defRPr sz="1467">
                <a:solidFill>
                  <a:schemeClr val="tx1"/>
                </a:solidFill>
              </a:defRPr>
            </a:lvl3pPr>
            <a:lvl4pPr>
              <a:lnSpc>
                <a:spcPct val="100000"/>
              </a:lnSpc>
              <a:spcAft>
                <a:spcPts val="357"/>
              </a:spcAft>
              <a:defRPr sz="1333">
                <a:solidFill>
                  <a:schemeClr val="tx1"/>
                </a:solidFill>
              </a:defRPr>
            </a:lvl4pPr>
            <a:lvl5pPr>
              <a:lnSpc>
                <a:spcPct val="100000"/>
              </a:lnSpc>
              <a:defRPr/>
            </a:lvl5pPr>
          </a:lstStyle>
          <a:p>
            <a:pPr lvl="1"/>
            <a:r>
              <a:rPr lang="en-GB" dirty="0"/>
              <a:t>Second level</a:t>
            </a:r>
          </a:p>
          <a:p>
            <a:pPr lvl="2"/>
            <a:r>
              <a:rPr lang="en-GB" dirty="0"/>
              <a:t>Third level</a:t>
            </a:r>
          </a:p>
          <a:p>
            <a:pPr lvl="3"/>
            <a:r>
              <a:rPr lang="en-GB" dirty="0"/>
              <a:t>Fourth level</a:t>
            </a:r>
          </a:p>
        </p:txBody>
      </p:sp>
      <p:sp>
        <p:nvSpPr>
          <p:cNvPr id="12" name="Slide Number Placeholder 4"/>
          <p:cNvSpPr>
            <a:spLocks noGrp="1"/>
          </p:cNvSpPr>
          <p:nvPr>
            <p:ph type="sldNum" sz="quarter" idx="4"/>
          </p:nvPr>
        </p:nvSpPr>
        <p:spPr>
          <a:xfrm>
            <a:off x="9347200" y="6588617"/>
            <a:ext cx="2844800" cy="172584"/>
          </a:xfrm>
          <a:prstGeom prst="rect">
            <a:avLst/>
          </a:prstGeom>
        </p:spPr>
        <p:txBody>
          <a:bodyPr vert="horz" lIns="57397" tIns="28698" rIns="57397" bIns="28698" rtlCol="0" anchor="ctr"/>
          <a:lstStyle>
            <a:lvl1pPr algn="r">
              <a:defRPr sz="800">
                <a:solidFill>
                  <a:schemeClr val="tx1">
                    <a:tint val="75000"/>
                  </a:schemeClr>
                </a:solidFill>
              </a:defRPr>
            </a:lvl1pPr>
          </a:lstStyle>
          <a:p>
            <a:fld id="{4FF61421-0D1F-374C-A6EF-D3B8E531EC5C}" type="slidenum">
              <a:rPr lang="en-US" smtClean="0"/>
              <a:pPr/>
              <a:t>‹#›</a:t>
            </a:fld>
            <a:endParaRPr lang="en-US" dirty="0"/>
          </a:p>
        </p:txBody>
      </p:sp>
    </p:spTree>
    <p:extLst>
      <p:ext uri="{BB962C8B-B14F-4D97-AF65-F5344CB8AC3E}">
        <p14:creationId xmlns:p14="http://schemas.microsoft.com/office/powerpoint/2010/main" val="408729344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Pharma_Science_3">
    <p:spTree>
      <p:nvGrpSpPr>
        <p:cNvPr id="1" name=""/>
        <p:cNvGrpSpPr/>
        <p:nvPr/>
      </p:nvGrpSpPr>
      <p:grpSpPr>
        <a:xfrm>
          <a:off x="0" y="0"/>
          <a:ext cx="0" cy="0"/>
          <a:chOff x="0" y="0"/>
          <a:chExt cx="0" cy="0"/>
        </a:xfrm>
      </p:grpSpPr>
      <p:pic>
        <p:nvPicPr>
          <p:cNvPr id="3" name="Picture 2" descr="A picture containing cake, tree, reef, indoor&#10;&#10;Description automatically generated">
            <a:extLst>
              <a:ext uri="{FF2B5EF4-FFF2-40B4-BE49-F238E27FC236}">
                <a16:creationId xmlns:a16="http://schemas.microsoft.com/office/drawing/2014/main" id="{D70BBD08-7D34-5548-A954-46F975288B59}"/>
              </a:ext>
            </a:extLst>
          </p:cNvPr>
          <p:cNvPicPr>
            <a:picLocks noChangeAspect="1"/>
          </p:cNvPicPr>
          <p:nvPr userDrawn="1"/>
        </p:nvPicPr>
        <p:blipFill rotWithShape="1">
          <a:blip r:embed="rId2"/>
          <a:srcRect t="28772" b="28772"/>
          <a:stretch/>
        </p:blipFill>
        <p:spPr>
          <a:xfrm>
            <a:off x="192000" y="3837285"/>
            <a:ext cx="11803200" cy="2818659"/>
          </a:xfrm>
          <a:prstGeom prst="rect">
            <a:avLst/>
          </a:prstGeom>
        </p:spPr>
      </p:pic>
      <p:sp>
        <p:nvSpPr>
          <p:cNvPr id="13" name="Title 8"/>
          <p:cNvSpPr>
            <a:spLocks noGrp="1"/>
          </p:cNvSpPr>
          <p:nvPr>
            <p:ph type="title" hasCustomPrompt="1"/>
          </p:nvPr>
        </p:nvSpPr>
        <p:spPr>
          <a:xfrm>
            <a:off x="288003" y="1442243"/>
            <a:ext cx="9097012" cy="672000"/>
          </a:xfrm>
          <a:prstGeom prst="rect">
            <a:avLst/>
          </a:prstGeom>
        </p:spPr>
        <p:txBody>
          <a:bodyPr vert="horz"/>
          <a:lstStyle>
            <a:lvl1pPr algn="l">
              <a:lnSpc>
                <a:spcPct val="90000"/>
              </a:lnSpc>
              <a:defRPr sz="3733"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9" name="Text Placeholder 29"/>
          <p:cNvSpPr>
            <a:spLocks noGrp="1"/>
          </p:cNvSpPr>
          <p:nvPr>
            <p:ph type="body" sz="quarter" idx="11" hasCustomPrompt="1"/>
          </p:nvPr>
        </p:nvSpPr>
        <p:spPr>
          <a:xfrm>
            <a:off x="287999" y="3202200"/>
            <a:ext cx="8640000" cy="254400"/>
          </a:xfrm>
          <a:prstGeom prst="rect">
            <a:avLst/>
          </a:prstGeom>
        </p:spPr>
        <p:txBody>
          <a:bodyPr vert="horz"/>
          <a:lstStyle>
            <a:lvl1pPr marL="0" indent="0">
              <a:lnSpc>
                <a:spcPts val="1467"/>
              </a:lnSpc>
              <a:spcBef>
                <a:spcPts val="0"/>
              </a:spcBef>
              <a:buNone/>
              <a:defRPr sz="1867"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87999" y="3477200"/>
            <a:ext cx="8640000" cy="254400"/>
          </a:xfrm>
          <a:prstGeom prst="rect">
            <a:avLst/>
          </a:prstGeom>
        </p:spPr>
        <p:txBody>
          <a:bodyPr vert="horz"/>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9504000" y="3202200"/>
            <a:ext cx="2496000" cy="254400"/>
          </a:xfrm>
          <a:prstGeom prst="rect">
            <a:avLst/>
          </a:prstGeom>
        </p:spPr>
        <p:txBody>
          <a:bodyPr vert="horz"/>
          <a:lstStyle>
            <a:lvl1pPr marL="0" indent="0">
              <a:lnSpc>
                <a:spcPts val="1467"/>
              </a:lnSpc>
              <a:spcBef>
                <a:spcPts val="0"/>
              </a:spcBef>
              <a:buNone/>
              <a:defRPr sz="16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9504000" y="3477200"/>
            <a:ext cx="2496000" cy="254400"/>
          </a:xfrm>
          <a:prstGeom prst="rect">
            <a:avLst/>
          </a:prstGeom>
        </p:spPr>
        <p:txBody>
          <a:bodyPr vert="horz"/>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89052875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0" y="150875"/>
            <a:ext cx="11208792" cy="908180"/>
          </a:xfrm>
        </p:spPr>
        <p:txBody>
          <a:bodyPr/>
          <a:lstStyle>
            <a:lvl1pPr>
              <a:defRPr>
                <a:solidFill>
                  <a:srgbClr val="830051"/>
                </a:solidFill>
              </a:defRPr>
            </a:lvl1pPr>
          </a:lstStyle>
          <a:p>
            <a:r>
              <a:rPr lang="en-GB" dirty="0"/>
              <a:t>Click to edit Master title style</a:t>
            </a:r>
          </a:p>
        </p:txBody>
      </p:sp>
      <p:sp>
        <p:nvSpPr>
          <p:cNvPr id="8" name="Text Placeholder 7"/>
          <p:cNvSpPr>
            <a:spLocks noGrp="1"/>
          </p:cNvSpPr>
          <p:nvPr>
            <p:ph type="body" sz="quarter" idx="10"/>
          </p:nvPr>
        </p:nvSpPr>
        <p:spPr>
          <a:xfrm>
            <a:off x="-1" y="6152877"/>
            <a:ext cx="10244668" cy="694267"/>
          </a:xfrm>
          <a:prstGeom prst="rect">
            <a:avLst/>
          </a:prstGeom>
        </p:spPr>
        <p:txBody>
          <a:bodyPr anchor="b">
            <a:normAutofit/>
          </a:bodyPr>
          <a:lstStyle>
            <a:lvl1pPr marL="0" algn="l" defTabSz="914354" rtl="0" eaLnBrk="1" fontAlgn="base" latinLnBrk="0" hangingPunct="1">
              <a:spcBef>
                <a:spcPct val="0"/>
              </a:spcBef>
              <a:spcAft>
                <a:spcPct val="0"/>
              </a:spcAft>
              <a:buClr>
                <a:schemeClr val="tx2"/>
              </a:buClr>
              <a:defRPr lang="en-US" sz="800" b="0" kern="0" dirty="0" smtClean="0">
                <a:solidFill>
                  <a:srgbClr val="6A6356"/>
                </a:solidFill>
                <a:latin typeface="+mn-lt"/>
                <a:ea typeface="+mn-ea"/>
                <a:cs typeface="+mn-cs"/>
              </a:defRPr>
            </a:lvl1pPr>
          </a:lstStyle>
          <a:p>
            <a:pPr lvl="0"/>
            <a:r>
              <a:rPr lang="en-GB" dirty="0"/>
              <a:t>Click to edit Master text styles</a:t>
            </a:r>
          </a:p>
        </p:txBody>
      </p:sp>
      <p:pic>
        <p:nvPicPr>
          <p:cNvPr id="5" name="Picture 4" hidden="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1212693" y="6180269"/>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6" y="1057822"/>
            <a:ext cx="11204788" cy="701273"/>
          </a:xfrm>
          <a:prstGeom prst="rect">
            <a:avLst/>
          </a:prstGeom>
          <a:noFill/>
          <a:ln>
            <a:noFill/>
          </a:ln>
        </p:spPr>
        <p:txBody>
          <a:bodyPr anchor="t">
            <a:noAutofit/>
          </a:bodyPr>
          <a:lstStyle>
            <a:lvl1pPr marL="0" indent="0">
              <a:lnSpc>
                <a:spcPct val="100000"/>
              </a:lnSpc>
              <a:buNone/>
              <a:defRPr sz="2000" b="0" i="1" baseline="0">
                <a:solidFill>
                  <a:schemeClr val="accent4"/>
                </a:solidFill>
                <a:latin typeface="Arial" pitchFamily="34" charset="0"/>
                <a:cs typeface="Arial" pitchFamily="34" charset="0"/>
              </a:defRPr>
            </a:lvl1pPr>
            <a:lvl2pPr>
              <a:buNone/>
              <a:defRPr/>
            </a:lvl2pPr>
          </a:lstStyle>
          <a:p>
            <a:pPr lvl="0"/>
            <a:r>
              <a:rPr lang="en-GB" dirty="0"/>
              <a:t>Click to edit Master text styles</a:t>
            </a:r>
          </a:p>
        </p:txBody>
      </p:sp>
      <p:sp>
        <p:nvSpPr>
          <p:cNvPr id="9" name="Content Placeholder 8"/>
          <p:cNvSpPr>
            <a:spLocks noGrp="1"/>
          </p:cNvSpPr>
          <p:nvPr>
            <p:ph sz="quarter" idx="13" hasCustomPrompt="1"/>
          </p:nvPr>
        </p:nvSpPr>
        <p:spPr>
          <a:xfrm>
            <a:off x="430604" y="1686984"/>
            <a:ext cx="10443633" cy="4451349"/>
          </a:xfrm>
        </p:spPr>
        <p:txBody>
          <a:bodyPr>
            <a:normAutofit/>
          </a:bodyPr>
          <a:lstStyle>
            <a:lvl1pPr>
              <a:spcAft>
                <a:spcPts val="400"/>
              </a:spcAft>
              <a:defRPr sz="2133" b="0">
                <a:solidFill>
                  <a:srgbClr val="4B306A"/>
                </a:solidFill>
              </a:defRPr>
            </a:lvl1pPr>
            <a:lvl2pPr marL="241289" indent="-239173">
              <a:lnSpc>
                <a:spcPct val="100000"/>
              </a:lnSpc>
              <a:spcAft>
                <a:spcPts val="400"/>
              </a:spcAft>
              <a:defRPr sz="2133" b="0">
                <a:solidFill>
                  <a:schemeClr val="tx1"/>
                </a:solidFill>
              </a:defRPr>
            </a:lvl2pPr>
            <a:lvl3pPr marL="666718" indent="-188374">
              <a:lnSpc>
                <a:spcPct val="100000"/>
              </a:lnSpc>
              <a:spcAft>
                <a:spcPts val="400"/>
              </a:spcAft>
              <a:buSzPct val="80000"/>
              <a:buFont typeface="Arial" panose="020B0604020202020204" pitchFamily="34" charset="0"/>
              <a:buChar char="–"/>
              <a:defRPr sz="1600">
                <a:solidFill>
                  <a:schemeClr val="tx1"/>
                </a:solidFill>
              </a:defRPr>
            </a:lvl3pPr>
            <a:lvl4pPr>
              <a:lnSpc>
                <a:spcPct val="100000"/>
              </a:lnSpc>
              <a:spcAft>
                <a:spcPts val="400"/>
              </a:spcAft>
              <a:defRPr sz="1467">
                <a:solidFill>
                  <a:schemeClr val="tx1"/>
                </a:solidFill>
              </a:defRPr>
            </a:lvl4pPr>
            <a:lvl5pPr>
              <a:lnSpc>
                <a:spcPct val="100000"/>
              </a:lnSpc>
              <a:defRPr/>
            </a:lvl5pPr>
          </a:lstStyle>
          <a:p>
            <a:pPr lvl="1"/>
            <a:r>
              <a:rPr lang="en-GB" dirty="0"/>
              <a:t>Second level</a:t>
            </a:r>
          </a:p>
          <a:p>
            <a:pPr lvl="2"/>
            <a:r>
              <a:rPr lang="en-GB" dirty="0"/>
              <a:t>Third level</a:t>
            </a:r>
          </a:p>
          <a:p>
            <a:pPr lvl="3"/>
            <a:r>
              <a:rPr lang="en-GB" dirty="0"/>
              <a:t>Fourth level</a:t>
            </a:r>
          </a:p>
        </p:txBody>
      </p:sp>
      <p:sp>
        <p:nvSpPr>
          <p:cNvPr id="12" name="Slide Number Placeholder 4"/>
          <p:cNvSpPr>
            <a:spLocks noGrp="1"/>
          </p:cNvSpPr>
          <p:nvPr>
            <p:ph type="sldNum" sz="quarter" idx="4"/>
          </p:nvPr>
        </p:nvSpPr>
        <p:spPr>
          <a:xfrm>
            <a:off x="9347200" y="6491819"/>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pPr defTabSz="609585">
              <a:defRPr/>
            </a:pPr>
            <a:fld id="{4FF61421-0D1F-374C-A6EF-D3B8E531EC5C}" type="slidenum">
              <a:rPr lang="en-US" smtClean="0">
                <a:solidFill>
                  <a:srgbClr val="000000">
                    <a:tint val="75000"/>
                  </a:srgbClr>
                </a:solidFill>
              </a:rPr>
              <a:pPr defTabSz="609585">
                <a:defRPr/>
              </a:pPr>
              <a:t>‹#›</a:t>
            </a:fld>
            <a:endParaRPr lang="en-US">
              <a:solidFill>
                <a:srgbClr val="000000">
                  <a:tint val="75000"/>
                </a:srgbClr>
              </a:solidFill>
            </a:endParaRPr>
          </a:p>
        </p:txBody>
      </p:sp>
    </p:spTree>
    <p:extLst>
      <p:ext uri="{BB962C8B-B14F-4D97-AF65-F5344CB8AC3E}">
        <p14:creationId xmlns:p14="http://schemas.microsoft.com/office/powerpoint/2010/main" val="259161424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a:xfrm>
            <a:off x="407721" y="294300"/>
            <a:ext cx="11376561" cy="777873"/>
          </a:xfrm>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Footer Placeholder 4">
            <a:extLst>
              <a:ext uri="{FF2B5EF4-FFF2-40B4-BE49-F238E27FC236}">
                <a16:creationId xmlns:a16="http://schemas.microsoft.com/office/drawing/2014/main" id="{DB1B867E-AEC6-4A3D-8589-09EEEF1196B2}"/>
              </a:ext>
            </a:extLst>
          </p:cNvPr>
          <p:cNvSpPr>
            <a:spLocks noGrp="1"/>
          </p:cNvSpPr>
          <p:nvPr>
            <p:ph type="ftr" sz="quarter" idx="10"/>
          </p:nvPr>
        </p:nvSpPr>
        <p:spPr/>
        <p:txBody>
          <a:bodyPr/>
          <a:lstStyle>
            <a:lvl1pPr>
              <a:defRPr/>
            </a:lvl1pPr>
          </a:lstStyle>
          <a:p>
            <a:pPr defTabSz="609585">
              <a:defRPr/>
            </a:pPr>
            <a:endParaRPr lang="ru-RU">
              <a:solidFill>
                <a:srgbClr val="000000">
                  <a:lumMod val="50000"/>
                  <a:lumOff val="50000"/>
                </a:srgbClr>
              </a:solidFill>
            </a:endParaRPr>
          </a:p>
        </p:txBody>
      </p:sp>
    </p:spTree>
    <p:extLst>
      <p:ext uri="{BB962C8B-B14F-4D97-AF65-F5344CB8AC3E}">
        <p14:creationId xmlns:p14="http://schemas.microsoft.com/office/powerpoint/2010/main" val="398145298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0" y="161731"/>
            <a:ext cx="11208792" cy="908180"/>
          </a:xfrm>
        </p:spPr>
        <p:txBody>
          <a:bodyPr/>
          <a:lstStyle>
            <a:lvl1pPr>
              <a:defRPr>
                <a:solidFill>
                  <a:schemeClr val="accent3"/>
                </a:solidFill>
              </a:defRPr>
            </a:lvl1pPr>
          </a:lstStyle>
          <a:p>
            <a:r>
              <a:rPr lang="en-GB" dirty="0"/>
              <a:t>Click to edit Master title style</a:t>
            </a:r>
          </a:p>
        </p:txBody>
      </p:sp>
      <p:sp>
        <p:nvSpPr>
          <p:cNvPr id="8" name="Text Placeholder 7"/>
          <p:cNvSpPr>
            <a:spLocks noGrp="1"/>
          </p:cNvSpPr>
          <p:nvPr>
            <p:ph type="body" sz="quarter" idx="10"/>
          </p:nvPr>
        </p:nvSpPr>
        <p:spPr>
          <a:xfrm>
            <a:off x="-1" y="6163733"/>
            <a:ext cx="10244668" cy="694267"/>
          </a:xfrm>
          <a:prstGeom prst="rect">
            <a:avLst/>
          </a:prstGeom>
        </p:spPr>
        <p:txBody>
          <a:bodyPr anchor="b">
            <a:normAutofit/>
          </a:bodyPr>
          <a:lstStyle>
            <a:lvl1pPr marL="0" algn="l" defTabSz="914354" rtl="0" eaLnBrk="1" fontAlgn="base" latinLnBrk="0" hangingPunct="1">
              <a:spcBef>
                <a:spcPct val="0"/>
              </a:spcBef>
              <a:spcAft>
                <a:spcPct val="0"/>
              </a:spcAft>
              <a:buClr>
                <a:schemeClr val="tx2"/>
              </a:buClr>
              <a:defRPr lang="en-US" sz="1067" b="0" kern="0" dirty="0" smtClean="0">
                <a:solidFill>
                  <a:schemeClr val="bg1">
                    <a:lumMod val="50000"/>
                  </a:schemeClr>
                </a:solidFill>
                <a:latin typeface="+mn-lt"/>
                <a:ea typeface="+mn-ea"/>
                <a:cs typeface="+mn-cs"/>
              </a:defRPr>
            </a:lvl1pPr>
          </a:lstStyle>
          <a:p>
            <a:pPr lvl="0"/>
            <a:r>
              <a:rPr lang="en-GB"/>
              <a:t>Click to edit Master text styles</a:t>
            </a:r>
          </a:p>
        </p:txBody>
      </p:sp>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3" y="6180269"/>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6" y="1038470"/>
            <a:ext cx="11204788" cy="701273"/>
          </a:xfrm>
          <a:prstGeom prst="rect">
            <a:avLst/>
          </a:prstGeom>
          <a:noFill/>
          <a:ln>
            <a:noFill/>
          </a:ln>
        </p:spPr>
        <p:txBody>
          <a:bodyPr anchor="t">
            <a:noAutofit/>
          </a:bodyPr>
          <a:lstStyle>
            <a:lvl1pPr marL="0" indent="0">
              <a:lnSpc>
                <a:spcPct val="100000"/>
              </a:lnSpc>
              <a:buNone/>
              <a:defRPr sz="1867" b="0" i="1" baseline="0">
                <a:solidFill>
                  <a:schemeClr val="accent4"/>
                </a:solidFill>
                <a:latin typeface="Arial" pitchFamily="34" charset="0"/>
                <a:cs typeface="Arial" pitchFamily="34" charset="0"/>
              </a:defRPr>
            </a:lvl1pPr>
            <a:lvl2pPr>
              <a:buNone/>
              <a:defRPr/>
            </a:lvl2pPr>
          </a:lstStyle>
          <a:p>
            <a:pPr lvl="0"/>
            <a:r>
              <a:rPr lang="en-GB" dirty="0"/>
              <a:t>Click to edit Master text styles</a:t>
            </a:r>
          </a:p>
        </p:txBody>
      </p:sp>
      <p:sp>
        <p:nvSpPr>
          <p:cNvPr id="9" name="Content Placeholder 8"/>
          <p:cNvSpPr>
            <a:spLocks noGrp="1"/>
          </p:cNvSpPr>
          <p:nvPr>
            <p:ph sz="quarter" idx="13"/>
          </p:nvPr>
        </p:nvSpPr>
        <p:spPr>
          <a:xfrm>
            <a:off x="430604" y="1686984"/>
            <a:ext cx="10443633" cy="4451349"/>
          </a:xfrm>
        </p:spPr>
        <p:txBody>
          <a:bodyPr/>
          <a:lstStyle>
            <a:lvl1pPr>
              <a:spcAft>
                <a:spcPts val="400"/>
              </a:spcAft>
              <a:defRPr sz="2133" b="0">
                <a:solidFill>
                  <a:srgbClr val="4B306A"/>
                </a:solidFill>
              </a:defRPr>
            </a:lvl1pPr>
            <a:lvl2pPr marL="241289" indent="-239173">
              <a:lnSpc>
                <a:spcPct val="100000"/>
              </a:lnSpc>
              <a:spcAft>
                <a:spcPts val="400"/>
              </a:spcAft>
              <a:defRPr sz="2133" b="0">
                <a:solidFill>
                  <a:schemeClr val="tx1"/>
                </a:solidFill>
              </a:defRPr>
            </a:lvl2pPr>
            <a:lvl3pPr marL="666718" indent="-188374">
              <a:lnSpc>
                <a:spcPct val="100000"/>
              </a:lnSpc>
              <a:spcAft>
                <a:spcPts val="400"/>
              </a:spcAft>
              <a:buSzPct val="80000"/>
              <a:buFont typeface="Arial" panose="020B0604020202020204" pitchFamily="34" charset="0"/>
              <a:buChar char="–"/>
              <a:defRPr sz="1867">
                <a:solidFill>
                  <a:schemeClr val="tx1"/>
                </a:solidFill>
              </a:defRPr>
            </a:lvl3pPr>
            <a:lvl4pPr>
              <a:lnSpc>
                <a:spcPct val="100000"/>
              </a:lnSpc>
              <a:spcAft>
                <a:spcPts val="400"/>
              </a:spcAft>
              <a:defRPr>
                <a:solidFill>
                  <a:schemeClr val="tx1"/>
                </a:solidFill>
              </a:defRPr>
            </a:lvl4pPr>
            <a:lvl5pPr>
              <a:lnSpc>
                <a:spcPct val="100000"/>
              </a:lnSpc>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Slide Number Placeholder 3"/>
          <p:cNvSpPr>
            <a:spLocks noGrp="1"/>
          </p:cNvSpPr>
          <p:nvPr>
            <p:ph type="sldNum" sz="quarter" idx="4"/>
          </p:nvPr>
        </p:nvSpPr>
        <p:spPr>
          <a:xfrm>
            <a:off x="10699104" y="6356353"/>
            <a:ext cx="654697" cy="366183"/>
          </a:xfrm>
          <a:prstGeom prst="rect">
            <a:avLst/>
          </a:prstGeom>
        </p:spPr>
        <p:txBody>
          <a:bodyPr vert="horz" lIns="91440" tIns="45720" rIns="91440" bIns="45720" rtlCol="0" anchor="ctr"/>
          <a:lstStyle>
            <a:lvl1pPr algn="r">
              <a:defRPr sz="1067">
                <a:solidFill>
                  <a:schemeClr val="tx1"/>
                </a:solidFill>
              </a:defRPr>
            </a:lvl1pPr>
          </a:lstStyle>
          <a:p>
            <a:fld id="{47E66208-4A1C-594F-8665-CB46850971E6}" type="slidenum">
              <a:rPr lang="en-GB" smtClean="0"/>
              <a:pPr/>
              <a:t>‹#›</a:t>
            </a:fld>
            <a:endParaRPr lang="en-GB"/>
          </a:p>
        </p:txBody>
      </p:sp>
    </p:spTree>
    <p:extLst>
      <p:ext uri="{BB962C8B-B14F-4D97-AF65-F5344CB8AC3E}">
        <p14:creationId xmlns:p14="http://schemas.microsoft.com/office/powerpoint/2010/main" val="108543868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DAB7B1-C2E1-42C7-8EC0-2BD1DDDB5797}"/>
              </a:ext>
            </a:extLst>
          </p:cNvPr>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8100" imgH="38100" progId="">
                  <p:embed/>
                </p:oleObj>
              </mc:Choice>
              <mc:Fallback>
                <p:oleObj name="think-cell Slide" r:id="rId4" imgW="38100" imgH="38100" progId="">
                  <p:embed/>
                  <p:pic>
                    <p:nvPicPr>
                      <p:cNvPr id="3" name="Object 2" hidden="1">
                        <a:extLst>
                          <a:ext uri="{FF2B5EF4-FFF2-40B4-BE49-F238E27FC236}">
                            <a16:creationId xmlns:a16="http://schemas.microsoft.com/office/drawing/2014/main" id="{CEDAB7B1-C2E1-42C7-8EC0-2BD1DDDB57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 name="Object 1" hidden="1">
            <a:extLst>
              <a:ext uri="{FF2B5EF4-FFF2-40B4-BE49-F238E27FC236}">
                <a16:creationId xmlns:a16="http://schemas.microsoft.com/office/drawing/2014/main" id="{5332C336-DB09-4921-9D6B-FED8B37E5C31}"/>
              </a:ext>
            </a:extLst>
          </p:cNvPr>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8100" imgH="38100" progId="">
                  <p:embed/>
                </p:oleObj>
              </mc:Choice>
              <mc:Fallback>
                <p:oleObj name="think-cell Slide" r:id="rId6" imgW="38100" imgH="38100" progId="">
                  <p:embed/>
                  <p:pic>
                    <p:nvPicPr>
                      <p:cNvPr id="4" name="Object 1" hidden="1">
                        <a:extLst>
                          <a:ext uri="{FF2B5EF4-FFF2-40B4-BE49-F238E27FC236}">
                            <a16:creationId xmlns:a16="http://schemas.microsoft.com/office/drawing/2014/main" id="{5332C336-DB09-4921-9D6B-FED8B37E5C3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8"/>
          <p:cNvSpPr>
            <a:spLocks noGrp="1"/>
          </p:cNvSpPr>
          <p:nvPr>
            <p:ph type="title"/>
          </p:nvPr>
        </p:nvSpPr>
        <p:spPr>
          <a:xfrm>
            <a:off x="316086" y="1074869"/>
            <a:ext cx="11687535" cy="672000"/>
          </a:xfrm>
          <a:prstGeom prst="rect">
            <a:avLst/>
          </a:prstGeom>
        </p:spPr>
        <p:txBody>
          <a:bodyPr vert="horz"/>
          <a:lstStyle>
            <a:lvl1pPr algn="l" defTabSz="609555" rtl="0" eaLnBrk="1" latinLnBrk="0" hangingPunct="1">
              <a:lnSpc>
                <a:spcPct val="100000"/>
              </a:lnSpc>
              <a:spcBef>
                <a:spcPct val="0"/>
              </a:spcBef>
              <a:buNone/>
              <a:defRPr lang="en-GB" sz="2667" b="1" kern="1200" baseline="0" noProof="0" dirty="0">
                <a:solidFill>
                  <a:schemeClr val="tx1"/>
                </a:solidFill>
                <a:latin typeface="Arial" pitchFamily="34" charset="0"/>
                <a:ea typeface="+mj-ea"/>
                <a:cs typeface="Arial" pitchFamily="34" charset="0"/>
              </a:defRPr>
            </a:lvl1pPr>
          </a:lstStyle>
          <a:p>
            <a:r>
              <a:rPr lang="ru-RU" noProof="0"/>
              <a:t>Образец заголовка</a:t>
            </a:r>
            <a:endParaRPr lang="en-GB" noProof="0" dirty="0"/>
          </a:p>
        </p:txBody>
      </p:sp>
    </p:spTree>
    <p:extLst>
      <p:ext uri="{BB962C8B-B14F-4D97-AF65-F5344CB8AC3E}">
        <p14:creationId xmlns:p14="http://schemas.microsoft.com/office/powerpoint/2010/main" val="397569715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Discovery Sciences_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2000" y="3837284"/>
            <a:ext cx="11804109" cy="2818659"/>
          </a:xfrm>
          <a:prstGeom prst="rect">
            <a:avLst/>
          </a:prstGeom>
        </p:spPr>
      </p:pic>
      <p:sp>
        <p:nvSpPr>
          <p:cNvPr id="4"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tx2"/>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428563994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5"/>
          <p:cNvSpPr>
            <a:spLocks noGrp="1"/>
          </p:cNvSpPr>
          <p:nvPr>
            <p:ph type="body" sz="quarter" idx="12"/>
          </p:nvPr>
        </p:nvSpPr>
        <p:spPr>
          <a:xfrm>
            <a:off x="372453" y="1081741"/>
            <a:ext cx="10732819" cy="627531"/>
          </a:xfrm>
        </p:spPr>
        <p:txBody>
          <a:bodyPr anchor="t">
            <a:normAutofit/>
          </a:bodyPr>
          <a:lstStyle>
            <a:lvl1pPr marL="0" indent="0">
              <a:buNone/>
              <a:defRPr sz="1600" b="0">
                <a:solidFill>
                  <a:schemeClr val="accent4"/>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0FFECCB5-6011-F848-A253-8D4FF525620F}"/>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346267903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0" y="161731"/>
            <a:ext cx="11208792" cy="908180"/>
          </a:xfrm>
        </p:spPr>
        <p:txBody>
          <a:bodyPr/>
          <a:lstStyle>
            <a:lvl1pPr>
              <a:defRPr>
                <a:solidFill>
                  <a:schemeClr val="accent3"/>
                </a:solidFill>
              </a:defRPr>
            </a:lvl1pPr>
          </a:lstStyle>
          <a:p>
            <a:r>
              <a:rPr lang="en-GB" dirty="0"/>
              <a:t>Click to edit Master title style</a:t>
            </a:r>
          </a:p>
        </p:txBody>
      </p:sp>
      <p:sp>
        <p:nvSpPr>
          <p:cNvPr id="8" name="Text Placeholder 7"/>
          <p:cNvSpPr>
            <a:spLocks noGrp="1"/>
          </p:cNvSpPr>
          <p:nvPr>
            <p:ph type="body" sz="quarter" idx="10"/>
          </p:nvPr>
        </p:nvSpPr>
        <p:spPr>
          <a:xfrm>
            <a:off x="-1" y="6163733"/>
            <a:ext cx="10244668" cy="694267"/>
          </a:xfrm>
          <a:prstGeom prst="rect">
            <a:avLst/>
          </a:prstGeom>
        </p:spPr>
        <p:txBody>
          <a:bodyPr anchor="b">
            <a:normAutofit/>
          </a:bodyPr>
          <a:lstStyle>
            <a:lvl1pPr marL="0" algn="l" defTabSz="914354" rtl="0" eaLnBrk="1" fontAlgn="base" latinLnBrk="0" hangingPunct="1">
              <a:spcBef>
                <a:spcPct val="0"/>
              </a:spcBef>
              <a:spcAft>
                <a:spcPct val="0"/>
              </a:spcAft>
              <a:buClr>
                <a:schemeClr val="tx2"/>
              </a:buClr>
              <a:defRPr lang="en-US" sz="1100" b="0" kern="0" dirty="0" smtClean="0">
                <a:solidFill>
                  <a:schemeClr val="bg1">
                    <a:lumMod val="50000"/>
                  </a:schemeClr>
                </a:solidFill>
                <a:latin typeface="+mn-lt"/>
                <a:ea typeface="+mn-ea"/>
                <a:cs typeface="+mn-cs"/>
              </a:defRPr>
            </a:lvl1pPr>
          </a:lstStyle>
          <a:p>
            <a:pPr lvl="0"/>
            <a:r>
              <a:rPr lang="en-GB"/>
              <a:t>Click to edit Master text styles</a:t>
            </a:r>
          </a:p>
        </p:txBody>
      </p:sp>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3" y="6180269"/>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6" y="1038470"/>
            <a:ext cx="11204788" cy="701273"/>
          </a:xfrm>
          <a:prstGeom prst="rect">
            <a:avLst/>
          </a:prstGeom>
          <a:noFill/>
          <a:ln>
            <a:noFill/>
          </a:ln>
        </p:spPr>
        <p:txBody>
          <a:bodyPr anchor="t">
            <a:noAutofit/>
          </a:bodyPr>
          <a:lstStyle>
            <a:lvl1pPr marL="0" indent="0">
              <a:lnSpc>
                <a:spcPct val="100000"/>
              </a:lnSpc>
              <a:buNone/>
              <a:defRPr sz="1900" b="0" i="1" baseline="0">
                <a:solidFill>
                  <a:schemeClr val="accent4"/>
                </a:solidFill>
                <a:latin typeface="Arial" pitchFamily="34" charset="0"/>
                <a:cs typeface="Arial" pitchFamily="34" charset="0"/>
              </a:defRPr>
            </a:lvl1pPr>
            <a:lvl2pPr>
              <a:buNone/>
              <a:defRPr/>
            </a:lvl2pPr>
          </a:lstStyle>
          <a:p>
            <a:pPr lvl="0"/>
            <a:r>
              <a:rPr lang="en-GB" dirty="0"/>
              <a:t>Click to edit Master text styles</a:t>
            </a:r>
          </a:p>
        </p:txBody>
      </p:sp>
      <p:sp>
        <p:nvSpPr>
          <p:cNvPr id="9" name="Content Placeholder 8"/>
          <p:cNvSpPr>
            <a:spLocks noGrp="1"/>
          </p:cNvSpPr>
          <p:nvPr>
            <p:ph sz="quarter" idx="13"/>
          </p:nvPr>
        </p:nvSpPr>
        <p:spPr>
          <a:xfrm>
            <a:off x="430604" y="1686984"/>
            <a:ext cx="10443633" cy="4451349"/>
          </a:xfrm>
        </p:spPr>
        <p:txBody>
          <a:bodyPr/>
          <a:lstStyle>
            <a:lvl1pPr>
              <a:spcAft>
                <a:spcPts val="400"/>
              </a:spcAft>
              <a:defRPr sz="2100" b="0">
                <a:solidFill>
                  <a:srgbClr val="4B306A"/>
                </a:solidFill>
              </a:defRPr>
            </a:lvl1pPr>
            <a:lvl2pPr marL="241289" indent="-239173">
              <a:lnSpc>
                <a:spcPct val="100000"/>
              </a:lnSpc>
              <a:spcAft>
                <a:spcPts val="400"/>
              </a:spcAft>
              <a:defRPr sz="2100" b="0">
                <a:solidFill>
                  <a:schemeClr val="tx1"/>
                </a:solidFill>
              </a:defRPr>
            </a:lvl2pPr>
            <a:lvl3pPr marL="666718" indent="-188374">
              <a:lnSpc>
                <a:spcPct val="100000"/>
              </a:lnSpc>
              <a:spcAft>
                <a:spcPts val="400"/>
              </a:spcAft>
              <a:buSzPct val="80000"/>
              <a:buFont typeface="Arial" panose="020B0604020202020204" pitchFamily="34" charset="0"/>
              <a:buChar char="–"/>
              <a:defRPr sz="1900">
                <a:solidFill>
                  <a:schemeClr val="tx1"/>
                </a:solidFill>
              </a:defRPr>
            </a:lvl3pPr>
            <a:lvl4pPr>
              <a:lnSpc>
                <a:spcPct val="100000"/>
              </a:lnSpc>
              <a:spcAft>
                <a:spcPts val="400"/>
              </a:spcAft>
              <a:defRPr>
                <a:solidFill>
                  <a:schemeClr val="tx1"/>
                </a:solidFill>
              </a:defRPr>
            </a:lvl4pPr>
            <a:lvl5pPr>
              <a:lnSpc>
                <a:spcPct val="100000"/>
              </a:lnSpc>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Slide Number Placeholder 3"/>
          <p:cNvSpPr>
            <a:spLocks noGrp="1"/>
          </p:cNvSpPr>
          <p:nvPr>
            <p:ph type="sldNum" sz="quarter" idx="4"/>
          </p:nvPr>
        </p:nvSpPr>
        <p:spPr>
          <a:xfrm>
            <a:off x="10699104" y="6356353"/>
            <a:ext cx="654697" cy="366183"/>
          </a:xfrm>
          <a:prstGeom prst="rect">
            <a:avLst/>
          </a:prstGeom>
        </p:spPr>
        <p:txBody>
          <a:bodyPr vert="horz" lIns="121917" tIns="60958" rIns="121917" bIns="60958" rtlCol="0" anchor="ctr"/>
          <a:lstStyle>
            <a:lvl1pPr algn="r">
              <a:defRPr sz="1100">
                <a:solidFill>
                  <a:schemeClr val="tx1"/>
                </a:solidFill>
              </a:defRPr>
            </a:lvl1pPr>
          </a:lstStyle>
          <a:p>
            <a:fld id="{47E66208-4A1C-594F-8665-CB46850971E6}" type="slidenum">
              <a:rPr lang="en-GB" smtClean="0"/>
              <a:pPr/>
              <a:t>‹#›</a:t>
            </a:fld>
            <a:endParaRPr lang="en-GB"/>
          </a:p>
        </p:txBody>
      </p:sp>
    </p:spTree>
    <p:extLst>
      <p:ext uri="{BB962C8B-B14F-4D97-AF65-F5344CB8AC3E}">
        <p14:creationId xmlns:p14="http://schemas.microsoft.com/office/powerpoint/2010/main" val="19810780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 column with header_Garage">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841E07E1-6CA4-7A47-72D5-EE99238D2805}"/>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Copy">
            <a:extLst>
              <a:ext uri="{FF2B5EF4-FFF2-40B4-BE49-F238E27FC236}">
                <a16:creationId xmlns:a16="http://schemas.microsoft.com/office/drawing/2014/main" id="{3C9FFC04-42EC-5C33-021B-4E087021FBE9}"/>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4" name="AZ Logo">
            <a:extLst>
              <a:ext uri="{FF2B5EF4-FFF2-40B4-BE49-F238E27FC236}">
                <a16:creationId xmlns:a16="http://schemas.microsoft.com/office/drawing/2014/main" id="{F5DF4E6B-DDDB-B4CB-8DE7-ED72D6688C2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36591" y="6348816"/>
            <a:ext cx="1147048" cy="275941"/>
          </a:xfrm>
          <a:prstGeom prst="rect">
            <a:avLst/>
          </a:prstGeom>
        </p:spPr>
      </p:pic>
      <p:pic>
        <p:nvPicPr>
          <p:cNvPr id="6" name="MSD Logo">
            <a:extLst>
              <a:ext uri="{FF2B5EF4-FFF2-40B4-BE49-F238E27FC236}">
                <a16:creationId xmlns:a16="http://schemas.microsoft.com/office/drawing/2014/main" id="{BEFD40D9-90BA-43AC-CD78-32131F772E4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44601" y="6437207"/>
            <a:ext cx="668100" cy="244800"/>
          </a:xfrm>
          <a:prstGeom prst="rect">
            <a:avLst/>
          </a:prstGeom>
        </p:spPr>
      </p:pic>
      <p:pic>
        <p:nvPicPr>
          <p:cNvPr id="7" name="Lynparza Logo">
            <a:extLst>
              <a:ext uri="{FF2B5EF4-FFF2-40B4-BE49-F238E27FC236}">
                <a16:creationId xmlns:a16="http://schemas.microsoft.com/office/drawing/2014/main" id="{650698DE-8587-85F1-CBEF-9D328A9ED46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pic>
        <p:nvPicPr>
          <p:cNvPr id="10" name="Hero Image">
            <a:extLst>
              <a:ext uri="{FF2B5EF4-FFF2-40B4-BE49-F238E27FC236}">
                <a16:creationId xmlns:a16="http://schemas.microsoft.com/office/drawing/2014/main" id="{DD98DF8E-A509-BE48-95F8-E9C523105BAB}"/>
              </a:ext>
            </a:extLst>
          </p:cNvPr>
          <p:cNvPicPr>
            <a:picLocks noChangeAspect="1"/>
          </p:cNvPicPr>
          <p:nvPr userDrawn="1"/>
        </p:nvPicPr>
        <p:blipFill rotWithShape="1">
          <a:blip r:embed="rId7"/>
          <a:srcRect l="1" t="-90" r="1" b="61602"/>
          <a:stretch/>
        </p:blipFill>
        <p:spPr>
          <a:xfrm>
            <a:off x="0" y="-2959"/>
            <a:ext cx="11161126" cy="1249363"/>
          </a:xfrm>
          <a:prstGeom prst="rect">
            <a:avLst/>
          </a:prstGeom>
        </p:spPr>
      </p:pic>
      <p:sp>
        <p:nvSpPr>
          <p:cNvPr id="13" name="Text Placeholder 12">
            <a:extLst>
              <a:ext uri="{FF2B5EF4-FFF2-40B4-BE49-F238E27FC236}">
                <a16:creationId xmlns:a16="http://schemas.microsoft.com/office/drawing/2014/main" id="{1EDA0A41-D542-AE4D-9DFE-4F286B3F70C8}"/>
              </a:ext>
            </a:extLst>
          </p:cNvPr>
          <p:cNvSpPr>
            <a:spLocks noGrp="1"/>
          </p:cNvSpPr>
          <p:nvPr userDrawn="1">
            <p:ph type="body" sz="quarter" idx="12" hasCustomPrompt="1"/>
          </p:nvPr>
        </p:nvSpPr>
        <p:spPr>
          <a:xfrm>
            <a:off x="838800" y="1497600"/>
            <a:ext cx="9986400" cy="4147200"/>
          </a:xfrm>
          <a:prstGeom prst="rect">
            <a:avLst/>
          </a:prstGeom>
        </p:spPr>
        <p:txBody>
          <a:bodyPr lIns="0" tIns="0" rIns="0" bIns="0">
            <a:normAutofit/>
          </a:bodyPr>
          <a:lstStyle>
            <a:lvl1pPr>
              <a:buClr>
                <a:schemeClr val="accent1"/>
              </a:buClr>
              <a:defRPr sz="1400">
                <a:solidFill>
                  <a:srgbClr val="960064"/>
                </a:solidFill>
              </a:defRPr>
            </a:lvl1pPr>
            <a:lvl2pPr>
              <a:buClr>
                <a:schemeClr val="accent1"/>
              </a:buClr>
              <a:defRPr sz="1200">
                <a:solidFill>
                  <a:srgbClr val="960064"/>
                </a:solidFill>
              </a:defRPr>
            </a:lvl2pPr>
            <a:lvl3pPr>
              <a:buClr>
                <a:schemeClr val="accent1"/>
              </a:buClr>
              <a:defRPr sz="1100">
                <a:solidFill>
                  <a:srgbClr val="960064"/>
                </a:solidFill>
              </a:defRPr>
            </a:lvl3pPr>
            <a:lvl4pPr>
              <a:buClr>
                <a:schemeClr val="accent1"/>
              </a:buClr>
              <a:defRPr sz="1051">
                <a:solidFill>
                  <a:srgbClr val="960064"/>
                </a:solidFill>
              </a:defRPr>
            </a:lvl4pPr>
            <a:lvl5pPr>
              <a:buClr>
                <a:schemeClr val="accent1"/>
              </a:buClr>
              <a:defRPr sz="1000">
                <a:solidFill>
                  <a:srgbClr val="96006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Freeform 25">
            <a:extLst>
              <a:ext uri="{FF2B5EF4-FFF2-40B4-BE49-F238E27FC236}">
                <a16:creationId xmlns:a16="http://schemas.microsoft.com/office/drawing/2014/main" id="{BCFF43F5-04C3-C44D-9098-94D3B58E2493}"/>
              </a:ext>
            </a:extLst>
          </p:cNvPr>
          <p:cNvSpPr/>
          <p:nvPr userDrawn="1"/>
        </p:nvSpPr>
        <p:spPr>
          <a:xfrm>
            <a:off x="2" y="181685"/>
            <a:ext cx="7743533" cy="946539"/>
          </a:xfrm>
          <a:custGeom>
            <a:avLst/>
            <a:gdLst>
              <a:gd name="connsiteX0" fmla="*/ 0 w 7743533"/>
              <a:gd name="connsiteY0" fmla="*/ 0 h 946539"/>
              <a:gd name="connsiteX1" fmla="*/ 7743533 w 7743533"/>
              <a:gd name="connsiteY1" fmla="*/ 7185 h 946539"/>
              <a:gd name="connsiteX2" fmla="*/ 7513570 w 7743533"/>
              <a:gd name="connsiteY2" fmla="*/ 942420 h 946539"/>
              <a:gd name="connsiteX3" fmla="*/ 0 w 7743533"/>
              <a:gd name="connsiteY3" fmla="*/ 946539 h 946539"/>
            </a:gdLst>
            <a:ahLst/>
            <a:cxnLst>
              <a:cxn ang="0">
                <a:pos x="connsiteX0" y="connsiteY0"/>
              </a:cxn>
              <a:cxn ang="0">
                <a:pos x="connsiteX1" y="connsiteY1"/>
              </a:cxn>
              <a:cxn ang="0">
                <a:pos x="connsiteX2" y="connsiteY2"/>
              </a:cxn>
              <a:cxn ang="0">
                <a:pos x="connsiteX3" y="connsiteY3"/>
              </a:cxn>
            </a:cxnLst>
            <a:rect l="l" t="t" r="r" b="b"/>
            <a:pathLst>
              <a:path w="7743533" h="946539">
                <a:moveTo>
                  <a:pt x="0" y="0"/>
                </a:moveTo>
                <a:lnTo>
                  <a:pt x="7743533" y="7185"/>
                </a:lnTo>
                <a:lnTo>
                  <a:pt x="7513570" y="942420"/>
                </a:lnTo>
                <a:lnTo>
                  <a:pt x="0" y="946539"/>
                </a:lnTo>
                <a:close/>
              </a:path>
            </a:pathLst>
          </a:custGeom>
          <a:solidFill>
            <a:srgbClr val="960064">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25" name="Freeform 24">
            <a:extLst>
              <a:ext uri="{FF2B5EF4-FFF2-40B4-BE49-F238E27FC236}">
                <a16:creationId xmlns:a16="http://schemas.microsoft.com/office/drawing/2014/main" id="{9713A42D-AE26-3340-8848-AD6E5DAEC037}"/>
              </a:ext>
            </a:extLst>
          </p:cNvPr>
          <p:cNvSpPr/>
          <p:nvPr userDrawn="1"/>
        </p:nvSpPr>
        <p:spPr>
          <a:xfrm>
            <a:off x="1" y="1"/>
            <a:ext cx="7519155" cy="966668"/>
          </a:xfrm>
          <a:custGeom>
            <a:avLst/>
            <a:gdLst>
              <a:gd name="connsiteX0" fmla="*/ 0 w 7519155"/>
              <a:gd name="connsiteY0" fmla="*/ 0 h 966668"/>
              <a:gd name="connsiteX1" fmla="*/ 7519155 w 7519155"/>
              <a:gd name="connsiteY1" fmla="*/ 0 h 966668"/>
              <a:gd name="connsiteX2" fmla="*/ 7290187 w 7519155"/>
              <a:gd name="connsiteY2" fmla="*/ 966668 h 966668"/>
              <a:gd name="connsiteX3" fmla="*/ 0 w 7519155"/>
              <a:gd name="connsiteY3" fmla="*/ 956651 h 966668"/>
            </a:gdLst>
            <a:ahLst/>
            <a:cxnLst>
              <a:cxn ang="0">
                <a:pos x="connsiteX0" y="connsiteY0"/>
              </a:cxn>
              <a:cxn ang="0">
                <a:pos x="connsiteX1" y="connsiteY1"/>
              </a:cxn>
              <a:cxn ang="0">
                <a:pos x="connsiteX2" y="connsiteY2"/>
              </a:cxn>
              <a:cxn ang="0">
                <a:pos x="connsiteX3" y="connsiteY3"/>
              </a:cxn>
            </a:cxnLst>
            <a:rect l="l" t="t" r="r" b="b"/>
            <a:pathLst>
              <a:path w="7519155" h="966668">
                <a:moveTo>
                  <a:pt x="0" y="0"/>
                </a:moveTo>
                <a:lnTo>
                  <a:pt x="7519155" y="0"/>
                </a:lnTo>
                <a:lnTo>
                  <a:pt x="7290187" y="966668"/>
                </a:lnTo>
                <a:lnTo>
                  <a:pt x="0" y="956651"/>
                </a:lnTo>
                <a:close/>
              </a:path>
            </a:pathLst>
          </a:custGeom>
          <a:solidFill>
            <a:srgbClr val="960064">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11" name="Header">
            <a:extLst>
              <a:ext uri="{FF2B5EF4-FFF2-40B4-BE49-F238E27FC236}">
                <a16:creationId xmlns:a16="http://schemas.microsoft.com/office/drawing/2014/main" id="{83C9C947-5B46-4041-9416-D36AEA0A291D}"/>
              </a:ext>
            </a:extLst>
          </p:cNvPr>
          <p:cNvSpPr>
            <a:spLocks noGrp="1"/>
          </p:cNvSpPr>
          <p:nvPr userDrawn="1">
            <p:ph type="body" sz="quarter" idx="11" hasCustomPrompt="1"/>
          </p:nvPr>
        </p:nvSpPr>
        <p:spPr>
          <a:xfrm>
            <a:off x="838800" y="169200"/>
            <a:ext cx="6156000" cy="784800"/>
          </a:xfrm>
          <a:prstGeom prst="rect">
            <a:avLst/>
          </a:prstGeom>
        </p:spPr>
        <p:txBody>
          <a:bodyPr lIns="0" tIns="90000" rIns="46800" bIns="0">
            <a:normAutofit/>
          </a:bodyPr>
          <a:lstStyle>
            <a:lvl1pPr marL="0" indent="0">
              <a:lnSpc>
                <a:spcPct val="100000"/>
              </a:lnSpc>
              <a:spcAft>
                <a:spcPts val="200"/>
              </a:spcAft>
              <a:buFontTx/>
              <a:buNone/>
              <a:defRPr sz="2200" b="1" i="1">
                <a:solidFill>
                  <a:schemeClr val="bg1"/>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298237327"/>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guide id="3" orient="horz" pos="2160" userDrawn="1">
          <p15:clr>
            <a:srgbClr val="FBAE40"/>
          </p15:clr>
        </p15:guide>
        <p15:guide id="4" orient="horz" pos="399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 column with header_Leon &amp; Mark">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CD476D96-9E1C-96BE-09D3-F8BD8A42F501}"/>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Copy">
            <a:extLst>
              <a:ext uri="{FF2B5EF4-FFF2-40B4-BE49-F238E27FC236}">
                <a16:creationId xmlns:a16="http://schemas.microsoft.com/office/drawing/2014/main" id="{10EAA93A-193E-E6DC-94CE-840E7FEA0E5D}"/>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4" name="AZ Logo">
            <a:extLst>
              <a:ext uri="{FF2B5EF4-FFF2-40B4-BE49-F238E27FC236}">
                <a16:creationId xmlns:a16="http://schemas.microsoft.com/office/drawing/2014/main" id="{25A77978-98D9-7BCC-F5D5-1EBA126FB27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36591" y="6348816"/>
            <a:ext cx="1147048" cy="275941"/>
          </a:xfrm>
          <a:prstGeom prst="rect">
            <a:avLst/>
          </a:prstGeom>
        </p:spPr>
      </p:pic>
      <p:pic>
        <p:nvPicPr>
          <p:cNvPr id="6" name="MSD Logo">
            <a:extLst>
              <a:ext uri="{FF2B5EF4-FFF2-40B4-BE49-F238E27FC236}">
                <a16:creationId xmlns:a16="http://schemas.microsoft.com/office/drawing/2014/main" id="{36F6FA54-7555-253B-C0CB-8EF44947006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44601" y="6437207"/>
            <a:ext cx="668100" cy="244800"/>
          </a:xfrm>
          <a:prstGeom prst="rect">
            <a:avLst/>
          </a:prstGeom>
        </p:spPr>
      </p:pic>
      <p:pic>
        <p:nvPicPr>
          <p:cNvPr id="7" name="Lynparza Logo">
            <a:extLst>
              <a:ext uri="{FF2B5EF4-FFF2-40B4-BE49-F238E27FC236}">
                <a16:creationId xmlns:a16="http://schemas.microsoft.com/office/drawing/2014/main" id="{2E033C62-1E85-B8DA-33F9-A166D544D3B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pic>
        <p:nvPicPr>
          <p:cNvPr id="10" name="Hero Image">
            <a:extLst>
              <a:ext uri="{FF2B5EF4-FFF2-40B4-BE49-F238E27FC236}">
                <a16:creationId xmlns:a16="http://schemas.microsoft.com/office/drawing/2014/main" id="{DD98DF8E-A509-BE48-95F8-E9C523105BAB}"/>
              </a:ext>
            </a:extLst>
          </p:cNvPr>
          <p:cNvPicPr>
            <a:picLocks noChangeAspect="1"/>
          </p:cNvPicPr>
          <p:nvPr userDrawn="1"/>
        </p:nvPicPr>
        <p:blipFill rotWithShape="1">
          <a:blip r:embed="rId7"/>
          <a:srcRect l="1" t="-91" r="1" b="61602"/>
          <a:stretch/>
        </p:blipFill>
        <p:spPr>
          <a:xfrm>
            <a:off x="0" y="-2959"/>
            <a:ext cx="11161126" cy="1249363"/>
          </a:xfrm>
          <a:prstGeom prst="rect">
            <a:avLst/>
          </a:prstGeom>
        </p:spPr>
      </p:pic>
      <p:sp>
        <p:nvSpPr>
          <p:cNvPr id="13" name="Text Placeholder 12">
            <a:extLst>
              <a:ext uri="{FF2B5EF4-FFF2-40B4-BE49-F238E27FC236}">
                <a16:creationId xmlns:a16="http://schemas.microsoft.com/office/drawing/2014/main" id="{1EDA0A41-D542-AE4D-9DFE-4F286B3F70C8}"/>
              </a:ext>
            </a:extLst>
          </p:cNvPr>
          <p:cNvSpPr>
            <a:spLocks noGrp="1"/>
          </p:cNvSpPr>
          <p:nvPr userDrawn="1">
            <p:ph type="body" sz="quarter" idx="12" hasCustomPrompt="1"/>
          </p:nvPr>
        </p:nvSpPr>
        <p:spPr>
          <a:xfrm>
            <a:off x="838800" y="1497600"/>
            <a:ext cx="9986400" cy="4147200"/>
          </a:xfrm>
          <a:prstGeom prst="rect">
            <a:avLst/>
          </a:prstGeom>
        </p:spPr>
        <p:txBody>
          <a:bodyPr lIns="0" tIns="0" rIns="0" bIns="0">
            <a:normAutofit/>
          </a:bodyPr>
          <a:lstStyle>
            <a:lvl1pPr>
              <a:buClr>
                <a:schemeClr val="accent1"/>
              </a:buClr>
              <a:defRPr sz="1400">
                <a:solidFill>
                  <a:srgbClr val="960064"/>
                </a:solidFill>
              </a:defRPr>
            </a:lvl1pPr>
            <a:lvl2pPr>
              <a:buClr>
                <a:schemeClr val="accent1"/>
              </a:buClr>
              <a:defRPr sz="1200">
                <a:solidFill>
                  <a:srgbClr val="960064"/>
                </a:solidFill>
              </a:defRPr>
            </a:lvl2pPr>
            <a:lvl3pPr>
              <a:buClr>
                <a:schemeClr val="accent1"/>
              </a:buClr>
              <a:defRPr sz="1100">
                <a:solidFill>
                  <a:srgbClr val="960064"/>
                </a:solidFill>
              </a:defRPr>
            </a:lvl3pPr>
            <a:lvl4pPr>
              <a:buClr>
                <a:schemeClr val="accent1"/>
              </a:buClr>
              <a:defRPr sz="1051">
                <a:solidFill>
                  <a:srgbClr val="960064"/>
                </a:solidFill>
              </a:defRPr>
            </a:lvl4pPr>
            <a:lvl5pPr>
              <a:buClr>
                <a:schemeClr val="accent1"/>
              </a:buClr>
              <a:defRPr sz="1000">
                <a:solidFill>
                  <a:srgbClr val="96006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Freeform 25">
            <a:extLst>
              <a:ext uri="{FF2B5EF4-FFF2-40B4-BE49-F238E27FC236}">
                <a16:creationId xmlns:a16="http://schemas.microsoft.com/office/drawing/2014/main" id="{BCFF43F5-04C3-C44D-9098-94D3B58E2493}"/>
              </a:ext>
            </a:extLst>
          </p:cNvPr>
          <p:cNvSpPr/>
          <p:nvPr userDrawn="1"/>
        </p:nvSpPr>
        <p:spPr>
          <a:xfrm>
            <a:off x="2" y="181685"/>
            <a:ext cx="7743533" cy="946539"/>
          </a:xfrm>
          <a:custGeom>
            <a:avLst/>
            <a:gdLst>
              <a:gd name="connsiteX0" fmla="*/ 0 w 7743533"/>
              <a:gd name="connsiteY0" fmla="*/ 0 h 946539"/>
              <a:gd name="connsiteX1" fmla="*/ 7743533 w 7743533"/>
              <a:gd name="connsiteY1" fmla="*/ 7185 h 946539"/>
              <a:gd name="connsiteX2" fmla="*/ 7513570 w 7743533"/>
              <a:gd name="connsiteY2" fmla="*/ 942420 h 946539"/>
              <a:gd name="connsiteX3" fmla="*/ 0 w 7743533"/>
              <a:gd name="connsiteY3" fmla="*/ 946539 h 946539"/>
            </a:gdLst>
            <a:ahLst/>
            <a:cxnLst>
              <a:cxn ang="0">
                <a:pos x="connsiteX0" y="connsiteY0"/>
              </a:cxn>
              <a:cxn ang="0">
                <a:pos x="connsiteX1" y="connsiteY1"/>
              </a:cxn>
              <a:cxn ang="0">
                <a:pos x="connsiteX2" y="connsiteY2"/>
              </a:cxn>
              <a:cxn ang="0">
                <a:pos x="connsiteX3" y="connsiteY3"/>
              </a:cxn>
            </a:cxnLst>
            <a:rect l="l" t="t" r="r" b="b"/>
            <a:pathLst>
              <a:path w="7743533" h="946539">
                <a:moveTo>
                  <a:pt x="0" y="0"/>
                </a:moveTo>
                <a:lnTo>
                  <a:pt x="7743533" y="7185"/>
                </a:lnTo>
                <a:lnTo>
                  <a:pt x="7513570" y="942420"/>
                </a:lnTo>
                <a:lnTo>
                  <a:pt x="0" y="946539"/>
                </a:lnTo>
                <a:close/>
              </a:path>
            </a:pathLst>
          </a:custGeom>
          <a:solidFill>
            <a:srgbClr val="960064">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25" name="Freeform 24">
            <a:extLst>
              <a:ext uri="{FF2B5EF4-FFF2-40B4-BE49-F238E27FC236}">
                <a16:creationId xmlns:a16="http://schemas.microsoft.com/office/drawing/2014/main" id="{9713A42D-AE26-3340-8848-AD6E5DAEC037}"/>
              </a:ext>
            </a:extLst>
          </p:cNvPr>
          <p:cNvSpPr/>
          <p:nvPr userDrawn="1"/>
        </p:nvSpPr>
        <p:spPr>
          <a:xfrm>
            <a:off x="1" y="1"/>
            <a:ext cx="7519155" cy="966668"/>
          </a:xfrm>
          <a:custGeom>
            <a:avLst/>
            <a:gdLst>
              <a:gd name="connsiteX0" fmla="*/ 0 w 7519155"/>
              <a:gd name="connsiteY0" fmla="*/ 0 h 966668"/>
              <a:gd name="connsiteX1" fmla="*/ 7519155 w 7519155"/>
              <a:gd name="connsiteY1" fmla="*/ 0 h 966668"/>
              <a:gd name="connsiteX2" fmla="*/ 7290187 w 7519155"/>
              <a:gd name="connsiteY2" fmla="*/ 966668 h 966668"/>
              <a:gd name="connsiteX3" fmla="*/ 0 w 7519155"/>
              <a:gd name="connsiteY3" fmla="*/ 956651 h 966668"/>
            </a:gdLst>
            <a:ahLst/>
            <a:cxnLst>
              <a:cxn ang="0">
                <a:pos x="connsiteX0" y="connsiteY0"/>
              </a:cxn>
              <a:cxn ang="0">
                <a:pos x="connsiteX1" y="connsiteY1"/>
              </a:cxn>
              <a:cxn ang="0">
                <a:pos x="connsiteX2" y="connsiteY2"/>
              </a:cxn>
              <a:cxn ang="0">
                <a:pos x="connsiteX3" y="connsiteY3"/>
              </a:cxn>
            </a:cxnLst>
            <a:rect l="l" t="t" r="r" b="b"/>
            <a:pathLst>
              <a:path w="7519155" h="966668">
                <a:moveTo>
                  <a:pt x="0" y="0"/>
                </a:moveTo>
                <a:lnTo>
                  <a:pt x="7519155" y="0"/>
                </a:lnTo>
                <a:lnTo>
                  <a:pt x="7290187" y="966668"/>
                </a:lnTo>
                <a:lnTo>
                  <a:pt x="0" y="956651"/>
                </a:lnTo>
                <a:close/>
              </a:path>
            </a:pathLst>
          </a:custGeom>
          <a:solidFill>
            <a:srgbClr val="960064">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11" name="Header">
            <a:extLst>
              <a:ext uri="{FF2B5EF4-FFF2-40B4-BE49-F238E27FC236}">
                <a16:creationId xmlns:a16="http://schemas.microsoft.com/office/drawing/2014/main" id="{83C9C947-5B46-4041-9416-D36AEA0A291D}"/>
              </a:ext>
            </a:extLst>
          </p:cNvPr>
          <p:cNvSpPr>
            <a:spLocks noGrp="1"/>
          </p:cNvSpPr>
          <p:nvPr userDrawn="1">
            <p:ph type="body" sz="quarter" idx="11" hasCustomPrompt="1"/>
          </p:nvPr>
        </p:nvSpPr>
        <p:spPr>
          <a:xfrm>
            <a:off x="838800" y="169200"/>
            <a:ext cx="6156000" cy="784800"/>
          </a:xfrm>
          <a:prstGeom prst="rect">
            <a:avLst/>
          </a:prstGeom>
        </p:spPr>
        <p:txBody>
          <a:bodyPr lIns="0" tIns="90000" rIns="46800" bIns="0">
            <a:normAutofit/>
          </a:bodyPr>
          <a:lstStyle>
            <a:lvl1pPr marL="0" indent="0">
              <a:lnSpc>
                <a:spcPct val="100000"/>
              </a:lnSpc>
              <a:spcAft>
                <a:spcPts val="200"/>
              </a:spcAft>
              <a:buFontTx/>
              <a:buNone/>
              <a:defRPr sz="2200" b="1" i="1">
                <a:solidFill>
                  <a:schemeClr val="bg1"/>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759685294"/>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guide id="3" orient="horz" pos="2160" userDrawn="1">
          <p15:clr>
            <a:srgbClr val="FBAE40"/>
          </p15:clr>
        </p15:guide>
        <p15:guide id="4" orient="horz" pos="399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 column with header_Leon">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EF2A961B-A3A0-1E58-153F-4EE8F9F16F8C}"/>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Copy">
            <a:extLst>
              <a:ext uri="{FF2B5EF4-FFF2-40B4-BE49-F238E27FC236}">
                <a16:creationId xmlns:a16="http://schemas.microsoft.com/office/drawing/2014/main" id="{4CB7F6B6-D849-B41F-2272-0350D9ADBB59}"/>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4" name="AZ Logo">
            <a:extLst>
              <a:ext uri="{FF2B5EF4-FFF2-40B4-BE49-F238E27FC236}">
                <a16:creationId xmlns:a16="http://schemas.microsoft.com/office/drawing/2014/main" id="{F12A8715-04C0-44E1-E4ED-A8465CFD7CC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36591" y="6348816"/>
            <a:ext cx="1147048" cy="275941"/>
          </a:xfrm>
          <a:prstGeom prst="rect">
            <a:avLst/>
          </a:prstGeom>
        </p:spPr>
      </p:pic>
      <p:pic>
        <p:nvPicPr>
          <p:cNvPr id="6" name="MSD Logo">
            <a:extLst>
              <a:ext uri="{FF2B5EF4-FFF2-40B4-BE49-F238E27FC236}">
                <a16:creationId xmlns:a16="http://schemas.microsoft.com/office/drawing/2014/main" id="{98E818C3-E6F7-9477-7DD8-36F02CD379F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44601" y="6437207"/>
            <a:ext cx="668100" cy="244800"/>
          </a:xfrm>
          <a:prstGeom prst="rect">
            <a:avLst/>
          </a:prstGeom>
        </p:spPr>
      </p:pic>
      <p:pic>
        <p:nvPicPr>
          <p:cNvPr id="7" name="Lynparza Logo">
            <a:extLst>
              <a:ext uri="{FF2B5EF4-FFF2-40B4-BE49-F238E27FC236}">
                <a16:creationId xmlns:a16="http://schemas.microsoft.com/office/drawing/2014/main" id="{8BA4C08B-E89D-7BE6-C53C-A1F9156A19B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pic>
        <p:nvPicPr>
          <p:cNvPr id="10" name="Hero Image">
            <a:extLst>
              <a:ext uri="{FF2B5EF4-FFF2-40B4-BE49-F238E27FC236}">
                <a16:creationId xmlns:a16="http://schemas.microsoft.com/office/drawing/2014/main" id="{DD98DF8E-A509-BE48-95F8-E9C523105BAB}"/>
              </a:ext>
            </a:extLst>
          </p:cNvPr>
          <p:cNvPicPr>
            <a:picLocks noChangeAspect="1"/>
          </p:cNvPicPr>
          <p:nvPr userDrawn="1"/>
        </p:nvPicPr>
        <p:blipFill rotWithShape="1">
          <a:blip r:embed="rId7"/>
          <a:srcRect l="1" t="-91" r="1" b="61602"/>
          <a:stretch/>
        </p:blipFill>
        <p:spPr>
          <a:xfrm>
            <a:off x="0" y="-2959"/>
            <a:ext cx="11161126" cy="1249363"/>
          </a:xfrm>
          <a:prstGeom prst="rect">
            <a:avLst/>
          </a:prstGeom>
        </p:spPr>
      </p:pic>
      <p:sp>
        <p:nvSpPr>
          <p:cNvPr id="13" name="Text Placeholder 12">
            <a:extLst>
              <a:ext uri="{FF2B5EF4-FFF2-40B4-BE49-F238E27FC236}">
                <a16:creationId xmlns:a16="http://schemas.microsoft.com/office/drawing/2014/main" id="{1EDA0A41-D542-AE4D-9DFE-4F286B3F70C8}"/>
              </a:ext>
            </a:extLst>
          </p:cNvPr>
          <p:cNvSpPr>
            <a:spLocks noGrp="1"/>
          </p:cNvSpPr>
          <p:nvPr userDrawn="1">
            <p:ph type="body" sz="quarter" idx="12" hasCustomPrompt="1"/>
          </p:nvPr>
        </p:nvSpPr>
        <p:spPr>
          <a:xfrm>
            <a:off x="838800" y="1497600"/>
            <a:ext cx="9986400" cy="4147200"/>
          </a:xfrm>
          <a:prstGeom prst="rect">
            <a:avLst/>
          </a:prstGeom>
        </p:spPr>
        <p:txBody>
          <a:bodyPr lIns="0" tIns="0" rIns="0" bIns="0">
            <a:normAutofit/>
          </a:bodyPr>
          <a:lstStyle>
            <a:lvl1pPr>
              <a:buClr>
                <a:schemeClr val="accent1"/>
              </a:buClr>
              <a:defRPr sz="1400">
                <a:solidFill>
                  <a:srgbClr val="960064"/>
                </a:solidFill>
              </a:defRPr>
            </a:lvl1pPr>
            <a:lvl2pPr>
              <a:buClr>
                <a:schemeClr val="accent1"/>
              </a:buClr>
              <a:defRPr sz="1200">
                <a:solidFill>
                  <a:srgbClr val="960064"/>
                </a:solidFill>
              </a:defRPr>
            </a:lvl2pPr>
            <a:lvl3pPr>
              <a:buClr>
                <a:schemeClr val="accent1"/>
              </a:buClr>
              <a:defRPr sz="1100">
                <a:solidFill>
                  <a:srgbClr val="960064"/>
                </a:solidFill>
              </a:defRPr>
            </a:lvl3pPr>
            <a:lvl4pPr>
              <a:buClr>
                <a:schemeClr val="accent1"/>
              </a:buClr>
              <a:defRPr sz="1051">
                <a:solidFill>
                  <a:srgbClr val="960064"/>
                </a:solidFill>
              </a:defRPr>
            </a:lvl4pPr>
            <a:lvl5pPr>
              <a:buClr>
                <a:schemeClr val="accent1"/>
              </a:buClr>
              <a:defRPr sz="1000">
                <a:solidFill>
                  <a:srgbClr val="96006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Freeform 25">
            <a:extLst>
              <a:ext uri="{FF2B5EF4-FFF2-40B4-BE49-F238E27FC236}">
                <a16:creationId xmlns:a16="http://schemas.microsoft.com/office/drawing/2014/main" id="{BCFF43F5-04C3-C44D-9098-94D3B58E2493}"/>
              </a:ext>
            </a:extLst>
          </p:cNvPr>
          <p:cNvSpPr/>
          <p:nvPr userDrawn="1"/>
        </p:nvSpPr>
        <p:spPr>
          <a:xfrm>
            <a:off x="0" y="175993"/>
            <a:ext cx="7743533" cy="946539"/>
          </a:xfrm>
          <a:custGeom>
            <a:avLst/>
            <a:gdLst>
              <a:gd name="connsiteX0" fmla="*/ 0 w 7743533"/>
              <a:gd name="connsiteY0" fmla="*/ 0 h 946539"/>
              <a:gd name="connsiteX1" fmla="*/ 7743533 w 7743533"/>
              <a:gd name="connsiteY1" fmla="*/ 7185 h 946539"/>
              <a:gd name="connsiteX2" fmla="*/ 7513570 w 7743533"/>
              <a:gd name="connsiteY2" fmla="*/ 942420 h 946539"/>
              <a:gd name="connsiteX3" fmla="*/ 0 w 7743533"/>
              <a:gd name="connsiteY3" fmla="*/ 946539 h 946539"/>
            </a:gdLst>
            <a:ahLst/>
            <a:cxnLst>
              <a:cxn ang="0">
                <a:pos x="connsiteX0" y="connsiteY0"/>
              </a:cxn>
              <a:cxn ang="0">
                <a:pos x="connsiteX1" y="connsiteY1"/>
              </a:cxn>
              <a:cxn ang="0">
                <a:pos x="connsiteX2" y="connsiteY2"/>
              </a:cxn>
              <a:cxn ang="0">
                <a:pos x="connsiteX3" y="connsiteY3"/>
              </a:cxn>
            </a:cxnLst>
            <a:rect l="l" t="t" r="r" b="b"/>
            <a:pathLst>
              <a:path w="7743533" h="946539">
                <a:moveTo>
                  <a:pt x="0" y="0"/>
                </a:moveTo>
                <a:lnTo>
                  <a:pt x="7743533" y="7185"/>
                </a:lnTo>
                <a:lnTo>
                  <a:pt x="7513570" y="942420"/>
                </a:lnTo>
                <a:lnTo>
                  <a:pt x="0" y="946539"/>
                </a:lnTo>
                <a:close/>
              </a:path>
            </a:pathLst>
          </a:custGeom>
          <a:solidFill>
            <a:srgbClr val="960064">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25" name="Freeform 24">
            <a:extLst>
              <a:ext uri="{FF2B5EF4-FFF2-40B4-BE49-F238E27FC236}">
                <a16:creationId xmlns:a16="http://schemas.microsoft.com/office/drawing/2014/main" id="{9713A42D-AE26-3340-8848-AD6E5DAEC037}"/>
              </a:ext>
            </a:extLst>
          </p:cNvPr>
          <p:cNvSpPr/>
          <p:nvPr userDrawn="1"/>
        </p:nvSpPr>
        <p:spPr>
          <a:xfrm>
            <a:off x="1" y="1"/>
            <a:ext cx="7519155" cy="966668"/>
          </a:xfrm>
          <a:custGeom>
            <a:avLst/>
            <a:gdLst>
              <a:gd name="connsiteX0" fmla="*/ 0 w 7519155"/>
              <a:gd name="connsiteY0" fmla="*/ 0 h 966668"/>
              <a:gd name="connsiteX1" fmla="*/ 7519155 w 7519155"/>
              <a:gd name="connsiteY1" fmla="*/ 0 h 966668"/>
              <a:gd name="connsiteX2" fmla="*/ 7290187 w 7519155"/>
              <a:gd name="connsiteY2" fmla="*/ 966668 h 966668"/>
              <a:gd name="connsiteX3" fmla="*/ 0 w 7519155"/>
              <a:gd name="connsiteY3" fmla="*/ 956651 h 966668"/>
            </a:gdLst>
            <a:ahLst/>
            <a:cxnLst>
              <a:cxn ang="0">
                <a:pos x="connsiteX0" y="connsiteY0"/>
              </a:cxn>
              <a:cxn ang="0">
                <a:pos x="connsiteX1" y="connsiteY1"/>
              </a:cxn>
              <a:cxn ang="0">
                <a:pos x="connsiteX2" y="connsiteY2"/>
              </a:cxn>
              <a:cxn ang="0">
                <a:pos x="connsiteX3" y="connsiteY3"/>
              </a:cxn>
            </a:cxnLst>
            <a:rect l="l" t="t" r="r" b="b"/>
            <a:pathLst>
              <a:path w="7519155" h="966668">
                <a:moveTo>
                  <a:pt x="0" y="0"/>
                </a:moveTo>
                <a:lnTo>
                  <a:pt x="7519155" y="0"/>
                </a:lnTo>
                <a:lnTo>
                  <a:pt x="7290187" y="966668"/>
                </a:lnTo>
                <a:lnTo>
                  <a:pt x="0" y="956651"/>
                </a:lnTo>
                <a:close/>
              </a:path>
            </a:pathLst>
          </a:custGeom>
          <a:solidFill>
            <a:srgbClr val="960064">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11" name="Header">
            <a:extLst>
              <a:ext uri="{FF2B5EF4-FFF2-40B4-BE49-F238E27FC236}">
                <a16:creationId xmlns:a16="http://schemas.microsoft.com/office/drawing/2014/main" id="{83C9C947-5B46-4041-9416-D36AEA0A291D}"/>
              </a:ext>
            </a:extLst>
          </p:cNvPr>
          <p:cNvSpPr>
            <a:spLocks noGrp="1"/>
          </p:cNvSpPr>
          <p:nvPr userDrawn="1">
            <p:ph type="body" sz="quarter" idx="11" hasCustomPrompt="1"/>
          </p:nvPr>
        </p:nvSpPr>
        <p:spPr>
          <a:xfrm>
            <a:off x="838800" y="169200"/>
            <a:ext cx="6156000" cy="784800"/>
          </a:xfrm>
          <a:prstGeom prst="rect">
            <a:avLst/>
          </a:prstGeom>
        </p:spPr>
        <p:txBody>
          <a:bodyPr lIns="0" tIns="90000" rIns="46800" bIns="0">
            <a:normAutofit/>
          </a:bodyPr>
          <a:lstStyle>
            <a:lvl1pPr marL="0" indent="0">
              <a:lnSpc>
                <a:spcPct val="100000"/>
              </a:lnSpc>
              <a:spcAft>
                <a:spcPts val="200"/>
              </a:spcAft>
              <a:buFontTx/>
              <a:buNone/>
              <a:defRPr sz="2200" b="1" i="1">
                <a:solidFill>
                  <a:schemeClr val="bg1"/>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391267662"/>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guide id="3" orient="horz" pos="2160" userDrawn="1">
          <p15:clr>
            <a:srgbClr val="FBAE40"/>
          </p15:clr>
        </p15:guide>
        <p15:guide id="4" orient="horz" pos="399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 column with header_Mark &amp; Paul">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C26C9364-284A-7F9E-E4F1-2D83A6B6DF24}"/>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Copy">
            <a:extLst>
              <a:ext uri="{FF2B5EF4-FFF2-40B4-BE49-F238E27FC236}">
                <a16:creationId xmlns:a16="http://schemas.microsoft.com/office/drawing/2014/main" id="{CC406043-6F5C-98A3-CCD5-1348B5C8229D}"/>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4" name="AZ Logo">
            <a:extLst>
              <a:ext uri="{FF2B5EF4-FFF2-40B4-BE49-F238E27FC236}">
                <a16:creationId xmlns:a16="http://schemas.microsoft.com/office/drawing/2014/main" id="{D5C907E7-6575-7453-860F-4F95D2E0293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36591" y="6348816"/>
            <a:ext cx="1147048" cy="275941"/>
          </a:xfrm>
          <a:prstGeom prst="rect">
            <a:avLst/>
          </a:prstGeom>
        </p:spPr>
      </p:pic>
      <p:pic>
        <p:nvPicPr>
          <p:cNvPr id="6" name="MSD Logo">
            <a:extLst>
              <a:ext uri="{FF2B5EF4-FFF2-40B4-BE49-F238E27FC236}">
                <a16:creationId xmlns:a16="http://schemas.microsoft.com/office/drawing/2014/main" id="{0BDBE76F-209F-5622-DA23-8BF809051AF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44601" y="6437207"/>
            <a:ext cx="668100" cy="244800"/>
          </a:xfrm>
          <a:prstGeom prst="rect">
            <a:avLst/>
          </a:prstGeom>
        </p:spPr>
      </p:pic>
      <p:pic>
        <p:nvPicPr>
          <p:cNvPr id="7" name="Lynparza Logo">
            <a:extLst>
              <a:ext uri="{FF2B5EF4-FFF2-40B4-BE49-F238E27FC236}">
                <a16:creationId xmlns:a16="http://schemas.microsoft.com/office/drawing/2014/main" id="{DAAD3479-D465-0078-A37B-C1C2DFE7EF8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pic>
        <p:nvPicPr>
          <p:cNvPr id="10" name="Hero Image">
            <a:extLst>
              <a:ext uri="{FF2B5EF4-FFF2-40B4-BE49-F238E27FC236}">
                <a16:creationId xmlns:a16="http://schemas.microsoft.com/office/drawing/2014/main" id="{DD98DF8E-A509-BE48-95F8-E9C523105BAB}"/>
              </a:ext>
            </a:extLst>
          </p:cNvPr>
          <p:cNvPicPr>
            <a:picLocks noChangeAspect="1"/>
          </p:cNvPicPr>
          <p:nvPr userDrawn="1"/>
        </p:nvPicPr>
        <p:blipFill rotWithShape="1">
          <a:blip r:embed="rId7"/>
          <a:srcRect t="-91" b="61603"/>
          <a:stretch/>
        </p:blipFill>
        <p:spPr>
          <a:xfrm>
            <a:off x="0" y="-2959"/>
            <a:ext cx="11161126" cy="1249363"/>
          </a:xfrm>
          <a:prstGeom prst="rect">
            <a:avLst/>
          </a:prstGeom>
        </p:spPr>
      </p:pic>
      <p:sp>
        <p:nvSpPr>
          <p:cNvPr id="13" name="Text Placeholder 12">
            <a:extLst>
              <a:ext uri="{FF2B5EF4-FFF2-40B4-BE49-F238E27FC236}">
                <a16:creationId xmlns:a16="http://schemas.microsoft.com/office/drawing/2014/main" id="{1EDA0A41-D542-AE4D-9DFE-4F286B3F70C8}"/>
              </a:ext>
            </a:extLst>
          </p:cNvPr>
          <p:cNvSpPr>
            <a:spLocks noGrp="1"/>
          </p:cNvSpPr>
          <p:nvPr userDrawn="1">
            <p:ph type="body" sz="quarter" idx="12" hasCustomPrompt="1"/>
          </p:nvPr>
        </p:nvSpPr>
        <p:spPr>
          <a:xfrm>
            <a:off x="838800" y="1497600"/>
            <a:ext cx="9986400" cy="4147200"/>
          </a:xfrm>
          <a:prstGeom prst="rect">
            <a:avLst/>
          </a:prstGeom>
        </p:spPr>
        <p:txBody>
          <a:bodyPr lIns="0" tIns="0" rIns="0" bIns="0">
            <a:normAutofit/>
          </a:bodyPr>
          <a:lstStyle>
            <a:lvl1pPr>
              <a:buClr>
                <a:schemeClr val="accent1"/>
              </a:buClr>
              <a:defRPr sz="1400">
                <a:solidFill>
                  <a:srgbClr val="960064"/>
                </a:solidFill>
              </a:defRPr>
            </a:lvl1pPr>
            <a:lvl2pPr>
              <a:buClr>
                <a:schemeClr val="accent1"/>
              </a:buClr>
              <a:defRPr sz="1200">
                <a:solidFill>
                  <a:srgbClr val="960064"/>
                </a:solidFill>
              </a:defRPr>
            </a:lvl2pPr>
            <a:lvl3pPr>
              <a:buClr>
                <a:schemeClr val="accent1"/>
              </a:buClr>
              <a:defRPr sz="1100">
                <a:solidFill>
                  <a:srgbClr val="960064"/>
                </a:solidFill>
              </a:defRPr>
            </a:lvl3pPr>
            <a:lvl4pPr>
              <a:buClr>
                <a:schemeClr val="accent1"/>
              </a:buClr>
              <a:defRPr sz="1051">
                <a:solidFill>
                  <a:srgbClr val="960064"/>
                </a:solidFill>
              </a:defRPr>
            </a:lvl4pPr>
            <a:lvl5pPr>
              <a:buClr>
                <a:schemeClr val="accent1"/>
              </a:buClr>
              <a:defRPr sz="1000">
                <a:solidFill>
                  <a:srgbClr val="96006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Freeform 25">
            <a:extLst>
              <a:ext uri="{FF2B5EF4-FFF2-40B4-BE49-F238E27FC236}">
                <a16:creationId xmlns:a16="http://schemas.microsoft.com/office/drawing/2014/main" id="{BCFF43F5-04C3-C44D-9098-94D3B58E2493}"/>
              </a:ext>
            </a:extLst>
          </p:cNvPr>
          <p:cNvSpPr/>
          <p:nvPr userDrawn="1"/>
        </p:nvSpPr>
        <p:spPr>
          <a:xfrm>
            <a:off x="2" y="181685"/>
            <a:ext cx="7743533" cy="946539"/>
          </a:xfrm>
          <a:custGeom>
            <a:avLst/>
            <a:gdLst>
              <a:gd name="connsiteX0" fmla="*/ 0 w 7743533"/>
              <a:gd name="connsiteY0" fmla="*/ 0 h 946539"/>
              <a:gd name="connsiteX1" fmla="*/ 7743533 w 7743533"/>
              <a:gd name="connsiteY1" fmla="*/ 7185 h 946539"/>
              <a:gd name="connsiteX2" fmla="*/ 7513570 w 7743533"/>
              <a:gd name="connsiteY2" fmla="*/ 942420 h 946539"/>
              <a:gd name="connsiteX3" fmla="*/ 0 w 7743533"/>
              <a:gd name="connsiteY3" fmla="*/ 946539 h 946539"/>
            </a:gdLst>
            <a:ahLst/>
            <a:cxnLst>
              <a:cxn ang="0">
                <a:pos x="connsiteX0" y="connsiteY0"/>
              </a:cxn>
              <a:cxn ang="0">
                <a:pos x="connsiteX1" y="connsiteY1"/>
              </a:cxn>
              <a:cxn ang="0">
                <a:pos x="connsiteX2" y="connsiteY2"/>
              </a:cxn>
              <a:cxn ang="0">
                <a:pos x="connsiteX3" y="connsiteY3"/>
              </a:cxn>
            </a:cxnLst>
            <a:rect l="l" t="t" r="r" b="b"/>
            <a:pathLst>
              <a:path w="7743533" h="946539">
                <a:moveTo>
                  <a:pt x="0" y="0"/>
                </a:moveTo>
                <a:lnTo>
                  <a:pt x="7743533" y="7185"/>
                </a:lnTo>
                <a:lnTo>
                  <a:pt x="7513570" y="942420"/>
                </a:lnTo>
                <a:lnTo>
                  <a:pt x="0" y="946539"/>
                </a:lnTo>
                <a:close/>
              </a:path>
            </a:pathLst>
          </a:custGeom>
          <a:solidFill>
            <a:srgbClr val="960064">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25" name="Freeform 24">
            <a:extLst>
              <a:ext uri="{FF2B5EF4-FFF2-40B4-BE49-F238E27FC236}">
                <a16:creationId xmlns:a16="http://schemas.microsoft.com/office/drawing/2014/main" id="{9713A42D-AE26-3340-8848-AD6E5DAEC037}"/>
              </a:ext>
            </a:extLst>
          </p:cNvPr>
          <p:cNvSpPr/>
          <p:nvPr userDrawn="1"/>
        </p:nvSpPr>
        <p:spPr>
          <a:xfrm>
            <a:off x="1" y="1"/>
            <a:ext cx="7519155" cy="966668"/>
          </a:xfrm>
          <a:custGeom>
            <a:avLst/>
            <a:gdLst>
              <a:gd name="connsiteX0" fmla="*/ 0 w 7519155"/>
              <a:gd name="connsiteY0" fmla="*/ 0 h 966668"/>
              <a:gd name="connsiteX1" fmla="*/ 7519155 w 7519155"/>
              <a:gd name="connsiteY1" fmla="*/ 0 h 966668"/>
              <a:gd name="connsiteX2" fmla="*/ 7290187 w 7519155"/>
              <a:gd name="connsiteY2" fmla="*/ 966668 h 966668"/>
              <a:gd name="connsiteX3" fmla="*/ 0 w 7519155"/>
              <a:gd name="connsiteY3" fmla="*/ 956651 h 966668"/>
            </a:gdLst>
            <a:ahLst/>
            <a:cxnLst>
              <a:cxn ang="0">
                <a:pos x="connsiteX0" y="connsiteY0"/>
              </a:cxn>
              <a:cxn ang="0">
                <a:pos x="connsiteX1" y="connsiteY1"/>
              </a:cxn>
              <a:cxn ang="0">
                <a:pos x="connsiteX2" y="connsiteY2"/>
              </a:cxn>
              <a:cxn ang="0">
                <a:pos x="connsiteX3" y="connsiteY3"/>
              </a:cxn>
            </a:cxnLst>
            <a:rect l="l" t="t" r="r" b="b"/>
            <a:pathLst>
              <a:path w="7519155" h="966668">
                <a:moveTo>
                  <a:pt x="0" y="0"/>
                </a:moveTo>
                <a:lnTo>
                  <a:pt x="7519155" y="0"/>
                </a:lnTo>
                <a:lnTo>
                  <a:pt x="7290187" y="966668"/>
                </a:lnTo>
                <a:lnTo>
                  <a:pt x="0" y="956651"/>
                </a:lnTo>
                <a:close/>
              </a:path>
            </a:pathLst>
          </a:custGeom>
          <a:solidFill>
            <a:srgbClr val="960064">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11" name="Header">
            <a:extLst>
              <a:ext uri="{FF2B5EF4-FFF2-40B4-BE49-F238E27FC236}">
                <a16:creationId xmlns:a16="http://schemas.microsoft.com/office/drawing/2014/main" id="{83C9C947-5B46-4041-9416-D36AEA0A291D}"/>
              </a:ext>
            </a:extLst>
          </p:cNvPr>
          <p:cNvSpPr>
            <a:spLocks noGrp="1"/>
          </p:cNvSpPr>
          <p:nvPr userDrawn="1">
            <p:ph type="body" sz="quarter" idx="11" hasCustomPrompt="1"/>
          </p:nvPr>
        </p:nvSpPr>
        <p:spPr>
          <a:xfrm>
            <a:off x="838800" y="169200"/>
            <a:ext cx="6156000" cy="784800"/>
          </a:xfrm>
          <a:prstGeom prst="rect">
            <a:avLst/>
          </a:prstGeom>
        </p:spPr>
        <p:txBody>
          <a:bodyPr lIns="0" tIns="90000" rIns="46800" bIns="0">
            <a:normAutofit/>
          </a:bodyPr>
          <a:lstStyle>
            <a:lvl1pPr marL="0" indent="0">
              <a:lnSpc>
                <a:spcPct val="100000"/>
              </a:lnSpc>
              <a:spcAft>
                <a:spcPts val="200"/>
              </a:spcAft>
              <a:buFontTx/>
              <a:buNone/>
              <a:defRPr sz="2200" b="1" i="1">
                <a:solidFill>
                  <a:schemeClr val="bg1"/>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1856676077"/>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guide id="3" orient="horz" pos="2160" userDrawn="1">
          <p15:clr>
            <a:srgbClr val="FBAE40"/>
          </p15:clr>
        </p15:guide>
        <p15:guide id="4" orient="horz" pos="399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 column with header_Paul">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A91525E4-D58E-BE08-AE64-56F0623A9AC9}"/>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Copy">
            <a:extLst>
              <a:ext uri="{FF2B5EF4-FFF2-40B4-BE49-F238E27FC236}">
                <a16:creationId xmlns:a16="http://schemas.microsoft.com/office/drawing/2014/main" id="{14152C8C-DEF9-DE9A-D2B1-DDB2FE8BE88C}"/>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4" name="AZ Logo">
            <a:extLst>
              <a:ext uri="{FF2B5EF4-FFF2-40B4-BE49-F238E27FC236}">
                <a16:creationId xmlns:a16="http://schemas.microsoft.com/office/drawing/2014/main" id="{AB2108DB-FBDF-9C13-1ABC-1130BA34488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36591" y="6348816"/>
            <a:ext cx="1147048" cy="275941"/>
          </a:xfrm>
          <a:prstGeom prst="rect">
            <a:avLst/>
          </a:prstGeom>
        </p:spPr>
      </p:pic>
      <p:pic>
        <p:nvPicPr>
          <p:cNvPr id="6" name="MSD Logo">
            <a:extLst>
              <a:ext uri="{FF2B5EF4-FFF2-40B4-BE49-F238E27FC236}">
                <a16:creationId xmlns:a16="http://schemas.microsoft.com/office/drawing/2014/main" id="{601D741D-EC19-B8A8-C81A-CA78369A8C8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44601" y="6437207"/>
            <a:ext cx="668100" cy="244800"/>
          </a:xfrm>
          <a:prstGeom prst="rect">
            <a:avLst/>
          </a:prstGeom>
        </p:spPr>
      </p:pic>
      <p:pic>
        <p:nvPicPr>
          <p:cNvPr id="7" name="Lynparza Logo">
            <a:extLst>
              <a:ext uri="{FF2B5EF4-FFF2-40B4-BE49-F238E27FC236}">
                <a16:creationId xmlns:a16="http://schemas.microsoft.com/office/drawing/2014/main" id="{65F8E042-9194-6B0A-30F3-70A5F79C03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pic>
        <p:nvPicPr>
          <p:cNvPr id="10" name="Hero Image">
            <a:extLst>
              <a:ext uri="{FF2B5EF4-FFF2-40B4-BE49-F238E27FC236}">
                <a16:creationId xmlns:a16="http://schemas.microsoft.com/office/drawing/2014/main" id="{DD98DF8E-A509-BE48-95F8-E9C523105BAB}"/>
              </a:ext>
            </a:extLst>
          </p:cNvPr>
          <p:cNvPicPr>
            <a:picLocks noChangeAspect="1"/>
          </p:cNvPicPr>
          <p:nvPr userDrawn="1"/>
        </p:nvPicPr>
        <p:blipFill rotWithShape="1">
          <a:blip r:embed="rId7"/>
          <a:srcRect t="-91" b="61603"/>
          <a:stretch/>
        </p:blipFill>
        <p:spPr>
          <a:xfrm>
            <a:off x="0" y="-2959"/>
            <a:ext cx="11161126" cy="1249363"/>
          </a:xfrm>
          <a:prstGeom prst="rect">
            <a:avLst/>
          </a:prstGeom>
        </p:spPr>
      </p:pic>
      <p:sp>
        <p:nvSpPr>
          <p:cNvPr id="13" name="Text Placeholder 12">
            <a:extLst>
              <a:ext uri="{FF2B5EF4-FFF2-40B4-BE49-F238E27FC236}">
                <a16:creationId xmlns:a16="http://schemas.microsoft.com/office/drawing/2014/main" id="{1EDA0A41-D542-AE4D-9DFE-4F286B3F70C8}"/>
              </a:ext>
            </a:extLst>
          </p:cNvPr>
          <p:cNvSpPr>
            <a:spLocks noGrp="1"/>
          </p:cNvSpPr>
          <p:nvPr userDrawn="1">
            <p:ph type="body" sz="quarter" idx="12" hasCustomPrompt="1"/>
          </p:nvPr>
        </p:nvSpPr>
        <p:spPr>
          <a:xfrm>
            <a:off x="838800" y="1497600"/>
            <a:ext cx="9986400" cy="4147200"/>
          </a:xfrm>
          <a:prstGeom prst="rect">
            <a:avLst/>
          </a:prstGeom>
        </p:spPr>
        <p:txBody>
          <a:bodyPr lIns="0" tIns="0" rIns="0" bIns="0">
            <a:normAutofit/>
          </a:bodyPr>
          <a:lstStyle>
            <a:lvl1pPr>
              <a:buClr>
                <a:schemeClr val="accent1"/>
              </a:buClr>
              <a:defRPr sz="1400">
                <a:solidFill>
                  <a:srgbClr val="960064"/>
                </a:solidFill>
              </a:defRPr>
            </a:lvl1pPr>
            <a:lvl2pPr>
              <a:buClr>
                <a:schemeClr val="accent1"/>
              </a:buClr>
              <a:defRPr sz="1200">
                <a:solidFill>
                  <a:srgbClr val="960064"/>
                </a:solidFill>
              </a:defRPr>
            </a:lvl2pPr>
            <a:lvl3pPr>
              <a:buClr>
                <a:schemeClr val="accent1"/>
              </a:buClr>
              <a:defRPr sz="1100">
                <a:solidFill>
                  <a:srgbClr val="960064"/>
                </a:solidFill>
              </a:defRPr>
            </a:lvl3pPr>
            <a:lvl4pPr>
              <a:buClr>
                <a:schemeClr val="accent1"/>
              </a:buClr>
              <a:defRPr sz="1051">
                <a:solidFill>
                  <a:srgbClr val="960064"/>
                </a:solidFill>
              </a:defRPr>
            </a:lvl4pPr>
            <a:lvl5pPr>
              <a:buClr>
                <a:schemeClr val="accent1"/>
              </a:buClr>
              <a:defRPr sz="1000">
                <a:solidFill>
                  <a:srgbClr val="96006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Freeform 25">
            <a:extLst>
              <a:ext uri="{FF2B5EF4-FFF2-40B4-BE49-F238E27FC236}">
                <a16:creationId xmlns:a16="http://schemas.microsoft.com/office/drawing/2014/main" id="{BCFF43F5-04C3-C44D-9098-94D3B58E2493}"/>
              </a:ext>
            </a:extLst>
          </p:cNvPr>
          <p:cNvSpPr/>
          <p:nvPr userDrawn="1"/>
        </p:nvSpPr>
        <p:spPr>
          <a:xfrm>
            <a:off x="2" y="181685"/>
            <a:ext cx="7743533" cy="946539"/>
          </a:xfrm>
          <a:custGeom>
            <a:avLst/>
            <a:gdLst>
              <a:gd name="connsiteX0" fmla="*/ 0 w 7743533"/>
              <a:gd name="connsiteY0" fmla="*/ 0 h 946539"/>
              <a:gd name="connsiteX1" fmla="*/ 7743533 w 7743533"/>
              <a:gd name="connsiteY1" fmla="*/ 7185 h 946539"/>
              <a:gd name="connsiteX2" fmla="*/ 7513570 w 7743533"/>
              <a:gd name="connsiteY2" fmla="*/ 942420 h 946539"/>
              <a:gd name="connsiteX3" fmla="*/ 0 w 7743533"/>
              <a:gd name="connsiteY3" fmla="*/ 946539 h 946539"/>
            </a:gdLst>
            <a:ahLst/>
            <a:cxnLst>
              <a:cxn ang="0">
                <a:pos x="connsiteX0" y="connsiteY0"/>
              </a:cxn>
              <a:cxn ang="0">
                <a:pos x="connsiteX1" y="connsiteY1"/>
              </a:cxn>
              <a:cxn ang="0">
                <a:pos x="connsiteX2" y="connsiteY2"/>
              </a:cxn>
              <a:cxn ang="0">
                <a:pos x="connsiteX3" y="connsiteY3"/>
              </a:cxn>
            </a:cxnLst>
            <a:rect l="l" t="t" r="r" b="b"/>
            <a:pathLst>
              <a:path w="7743533" h="946539">
                <a:moveTo>
                  <a:pt x="0" y="0"/>
                </a:moveTo>
                <a:lnTo>
                  <a:pt x="7743533" y="7185"/>
                </a:lnTo>
                <a:lnTo>
                  <a:pt x="7513570" y="942420"/>
                </a:lnTo>
                <a:lnTo>
                  <a:pt x="0" y="946539"/>
                </a:lnTo>
                <a:close/>
              </a:path>
            </a:pathLst>
          </a:custGeom>
          <a:solidFill>
            <a:srgbClr val="960064">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25" name="Freeform 24">
            <a:extLst>
              <a:ext uri="{FF2B5EF4-FFF2-40B4-BE49-F238E27FC236}">
                <a16:creationId xmlns:a16="http://schemas.microsoft.com/office/drawing/2014/main" id="{9713A42D-AE26-3340-8848-AD6E5DAEC037}"/>
              </a:ext>
            </a:extLst>
          </p:cNvPr>
          <p:cNvSpPr/>
          <p:nvPr userDrawn="1"/>
        </p:nvSpPr>
        <p:spPr>
          <a:xfrm>
            <a:off x="1" y="1"/>
            <a:ext cx="7519155" cy="966668"/>
          </a:xfrm>
          <a:custGeom>
            <a:avLst/>
            <a:gdLst>
              <a:gd name="connsiteX0" fmla="*/ 0 w 7519155"/>
              <a:gd name="connsiteY0" fmla="*/ 0 h 966668"/>
              <a:gd name="connsiteX1" fmla="*/ 7519155 w 7519155"/>
              <a:gd name="connsiteY1" fmla="*/ 0 h 966668"/>
              <a:gd name="connsiteX2" fmla="*/ 7290187 w 7519155"/>
              <a:gd name="connsiteY2" fmla="*/ 966668 h 966668"/>
              <a:gd name="connsiteX3" fmla="*/ 0 w 7519155"/>
              <a:gd name="connsiteY3" fmla="*/ 956651 h 966668"/>
            </a:gdLst>
            <a:ahLst/>
            <a:cxnLst>
              <a:cxn ang="0">
                <a:pos x="connsiteX0" y="connsiteY0"/>
              </a:cxn>
              <a:cxn ang="0">
                <a:pos x="connsiteX1" y="connsiteY1"/>
              </a:cxn>
              <a:cxn ang="0">
                <a:pos x="connsiteX2" y="connsiteY2"/>
              </a:cxn>
              <a:cxn ang="0">
                <a:pos x="connsiteX3" y="connsiteY3"/>
              </a:cxn>
            </a:cxnLst>
            <a:rect l="l" t="t" r="r" b="b"/>
            <a:pathLst>
              <a:path w="7519155" h="966668">
                <a:moveTo>
                  <a:pt x="0" y="0"/>
                </a:moveTo>
                <a:lnTo>
                  <a:pt x="7519155" y="0"/>
                </a:lnTo>
                <a:lnTo>
                  <a:pt x="7290187" y="966668"/>
                </a:lnTo>
                <a:lnTo>
                  <a:pt x="0" y="956651"/>
                </a:lnTo>
                <a:close/>
              </a:path>
            </a:pathLst>
          </a:custGeom>
          <a:solidFill>
            <a:srgbClr val="960064">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11" name="Header">
            <a:extLst>
              <a:ext uri="{FF2B5EF4-FFF2-40B4-BE49-F238E27FC236}">
                <a16:creationId xmlns:a16="http://schemas.microsoft.com/office/drawing/2014/main" id="{83C9C947-5B46-4041-9416-D36AEA0A291D}"/>
              </a:ext>
            </a:extLst>
          </p:cNvPr>
          <p:cNvSpPr>
            <a:spLocks noGrp="1"/>
          </p:cNvSpPr>
          <p:nvPr userDrawn="1">
            <p:ph type="body" sz="quarter" idx="11" hasCustomPrompt="1"/>
          </p:nvPr>
        </p:nvSpPr>
        <p:spPr>
          <a:xfrm>
            <a:off x="838800" y="169200"/>
            <a:ext cx="6156000" cy="784800"/>
          </a:xfrm>
          <a:prstGeom prst="rect">
            <a:avLst/>
          </a:prstGeom>
        </p:spPr>
        <p:txBody>
          <a:bodyPr lIns="0" tIns="90000" rIns="46800" bIns="0">
            <a:normAutofit/>
          </a:bodyPr>
          <a:lstStyle>
            <a:lvl1pPr marL="0" indent="0">
              <a:lnSpc>
                <a:spcPct val="100000"/>
              </a:lnSpc>
              <a:spcAft>
                <a:spcPts val="200"/>
              </a:spcAft>
              <a:buFontTx/>
              <a:buNone/>
              <a:defRPr sz="2200" b="1" i="1">
                <a:solidFill>
                  <a:schemeClr val="bg1"/>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2344508785"/>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guide id="3" orient="horz" pos="2160" userDrawn="1">
          <p15:clr>
            <a:srgbClr val="FBAE40"/>
          </p15:clr>
        </p15:guide>
        <p15:guide id="4" orient="horz" pos="399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column with header_Lake">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CA2A2C56-3183-1B10-3409-72E08E5C7052}"/>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Copy">
            <a:extLst>
              <a:ext uri="{FF2B5EF4-FFF2-40B4-BE49-F238E27FC236}">
                <a16:creationId xmlns:a16="http://schemas.microsoft.com/office/drawing/2014/main" id="{0A5DDA64-47E8-529D-CF27-9E2AAEBFBB58}"/>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4" name="AZ Logo">
            <a:extLst>
              <a:ext uri="{FF2B5EF4-FFF2-40B4-BE49-F238E27FC236}">
                <a16:creationId xmlns:a16="http://schemas.microsoft.com/office/drawing/2014/main" id="{F24DC4DD-9E7A-7241-D3F3-3F4AB0555A9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36591" y="6348816"/>
            <a:ext cx="1147048" cy="275941"/>
          </a:xfrm>
          <a:prstGeom prst="rect">
            <a:avLst/>
          </a:prstGeom>
        </p:spPr>
      </p:pic>
      <p:pic>
        <p:nvPicPr>
          <p:cNvPr id="5" name="MSD Logo">
            <a:extLst>
              <a:ext uri="{FF2B5EF4-FFF2-40B4-BE49-F238E27FC236}">
                <a16:creationId xmlns:a16="http://schemas.microsoft.com/office/drawing/2014/main" id="{311A0349-A4BD-FAA9-637D-FFF2BBC7DCE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44601" y="6437207"/>
            <a:ext cx="668100" cy="244800"/>
          </a:xfrm>
          <a:prstGeom prst="rect">
            <a:avLst/>
          </a:prstGeom>
        </p:spPr>
      </p:pic>
      <p:pic>
        <p:nvPicPr>
          <p:cNvPr id="6" name="Lynparza Logo">
            <a:extLst>
              <a:ext uri="{FF2B5EF4-FFF2-40B4-BE49-F238E27FC236}">
                <a16:creationId xmlns:a16="http://schemas.microsoft.com/office/drawing/2014/main" id="{A04F5F22-345B-985F-066E-28EBA7CD5D2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pic>
        <p:nvPicPr>
          <p:cNvPr id="8" name="Hero Image">
            <a:extLst>
              <a:ext uri="{FF2B5EF4-FFF2-40B4-BE49-F238E27FC236}">
                <a16:creationId xmlns:a16="http://schemas.microsoft.com/office/drawing/2014/main" id="{57B0D22B-7090-3B74-8474-947FD5597383}"/>
              </a:ext>
            </a:extLst>
          </p:cNvPr>
          <p:cNvPicPr>
            <a:picLocks noChangeAspect="1"/>
          </p:cNvPicPr>
          <p:nvPr userDrawn="1"/>
        </p:nvPicPr>
        <p:blipFill rotWithShape="1">
          <a:blip r:embed="rId7"/>
          <a:srcRect l="5716" t="315" r="1" b="63396"/>
          <a:stretch/>
        </p:blipFill>
        <p:spPr>
          <a:xfrm>
            <a:off x="0" y="-2959"/>
            <a:ext cx="11161126" cy="1249363"/>
          </a:xfrm>
          <a:prstGeom prst="rect">
            <a:avLst/>
          </a:prstGeom>
        </p:spPr>
      </p:pic>
      <p:sp>
        <p:nvSpPr>
          <p:cNvPr id="31" name="Text Placeholder 12">
            <a:extLst>
              <a:ext uri="{FF2B5EF4-FFF2-40B4-BE49-F238E27FC236}">
                <a16:creationId xmlns:a16="http://schemas.microsoft.com/office/drawing/2014/main" id="{69CE8455-F9B8-0A40-A4EC-B9B7422F3CCC}"/>
              </a:ext>
            </a:extLst>
          </p:cNvPr>
          <p:cNvSpPr>
            <a:spLocks noGrp="1"/>
          </p:cNvSpPr>
          <p:nvPr>
            <p:ph type="body" sz="quarter" idx="13"/>
          </p:nvPr>
        </p:nvSpPr>
        <p:spPr>
          <a:xfrm>
            <a:off x="838800" y="1497600"/>
            <a:ext cx="5220000" cy="4147200"/>
          </a:xfrm>
          <a:prstGeom prst="rect">
            <a:avLst/>
          </a:prstGeom>
        </p:spPr>
        <p:txBody>
          <a:bodyPr lIns="0" tIns="0" rIns="0" bIns="0">
            <a:normAutofit/>
          </a:bodyPr>
          <a:lstStyle>
            <a:lvl1pPr>
              <a:buClr>
                <a:schemeClr val="accent1"/>
              </a:buClr>
              <a:defRPr sz="1400">
                <a:solidFill>
                  <a:srgbClr val="960064"/>
                </a:solidFill>
              </a:defRPr>
            </a:lvl1pPr>
            <a:lvl2pPr>
              <a:buClr>
                <a:schemeClr val="accent1"/>
              </a:buClr>
              <a:defRPr sz="1200">
                <a:solidFill>
                  <a:srgbClr val="960064"/>
                </a:solidFill>
              </a:defRPr>
            </a:lvl2pPr>
            <a:lvl3pPr>
              <a:buClr>
                <a:schemeClr val="accent1"/>
              </a:buClr>
              <a:defRPr sz="1100">
                <a:solidFill>
                  <a:srgbClr val="960064"/>
                </a:solidFill>
              </a:defRPr>
            </a:lvl3pPr>
            <a:lvl4pPr>
              <a:buClr>
                <a:schemeClr val="accent1"/>
              </a:buClr>
              <a:defRPr sz="1051">
                <a:solidFill>
                  <a:srgbClr val="960064"/>
                </a:solidFill>
              </a:defRPr>
            </a:lvl4pPr>
            <a:lvl5pPr>
              <a:buClr>
                <a:schemeClr val="accent1"/>
              </a:buClr>
              <a:defRPr sz="1000">
                <a:solidFill>
                  <a:srgbClr val="96006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12">
            <a:extLst>
              <a:ext uri="{FF2B5EF4-FFF2-40B4-BE49-F238E27FC236}">
                <a16:creationId xmlns:a16="http://schemas.microsoft.com/office/drawing/2014/main" id="{E256F0E5-ECFA-2B43-8D67-C042B160FA58}"/>
              </a:ext>
            </a:extLst>
          </p:cNvPr>
          <p:cNvSpPr>
            <a:spLocks noGrp="1"/>
          </p:cNvSpPr>
          <p:nvPr>
            <p:ph type="body" sz="quarter" idx="14"/>
          </p:nvPr>
        </p:nvSpPr>
        <p:spPr>
          <a:xfrm>
            <a:off x="6154725" y="1505628"/>
            <a:ext cx="5220000" cy="4147200"/>
          </a:xfrm>
          <a:prstGeom prst="rect">
            <a:avLst/>
          </a:prstGeom>
        </p:spPr>
        <p:txBody>
          <a:bodyPr lIns="0" tIns="0" rIns="0" bIns="0">
            <a:normAutofit/>
          </a:bodyPr>
          <a:lstStyle>
            <a:lvl1pPr>
              <a:buClr>
                <a:schemeClr val="accent1"/>
              </a:buClr>
              <a:defRPr sz="1400">
                <a:solidFill>
                  <a:srgbClr val="960064"/>
                </a:solidFill>
              </a:defRPr>
            </a:lvl1pPr>
            <a:lvl2pPr>
              <a:buClr>
                <a:schemeClr val="accent1"/>
              </a:buClr>
              <a:defRPr sz="1200">
                <a:solidFill>
                  <a:srgbClr val="960064"/>
                </a:solidFill>
              </a:defRPr>
            </a:lvl2pPr>
            <a:lvl3pPr>
              <a:buClr>
                <a:schemeClr val="accent1"/>
              </a:buClr>
              <a:defRPr sz="1100">
                <a:solidFill>
                  <a:srgbClr val="960064"/>
                </a:solidFill>
              </a:defRPr>
            </a:lvl3pPr>
            <a:lvl4pPr>
              <a:buClr>
                <a:schemeClr val="accent1"/>
              </a:buClr>
              <a:defRPr sz="1051">
                <a:solidFill>
                  <a:srgbClr val="960064"/>
                </a:solidFill>
              </a:defRPr>
            </a:lvl4pPr>
            <a:lvl5pPr>
              <a:buClr>
                <a:schemeClr val="accent1"/>
              </a:buClr>
              <a:defRPr sz="1000">
                <a:solidFill>
                  <a:srgbClr val="96006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Freeform 16">
            <a:extLst>
              <a:ext uri="{FF2B5EF4-FFF2-40B4-BE49-F238E27FC236}">
                <a16:creationId xmlns:a16="http://schemas.microsoft.com/office/drawing/2014/main" id="{A5F74317-5EEC-7841-89F7-75431E1859B7}"/>
              </a:ext>
            </a:extLst>
          </p:cNvPr>
          <p:cNvSpPr/>
          <p:nvPr userDrawn="1"/>
        </p:nvSpPr>
        <p:spPr>
          <a:xfrm>
            <a:off x="2" y="181685"/>
            <a:ext cx="7743533" cy="946539"/>
          </a:xfrm>
          <a:custGeom>
            <a:avLst/>
            <a:gdLst>
              <a:gd name="connsiteX0" fmla="*/ 0 w 7743533"/>
              <a:gd name="connsiteY0" fmla="*/ 0 h 946539"/>
              <a:gd name="connsiteX1" fmla="*/ 7743533 w 7743533"/>
              <a:gd name="connsiteY1" fmla="*/ 7185 h 946539"/>
              <a:gd name="connsiteX2" fmla="*/ 7513570 w 7743533"/>
              <a:gd name="connsiteY2" fmla="*/ 942420 h 946539"/>
              <a:gd name="connsiteX3" fmla="*/ 0 w 7743533"/>
              <a:gd name="connsiteY3" fmla="*/ 946539 h 946539"/>
            </a:gdLst>
            <a:ahLst/>
            <a:cxnLst>
              <a:cxn ang="0">
                <a:pos x="connsiteX0" y="connsiteY0"/>
              </a:cxn>
              <a:cxn ang="0">
                <a:pos x="connsiteX1" y="connsiteY1"/>
              </a:cxn>
              <a:cxn ang="0">
                <a:pos x="connsiteX2" y="connsiteY2"/>
              </a:cxn>
              <a:cxn ang="0">
                <a:pos x="connsiteX3" y="connsiteY3"/>
              </a:cxn>
            </a:cxnLst>
            <a:rect l="l" t="t" r="r" b="b"/>
            <a:pathLst>
              <a:path w="7743533" h="946539">
                <a:moveTo>
                  <a:pt x="0" y="0"/>
                </a:moveTo>
                <a:lnTo>
                  <a:pt x="7743533" y="7185"/>
                </a:lnTo>
                <a:lnTo>
                  <a:pt x="7513570" y="942420"/>
                </a:lnTo>
                <a:lnTo>
                  <a:pt x="0" y="946539"/>
                </a:lnTo>
                <a:close/>
              </a:path>
            </a:pathLst>
          </a:custGeom>
          <a:solidFill>
            <a:srgbClr val="960064">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18" name="Freeform 17">
            <a:extLst>
              <a:ext uri="{FF2B5EF4-FFF2-40B4-BE49-F238E27FC236}">
                <a16:creationId xmlns:a16="http://schemas.microsoft.com/office/drawing/2014/main" id="{78C89854-D463-0747-9ADD-EDC0CB1BDB92}"/>
              </a:ext>
            </a:extLst>
          </p:cNvPr>
          <p:cNvSpPr/>
          <p:nvPr userDrawn="1"/>
        </p:nvSpPr>
        <p:spPr>
          <a:xfrm>
            <a:off x="1" y="1"/>
            <a:ext cx="7519155" cy="966668"/>
          </a:xfrm>
          <a:custGeom>
            <a:avLst/>
            <a:gdLst>
              <a:gd name="connsiteX0" fmla="*/ 0 w 7519155"/>
              <a:gd name="connsiteY0" fmla="*/ 0 h 966668"/>
              <a:gd name="connsiteX1" fmla="*/ 7519155 w 7519155"/>
              <a:gd name="connsiteY1" fmla="*/ 0 h 966668"/>
              <a:gd name="connsiteX2" fmla="*/ 7290187 w 7519155"/>
              <a:gd name="connsiteY2" fmla="*/ 966668 h 966668"/>
              <a:gd name="connsiteX3" fmla="*/ 0 w 7519155"/>
              <a:gd name="connsiteY3" fmla="*/ 956651 h 966668"/>
            </a:gdLst>
            <a:ahLst/>
            <a:cxnLst>
              <a:cxn ang="0">
                <a:pos x="connsiteX0" y="connsiteY0"/>
              </a:cxn>
              <a:cxn ang="0">
                <a:pos x="connsiteX1" y="connsiteY1"/>
              </a:cxn>
              <a:cxn ang="0">
                <a:pos x="connsiteX2" y="connsiteY2"/>
              </a:cxn>
              <a:cxn ang="0">
                <a:pos x="connsiteX3" y="connsiteY3"/>
              </a:cxn>
            </a:cxnLst>
            <a:rect l="l" t="t" r="r" b="b"/>
            <a:pathLst>
              <a:path w="7519155" h="966668">
                <a:moveTo>
                  <a:pt x="0" y="0"/>
                </a:moveTo>
                <a:lnTo>
                  <a:pt x="7519155" y="0"/>
                </a:lnTo>
                <a:lnTo>
                  <a:pt x="7290187" y="966668"/>
                </a:lnTo>
                <a:lnTo>
                  <a:pt x="0" y="956651"/>
                </a:lnTo>
                <a:close/>
              </a:path>
            </a:pathLst>
          </a:custGeom>
          <a:solidFill>
            <a:srgbClr val="960064">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16" name="Header">
            <a:extLst>
              <a:ext uri="{FF2B5EF4-FFF2-40B4-BE49-F238E27FC236}">
                <a16:creationId xmlns:a16="http://schemas.microsoft.com/office/drawing/2014/main" id="{758ACE78-DAE8-CB41-A03A-0D8CC39F47BC}"/>
              </a:ext>
            </a:extLst>
          </p:cNvPr>
          <p:cNvSpPr>
            <a:spLocks noGrp="1"/>
          </p:cNvSpPr>
          <p:nvPr>
            <p:ph type="body" sz="quarter" idx="11" hasCustomPrompt="1"/>
          </p:nvPr>
        </p:nvSpPr>
        <p:spPr>
          <a:xfrm>
            <a:off x="838800" y="169200"/>
            <a:ext cx="6156000" cy="784800"/>
          </a:xfrm>
          <a:prstGeom prst="rect">
            <a:avLst/>
          </a:prstGeom>
        </p:spPr>
        <p:txBody>
          <a:bodyPr lIns="0" tIns="90000" rIns="46800" bIns="0">
            <a:normAutofit/>
          </a:bodyPr>
          <a:lstStyle>
            <a:lvl1pPr marL="0" indent="0">
              <a:lnSpc>
                <a:spcPct val="100000"/>
              </a:lnSpc>
              <a:spcAft>
                <a:spcPts val="200"/>
              </a:spcAft>
              <a:buFontTx/>
              <a:buNone/>
              <a:defRPr sz="2200" b="1" i="1">
                <a:solidFill>
                  <a:schemeClr val="bg1"/>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192090099"/>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guide id="3" pos="7038"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 images with header_Lake">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FBD94159-D155-30B3-8CF4-BE469CF6BC05}"/>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Copy">
            <a:extLst>
              <a:ext uri="{FF2B5EF4-FFF2-40B4-BE49-F238E27FC236}">
                <a16:creationId xmlns:a16="http://schemas.microsoft.com/office/drawing/2014/main" id="{0B4EC815-5DA4-7249-EF86-1441DFFE9A28}"/>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4" name="AZ Logo">
            <a:extLst>
              <a:ext uri="{FF2B5EF4-FFF2-40B4-BE49-F238E27FC236}">
                <a16:creationId xmlns:a16="http://schemas.microsoft.com/office/drawing/2014/main" id="{67A7BA5A-4BDB-B52B-41D8-E2D0BAB5EB8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36591" y="6348816"/>
            <a:ext cx="1147048" cy="275941"/>
          </a:xfrm>
          <a:prstGeom prst="rect">
            <a:avLst/>
          </a:prstGeom>
        </p:spPr>
      </p:pic>
      <p:pic>
        <p:nvPicPr>
          <p:cNvPr id="5" name="MSD Logo">
            <a:extLst>
              <a:ext uri="{FF2B5EF4-FFF2-40B4-BE49-F238E27FC236}">
                <a16:creationId xmlns:a16="http://schemas.microsoft.com/office/drawing/2014/main" id="{CDA43995-7014-9112-B86E-3DC6F527BD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44601" y="6437207"/>
            <a:ext cx="668100" cy="244800"/>
          </a:xfrm>
          <a:prstGeom prst="rect">
            <a:avLst/>
          </a:prstGeom>
        </p:spPr>
      </p:pic>
      <p:pic>
        <p:nvPicPr>
          <p:cNvPr id="7" name="Lynparza Logo">
            <a:extLst>
              <a:ext uri="{FF2B5EF4-FFF2-40B4-BE49-F238E27FC236}">
                <a16:creationId xmlns:a16="http://schemas.microsoft.com/office/drawing/2014/main" id="{6EFA8EA0-026F-4785-5803-805B1349819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pic>
        <p:nvPicPr>
          <p:cNvPr id="10" name="Hero Image">
            <a:extLst>
              <a:ext uri="{FF2B5EF4-FFF2-40B4-BE49-F238E27FC236}">
                <a16:creationId xmlns:a16="http://schemas.microsoft.com/office/drawing/2014/main" id="{5E25B985-B503-3C76-5718-B418198FCF63}"/>
              </a:ext>
            </a:extLst>
          </p:cNvPr>
          <p:cNvPicPr>
            <a:picLocks noChangeAspect="1"/>
          </p:cNvPicPr>
          <p:nvPr userDrawn="1"/>
        </p:nvPicPr>
        <p:blipFill rotWithShape="1">
          <a:blip r:embed="rId7"/>
          <a:srcRect l="5716" t="315" r="1" b="63396"/>
          <a:stretch/>
        </p:blipFill>
        <p:spPr>
          <a:xfrm>
            <a:off x="0" y="-2959"/>
            <a:ext cx="11161126" cy="1249363"/>
          </a:xfrm>
          <a:prstGeom prst="rect">
            <a:avLst/>
          </a:prstGeom>
        </p:spPr>
      </p:pic>
      <p:sp>
        <p:nvSpPr>
          <p:cNvPr id="6" name="Picture Placeholder 5">
            <a:extLst>
              <a:ext uri="{FF2B5EF4-FFF2-40B4-BE49-F238E27FC236}">
                <a16:creationId xmlns:a16="http://schemas.microsoft.com/office/drawing/2014/main" id="{6080987E-2423-A547-87B8-7FA520522BDE}"/>
              </a:ext>
            </a:extLst>
          </p:cNvPr>
          <p:cNvSpPr>
            <a:spLocks noGrp="1"/>
          </p:cNvSpPr>
          <p:nvPr>
            <p:ph type="pic" sz="quarter" idx="12" hasCustomPrompt="1"/>
          </p:nvPr>
        </p:nvSpPr>
        <p:spPr>
          <a:xfrm>
            <a:off x="824400" y="1497600"/>
            <a:ext cx="5220000" cy="4147200"/>
          </a:xfrm>
          <a:prstGeom prst="rect">
            <a:avLst/>
          </a:prstGeom>
        </p:spPr>
        <p:txBody>
          <a:bodyPr lIns="90000"/>
          <a:lstStyle>
            <a:lvl1pPr marL="0" indent="0">
              <a:buNone/>
              <a:defRPr sz="1400"/>
            </a:lvl1pPr>
          </a:lstStyle>
          <a:p>
            <a:r>
              <a:rPr lang="en-US" sz="1400" dirty="0"/>
              <a:t>Click to insert image</a:t>
            </a:r>
            <a:endParaRPr lang="en-US" dirty="0"/>
          </a:p>
        </p:txBody>
      </p:sp>
      <p:sp>
        <p:nvSpPr>
          <p:cNvPr id="18" name="Picture Placeholder 5">
            <a:extLst>
              <a:ext uri="{FF2B5EF4-FFF2-40B4-BE49-F238E27FC236}">
                <a16:creationId xmlns:a16="http://schemas.microsoft.com/office/drawing/2014/main" id="{59C87586-F162-3B41-A14A-3318275EC492}"/>
              </a:ext>
            </a:extLst>
          </p:cNvPr>
          <p:cNvSpPr>
            <a:spLocks noGrp="1"/>
          </p:cNvSpPr>
          <p:nvPr>
            <p:ph type="pic" sz="quarter" idx="13" hasCustomPrompt="1"/>
          </p:nvPr>
        </p:nvSpPr>
        <p:spPr>
          <a:xfrm>
            <a:off x="6148800" y="1497600"/>
            <a:ext cx="5220000" cy="4147200"/>
          </a:xfrm>
          <a:prstGeom prst="rect">
            <a:avLst/>
          </a:prstGeom>
        </p:spPr>
        <p:txBody>
          <a:bodyPr lIns="90000"/>
          <a:lstStyle>
            <a:lvl1pPr marL="0" indent="0">
              <a:buNone/>
              <a:defRPr sz="1400"/>
            </a:lvl1pPr>
          </a:lstStyle>
          <a:p>
            <a:r>
              <a:rPr lang="en-US" sz="1400" dirty="0"/>
              <a:t>Click to insert image</a:t>
            </a:r>
            <a:endParaRPr lang="en-US" dirty="0"/>
          </a:p>
        </p:txBody>
      </p:sp>
      <p:sp>
        <p:nvSpPr>
          <p:cNvPr id="26" name="Freeform 25">
            <a:extLst>
              <a:ext uri="{FF2B5EF4-FFF2-40B4-BE49-F238E27FC236}">
                <a16:creationId xmlns:a16="http://schemas.microsoft.com/office/drawing/2014/main" id="{BCFF43F5-04C3-C44D-9098-94D3B58E2493}"/>
              </a:ext>
            </a:extLst>
          </p:cNvPr>
          <p:cNvSpPr/>
          <p:nvPr userDrawn="1"/>
        </p:nvSpPr>
        <p:spPr>
          <a:xfrm>
            <a:off x="2" y="181685"/>
            <a:ext cx="7743533" cy="946539"/>
          </a:xfrm>
          <a:custGeom>
            <a:avLst/>
            <a:gdLst>
              <a:gd name="connsiteX0" fmla="*/ 0 w 7743533"/>
              <a:gd name="connsiteY0" fmla="*/ 0 h 946539"/>
              <a:gd name="connsiteX1" fmla="*/ 7743533 w 7743533"/>
              <a:gd name="connsiteY1" fmla="*/ 7185 h 946539"/>
              <a:gd name="connsiteX2" fmla="*/ 7513570 w 7743533"/>
              <a:gd name="connsiteY2" fmla="*/ 942420 h 946539"/>
              <a:gd name="connsiteX3" fmla="*/ 0 w 7743533"/>
              <a:gd name="connsiteY3" fmla="*/ 946539 h 946539"/>
            </a:gdLst>
            <a:ahLst/>
            <a:cxnLst>
              <a:cxn ang="0">
                <a:pos x="connsiteX0" y="connsiteY0"/>
              </a:cxn>
              <a:cxn ang="0">
                <a:pos x="connsiteX1" y="connsiteY1"/>
              </a:cxn>
              <a:cxn ang="0">
                <a:pos x="connsiteX2" y="connsiteY2"/>
              </a:cxn>
              <a:cxn ang="0">
                <a:pos x="connsiteX3" y="connsiteY3"/>
              </a:cxn>
            </a:cxnLst>
            <a:rect l="l" t="t" r="r" b="b"/>
            <a:pathLst>
              <a:path w="7743533" h="946539">
                <a:moveTo>
                  <a:pt x="0" y="0"/>
                </a:moveTo>
                <a:lnTo>
                  <a:pt x="7743533" y="7185"/>
                </a:lnTo>
                <a:lnTo>
                  <a:pt x="7513570" y="942420"/>
                </a:lnTo>
                <a:lnTo>
                  <a:pt x="0" y="946539"/>
                </a:lnTo>
                <a:close/>
              </a:path>
            </a:pathLst>
          </a:custGeom>
          <a:solidFill>
            <a:srgbClr val="960064">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25" name="Freeform 24">
            <a:extLst>
              <a:ext uri="{FF2B5EF4-FFF2-40B4-BE49-F238E27FC236}">
                <a16:creationId xmlns:a16="http://schemas.microsoft.com/office/drawing/2014/main" id="{9713A42D-AE26-3340-8848-AD6E5DAEC037}"/>
              </a:ext>
            </a:extLst>
          </p:cNvPr>
          <p:cNvSpPr/>
          <p:nvPr userDrawn="1"/>
        </p:nvSpPr>
        <p:spPr>
          <a:xfrm>
            <a:off x="1" y="1"/>
            <a:ext cx="7519155" cy="966668"/>
          </a:xfrm>
          <a:custGeom>
            <a:avLst/>
            <a:gdLst>
              <a:gd name="connsiteX0" fmla="*/ 0 w 7519155"/>
              <a:gd name="connsiteY0" fmla="*/ 0 h 966668"/>
              <a:gd name="connsiteX1" fmla="*/ 7519155 w 7519155"/>
              <a:gd name="connsiteY1" fmla="*/ 0 h 966668"/>
              <a:gd name="connsiteX2" fmla="*/ 7290187 w 7519155"/>
              <a:gd name="connsiteY2" fmla="*/ 966668 h 966668"/>
              <a:gd name="connsiteX3" fmla="*/ 0 w 7519155"/>
              <a:gd name="connsiteY3" fmla="*/ 956651 h 966668"/>
            </a:gdLst>
            <a:ahLst/>
            <a:cxnLst>
              <a:cxn ang="0">
                <a:pos x="connsiteX0" y="connsiteY0"/>
              </a:cxn>
              <a:cxn ang="0">
                <a:pos x="connsiteX1" y="connsiteY1"/>
              </a:cxn>
              <a:cxn ang="0">
                <a:pos x="connsiteX2" y="connsiteY2"/>
              </a:cxn>
              <a:cxn ang="0">
                <a:pos x="connsiteX3" y="connsiteY3"/>
              </a:cxn>
            </a:cxnLst>
            <a:rect l="l" t="t" r="r" b="b"/>
            <a:pathLst>
              <a:path w="7519155" h="966668">
                <a:moveTo>
                  <a:pt x="0" y="0"/>
                </a:moveTo>
                <a:lnTo>
                  <a:pt x="7519155" y="0"/>
                </a:lnTo>
                <a:lnTo>
                  <a:pt x="7290187" y="966668"/>
                </a:lnTo>
                <a:lnTo>
                  <a:pt x="0" y="956651"/>
                </a:lnTo>
                <a:close/>
              </a:path>
            </a:pathLst>
          </a:custGeom>
          <a:solidFill>
            <a:srgbClr val="960064">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21" name="Header">
            <a:extLst>
              <a:ext uri="{FF2B5EF4-FFF2-40B4-BE49-F238E27FC236}">
                <a16:creationId xmlns:a16="http://schemas.microsoft.com/office/drawing/2014/main" id="{732EBD66-4324-5742-A160-1F1F22EDF0C8}"/>
              </a:ext>
            </a:extLst>
          </p:cNvPr>
          <p:cNvSpPr>
            <a:spLocks noGrp="1"/>
          </p:cNvSpPr>
          <p:nvPr>
            <p:ph type="body" sz="quarter" idx="11" hasCustomPrompt="1"/>
          </p:nvPr>
        </p:nvSpPr>
        <p:spPr>
          <a:xfrm>
            <a:off x="838800" y="169200"/>
            <a:ext cx="6156000" cy="784800"/>
          </a:xfrm>
          <a:prstGeom prst="rect">
            <a:avLst/>
          </a:prstGeom>
        </p:spPr>
        <p:txBody>
          <a:bodyPr lIns="0" tIns="90000" rIns="46800" bIns="0">
            <a:normAutofit/>
          </a:bodyPr>
          <a:lstStyle>
            <a:lvl1pPr marL="0" indent="0">
              <a:lnSpc>
                <a:spcPct val="100000"/>
              </a:lnSpc>
              <a:spcAft>
                <a:spcPts val="200"/>
              </a:spcAft>
              <a:buFontTx/>
              <a:buNone/>
              <a:defRPr sz="2200" b="1" i="1">
                <a:solidFill>
                  <a:schemeClr val="bg1"/>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3909209949"/>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guide id="3" orient="horz" pos="2160" userDrawn="1">
          <p15:clr>
            <a:srgbClr val="FBAE40"/>
          </p15:clr>
        </p15:guide>
        <p15:guide id="4" orient="horz" pos="3997" userDrawn="1">
          <p15:clr>
            <a:srgbClr val="FBAE40"/>
          </p15:clr>
        </p15:guide>
        <p15:guide id="5" orient="horz" pos="736" userDrawn="1">
          <p15:clr>
            <a:srgbClr val="FBAE40"/>
          </p15:clr>
        </p15:guide>
        <p15:guide id="6" orient="horz" pos="651"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 column with header_image_Lake">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71C6BECD-53AD-1FE2-91CC-F312D24C079F}"/>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Copy">
            <a:extLst>
              <a:ext uri="{FF2B5EF4-FFF2-40B4-BE49-F238E27FC236}">
                <a16:creationId xmlns:a16="http://schemas.microsoft.com/office/drawing/2014/main" id="{3DA77EA4-6EB4-7CA3-C5AD-57A8C71FE9C6}"/>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6" name="AZ Logo">
            <a:extLst>
              <a:ext uri="{FF2B5EF4-FFF2-40B4-BE49-F238E27FC236}">
                <a16:creationId xmlns:a16="http://schemas.microsoft.com/office/drawing/2014/main" id="{0E2D5933-0FF6-28D3-B932-27160CAB7D1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36591" y="6348816"/>
            <a:ext cx="1147048" cy="275941"/>
          </a:xfrm>
          <a:prstGeom prst="rect">
            <a:avLst/>
          </a:prstGeom>
        </p:spPr>
      </p:pic>
      <p:pic>
        <p:nvPicPr>
          <p:cNvPr id="8" name="MSD Logo">
            <a:extLst>
              <a:ext uri="{FF2B5EF4-FFF2-40B4-BE49-F238E27FC236}">
                <a16:creationId xmlns:a16="http://schemas.microsoft.com/office/drawing/2014/main" id="{B7622C18-0820-1083-2A09-64BC9C52A7F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44601" y="6437207"/>
            <a:ext cx="668100" cy="244800"/>
          </a:xfrm>
          <a:prstGeom prst="rect">
            <a:avLst/>
          </a:prstGeom>
        </p:spPr>
      </p:pic>
      <p:pic>
        <p:nvPicPr>
          <p:cNvPr id="9" name="Lynparza Logo">
            <a:extLst>
              <a:ext uri="{FF2B5EF4-FFF2-40B4-BE49-F238E27FC236}">
                <a16:creationId xmlns:a16="http://schemas.microsoft.com/office/drawing/2014/main" id="{11D4C9C1-E2A5-F1C6-27F1-E8BAFE2677C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pic>
        <p:nvPicPr>
          <p:cNvPr id="7" name="Hero Image">
            <a:extLst>
              <a:ext uri="{FF2B5EF4-FFF2-40B4-BE49-F238E27FC236}">
                <a16:creationId xmlns:a16="http://schemas.microsoft.com/office/drawing/2014/main" id="{B29773A3-B089-C0C9-E256-7A37A64C85DA}"/>
              </a:ext>
            </a:extLst>
          </p:cNvPr>
          <p:cNvPicPr>
            <a:picLocks noChangeAspect="1"/>
          </p:cNvPicPr>
          <p:nvPr userDrawn="1"/>
        </p:nvPicPr>
        <p:blipFill rotWithShape="1">
          <a:blip r:embed="rId7"/>
          <a:srcRect l="5716" t="315" r="1" b="63396"/>
          <a:stretch/>
        </p:blipFill>
        <p:spPr>
          <a:xfrm>
            <a:off x="0" y="-2959"/>
            <a:ext cx="11161126" cy="1249363"/>
          </a:xfrm>
          <a:prstGeom prst="rect">
            <a:avLst/>
          </a:prstGeom>
        </p:spPr>
      </p:pic>
      <p:sp>
        <p:nvSpPr>
          <p:cNvPr id="31" name="Text Placeholder 12">
            <a:extLst>
              <a:ext uri="{FF2B5EF4-FFF2-40B4-BE49-F238E27FC236}">
                <a16:creationId xmlns:a16="http://schemas.microsoft.com/office/drawing/2014/main" id="{69CE8455-F9B8-0A40-A4EC-B9B7422F3CCC}"/>
              </a:ext>
            </a:extLst>
          </p:cNvPr>
          <p:cNvSpPr>
            <a:spLocks noGrp="1"/>
          </p:cNvSpPr>
          <p:nvPr userDrawn="1">
            <p:ph type="body" sz="quarter" idx="13"/>
          </p:nvPr>
        </p:nvSpPr>
        <p:spPr>
          <a:xfrm>
            <a:off x="838800" y="1497600"/>
            <a:ext cx="5220000" cy="4147200"/>
          </a:xfrm>
          <a:prstGeom prst="rect">
            <a:avLst/>
          </a:prstGeom>
        </p:spPr>
        <p:txBody>
          <a:bodyPr lIns="0" tIns="0" rIns="0" bIns="0">
            <a:normAutofit/>
          </a:bodyPr>
          <a:lstStyle>
            <a:lvl1pPr>
              <a:buClr>
                <a:schemeClr val="accent1"/>
              </a:buClr>
              <a:defRPr sz="1400">
                <a:solidFill>
                  <a:srgbClr val="960064"/>
                </a:solidFill>
              </a:defRPr>
            </a:lvl1pPr>
            <a:lvl2pPr>
              <a:buClr>
                <a:schemeClr val="accent1"/>
              </a:buClr>
              <a:defRPr sz="1200">
                <a:solidFill>
                  <a:srgbClr val="960064"/>
                </a:solidFill>
              </a:defRPr>
            </a:lvl2pPr>
            <a:lvl3pPr>
              <a:buClr>
                <a:schemeClr val="accent1"/>
              </a:buClr>
              <a:defRPr sz="1100">
                <a:solidFill>
                  <a:srgbClr val="960064"/>
                </a:solidFill>
              </a:defRPr>
            </a:lvl3pPr>
            <a:lvl4pPr>
              <a:buClr>
                <a:schemeClr val="accent1"/>
              </a:buClr>
              <a:defRPr sz="1051">
                <a:solidFill>
                  <a:srgbClr val="960064"/>
                </a:solidFill>
              </a:defRPr>
            </a:lvl4pPr>
            <a:lvl5pPr>
              <a:buClr>
                <a:schemeClr val="accent1"/>
              </a:buClr>
              <a:defRPr sz="1000">
                <a:solidFill>
                  <a:srgbClr val="96006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5">
            <a:extLst>
              <a:ext uri="{FF2B5EF4-FFF2-40B4-BE49-F238E27FC236}">
                <a16:creationId xmlns:a16="http://schemas.microsoft.com/office/drawing/2014/main" id="{25D62E0C-DFEA-8347-92C2-C38CA60C866E}"/>
              </a:ext>
            </a:extLst>
          </p:cNvPr>
          <p:cNvSpPr>
            <a:spLocks noGrp="1"/>
          </p:cNvSpPr>
          <p:nvPr userDrawn="1">
            <p:ph type="pic" sz="quarter" idx="14" hasCustomPrompt="1"/>
          </p:nvPr>
        </p:nvSpPr>
        <p:spPr>
          <a:xfrm>
            <a:off x="6148800" y="1497600"/>
            <a:ext cx="5220000" cy="4147200"/>
          </a:xfrm>
          <a:prstGeom prst="rect">
            <a:avLst/>
          </a:prstGeom>
        </p:spPr>
        <p:txBody>
          <a:bodyPr lIns="90000"/>
          <a:lstStyle>
            <a:lvl1pPr marL="0" indent="0">
              <a:buNone/>
              <a:defRPr sz="1400"/>
            </a:lvl1pPr>
          </a:lstStyle>
          <a:p>
            <a:r>
              <a:rPr lang="en-US" sz="1400" dirty="0"/>
              <a:t>Click to insert image</a:t>
            </a:r>
            <a:endParaRPr lang="en-US" dirty="0"/>
          </a:p>
        </p:txBody>
      </p:sp>
      <p:sp>
        <p:nvSpPr>
          <p:cNvPr id="17" name="Freeform 16">
            <a:extLst>
              <a:ext uri="{FF2B5EF4-FFF2-40B4-BE49-F238E27FC236}">
                <a16:creationId xmlns:a16="http://schemas.microsoft.com/office/drawing/2014/main" id="{A5F74317-5EEC-7841-89F7-75431E1859B7}"/>
              </a:ext>
            </a:extLst>
          </p:cNvPr>
          <p:cNvSpPr/>
          <p:nvPr userDrawn="1"/>
        </p:nvSpPr>
        <p:spPr>
          <a:xfrm>
            <a:off x="2" y="181685"/>
            <a:ext cx="7743533" cy="946539"/>
          </a:xfrm>
          <a:custGeom>
            <a:avLst/>
            <a:gdLst>
              <a:gd name="connsiteX0" fmla="*/ 0 w 7743533"/>
              <a:gd name="connsiteY0" fmla="*/ 0 h 946539"/>
              <a:gd name="connsiteX1" fmla="*/ 7743533 w 7743533"/>
              <a:gd name="connsiteY1" fmla="*/ 7185 h 946539"/>
              <a:gd name="connsiteX2" fmla="*/ 7513570 w 7743533"/>
              <a:gd name="connsiteY2" fmla="*/ 942420 h 946539"/>
              <a:gd name="connsiteX3" fmla="*/ 0 w 7743533"/>
              <a:gd name="connsiteY3" fmla="*/ 946539 h 946539"/>
            </a:gdLst>
            <a:ahLst/>
            <a:cxnLst>
              <a:cxn ang="0">
                <a:pos x="connsiteX0" y="connsiteY0"/>
              </a:cxn>
              <a:cxn ang="0">
                <a:pos x="connsiteX1" y="connsiteY1"/>
              </a:cxn>
              <a:cxn ang="0">
                <a:pos x="connsiteX2" y="connsiteY2"/>
              </a:cxn>
              <a:cxn ang="0">
                <a:pos x="connsiteX3" y="connsiteY3"/>
              </a:cxn>
            </a:cxnLst>
            <a:rect l="l" t="t" r="r" b="b"/>
            <a:pathLst>
              <a:path w="7743533" h="946539">
                <a:moveTo>
                  <a:pt x="0" y="0"/>
                </a:moveTo>
                <a:lnTo>
                  <a:pt x="7743533" y="7185"/>
                </a:lnTo>
                <a:lnTo>
                  <a:pt x="7513570" y="942420"/>
                </a:lnTo>
                <a:lnTo>
                  <a:pt x="0" y="946539"/>
                </a:lnTo>
                <a:close/>
              </a:path>
            </a:pathLst>
          </a:custGeom>
          <a:solidFill>
            <a:srgbClr val="960064">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18" name="Freeform 17">
            <a:extLst>
              <a:ext uri="{FF2B5EF4-FFF2-40B4-BE49-F238E27FC236}">
                <a16:creationId xmlns:a16="http://schemas.microsoft.com/office/drawing/2014/main" id="{78C89854-D463-0747-9ADD-EDC0CB1BDB92}"/>
              </a:ext>
            </a:extLst>
          </p:cNvPr>
          <p:cNvSpPr/>
          <p:nvPr userDrawn="1"/>
        </p:nvSpPr>
        <p:spPr>
          <a:xfrm>
            <a:off x="1" y="1"/>
            <a:ext cx="7519155" cy="966668"/>
          </a:xfrm>
          <a:custGeom>
            <a:avLst/>
            <a:gdLst>
              <a:gd name="connsiteX0" fmla="*/ 0 w 7519155"/>
              <a:gd name="connsiteY0" fmla="*/ 0 h 966668"/>
              <a:gd name="connsiteX1" fmla="*/ 7519155 w 7519155"/>
              <a:gd name="connsiteY1" fmla="*/ 0 h 966668"/>
              <a:gd name="connsiteX2" fmla="*/ 7290187 w 7519155"/>
              <a:gd name="connsiteY2" fmla="*/ 966668 h 966668"/>
              <a:gd name="connsiteX3" fmla="*/ 0 w 7519155"/>
              <a:gd name="connsiteY3" fmla="*/ 956651 h 966668"/>
            </a:gdLst>
            <a:ahLst/>
            <a:cxnLst>
              <a:cxn ang="0">
                <a:pos x="connsiteX0" y="connsiteY0"/>
              </a:cxn>
              <a:cxn ang="0">
                <a:pos x="connsiteX1" y="connsiteY1"/>
              </a:cxn>
              <a:cxn ang="0">
                <a:pos x="connsiteX2" y="connsiteY2"/>
              </a:cxn>
              <a:cxn ang="0">
                <a:pos x="connsiteX3" y="connsiteY3"/>
              </a:cxn>
            </a:cxnLst>
            <a:rect l="l" t="t" r="r" b="b"/>
            <a:pathLst>
              <a:path w="7519155" h="966668">
                <a:moveTo>
                  <a:pt x="0" y="0"/>
                </a:moveTo>
                <a:lnTo>
                  <a:pt x="7519155" y="0"/>
                </a:lnTo>
                <a:lnTo>
                  <a:pt x="7290187" y="966668"/>
                </a:lnTo>
                <a:lnTo>
                  <a:pt x="0" y="956651"/>
                </a:lnTo>
                <a:close/>
              </a:path>
            </a:pathLst>
          </a:custGeom>
          <a:solidFill>
            <a:srgbClr val="960064">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19" name="Header">
            <a:extLst>
              <a:ext uri="{FF2B5EF4-FFF2-40B4-BE49-F238E27FC236}">
                <a16:creationId xmlns:a16="http://schemas.microsoft.com/office/drawing/2014/main" id="{CC307BA3-EFF1-2A4A-8F82-164AC9A4B66D}"/>
              </a:ext>
            </a:extLst>
          </p:cNvPr>
          <p:cNvSpPr>
            <a:spLocks noGrp="1"/>
          </p:cNvSpPr>
          <p:nvPr userDrawn="1">
            <p:ph type="body" sz="quarter" idx="11" hasCustomPrompt="1"/>
          </p:nvPr>
        </p:nvSpPr>
        <p:spPr>
          <a:xfrm>
            <a:off x="838800" y="169200"/>
            <a:ext cx="6156000" cy="784800"/>
          </a:xfrm>
          <a:prstGeom prst="rect">
            <a:avLst/>
          </a:prstGeom>
        </p:spPr>
        <p:txBody>
          <a:bodyPr lIns="0" tIns="90000" rIns="46800" bIns="0">
            <a:normAutofit/>
          </a:bodyPr>
          <a:lstStyle>
            <a:lvl1pPr marL="0" indent="0">
              <a:lnSpc>
                <a:spcPct val="100000"/>
              </a:lnSpc>
              <a:spcAft>
                <a:spcPts val="200"/>
              </a:spcAft>
              <a:buFontTx/>
              <a:buNone/>
              <a:defRPr sz="2200" b="1" i="1">
                <a:solidFill>
                  <a:schemeClr val="bg1"/>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3428342315"/>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guide id="3" pos="6788"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Slide Header_Blank_Lake">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E14656A3-0E0F-DA50-BB87-B4C1EB48672B}"/>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Copy">
            <a:extLst>
              <a:ext uri="{FF2B5EF4-FFF2-40B4-BE49-F238E27FC236}">
                <a16:creationId xmlns:a16="http://schemas.microsoft.com/office/drawing/2014/main" id="{72EB32E2-6B43-1A8D-C860-FE14D80DDE8F}"/>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4" name="AZ Logo">
            <a:extLst>
              <a:ext uri="{FF2B5EF4-FFF2-40B4-BE49-F238E27FC236}">
                <a16:creationId xmlns:a16="http://schemas.microsoft.com/office/drawing/2014/main" id="{6EE1A843-1002-9DFC-A872-421A5D7C1FB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36591" y="6348816"/>
            <a:ext cx="1147048" cy="275941"/>
          </a:xfrm>
          <a:prstGeom prst="rect">
            <a:avLst/>
          </a:prstGeom>
        </p:spPr>
      </p:pic>
      <p:pic>
        <p:nvPicPr>
          <p:cNvPr id="5" name="MSD Logo">
            <a:extLst>
              <a:ext uri="{FF2B5EF4-FFF2-40B4-BE49-F238E27FC236}">
                <a16:creationId xmlns:a16="http://schemas.microsoft.com/office/drawing/2014/main" id="{23FA6922-D89C-71F7-CAB7-5C66009FF8F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44601" y="6437207"/>
            <a:ext cx="668100" cy="244800"/>
          </a:xfrm>
          <a:prstGeom prst="rect">
            <a:avLst/>
          </a:prstGeom>
        </p:spPr>
      </p:pic>
      <p:pic>
        <p:nvPicPr>
          <p:cNvPr id="6" name="Lynparza Logo">
            <a:extLst>
              <a:ext uri="{FF2B5EF4-FFF2-40B4-BE49-F238E27FC236}">
                <a16:creationId xmlns:a16="http://schemas.microsoft.com/office/drawing/2014/main" id="{152043A1-5465-067E-4426-4749C2BF357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pic>
        <p:nvPicPr>
          <p:cNvPr id="11" name="Hero Image">
            <a:extLst>
              <a:ext uri="{FF2B5EF4-FFF2-40B4-BE49-F238E27FC236}">
                <a16:creationId xmlns:a16="http://schemas.microsoft.com/office/drawing/2014/main" id="{DCD092F4-E145-170E-5CFA-D5AF1EFFC41F}"/>
              </a:ext>
            </a:extLst>
          </p:cNvPr>
          <p:cNvPicPr>
            <a:picLocks noChangeAspect="1"/>
          </p:cNvPicPr>
          <p:nvPr userDrawn="1"/>
        </p:nvPicPr>
        <p:blipFill rotWithShape="1">
          <a:blip r:embed="rId7"/>
          <a:srcRect l="5716" t="315" r="1" b="63396"/>
          <a:stretch/>
        </p:blipFill>
        <p:spPr>
          <a:xfrm>
            <a:off x="0" y="-2959"/>
            <a:ext cx="11161126" cy="1249363"/>
          </a:xfrm>
          <a:prstGeom prst="rect">
            <a:avLst/>
          </a:prstGeom>
        </p:spPr>
      </p:pic>
      <p:sp>
        <p:nvSpPr>
          <p:cNvPr id="17" name="Freeform 16">
            <a:extLst>
              <a:ext uri="{FF2B5EF4-FFF2-40B4-BE49-F238E27FC236}">
                <a16:creationId xmlns:a16="http://schemas.microsoft.com/office/drawing/2014/main" id="{870373B6-CCBC-A146-8678-B84F883A5B72}"/>
              </a:ext>
            </a:extLst>
          </p:cNvPr>
          <p:cNvSpPr/>
          <p:nvPr userDrawn="1"/>
        </p:nvSpPr>
        <p:spPr>
          <a:xfrm>
            <a:off x="2" y="181685"/>
            <a:ext cx="7743533" cy="946539"/>
          </a:xfrm>
          <a:custGeom>
            <a:avLst/>
            <a:gdLst>
              <a:gd name="connsiteX0" fmla="*/ 0 w 7743533"/>
              <a:gd name="connsiteY0" fmla="*/ 0 h 946539"/>
              <a:gd name="connsiteX1" fmla="*/ 7743533 w 7743533"/>
              <a:gd name="connsiteY1" fmla="*/ 7185 h 946539"/>
              <a:gd name="connsiteX2" fmla="*/ 7513570 w 7743533"/>
              <a:gd name="connsiteY2" fmla="*/ 942420 h 946539"/>
              <a:gd name="connsiteX3" fmla="*/ 0 w 7743533"/>
              <a:gd name="connsiteY3" fmla="*/ 946539 h 946539"/>
            </a:gdLst>
            <a:ahLst/>
            <a:cxnLst>
              <a:cxn ang="0">
                <a:pos x="connsiteX0" y="connsiteY0"/>
              </a:cxn>
              <a:cxn ang="0">
                <a:pos x="connsiteX1" y="connsiteY1"/>
              </a:cxn>
              <a:cxn ang="0">
                <a:pos x="connsiteX2" y="connsiteY2"/>
              </a:cxn>
              <a:cxn ang="0">
                <a:pos x="connsiteX3" y="connsiteY3"/>
              </a:cxn>
            </a:cxnLst>
            <a:rect l="l" t="t" r="r" b="b"/>
            <a:pathLst>
              <a:path w="7743533" h="946539">
                <a:moveTo>
                  <a:pt x="0" y="0"/>
                </a:moveTo>
                <a:lnTo>
                  <a:pt x="7743533" y="7185"/>
                </a:lnTo>
                <a:lnTo>
                  <a:pt x="7513570" y="942420"/>
                </a:lnTo>
                <a:lnTo>
                  <a:pt x="0" y="946539"/>
                </a:lnTo>
                <a:close/>
              </a:path>
            </a:pathLst>
          </a:custGeom>
          <a:solidFill>
            <a:srgbClr val="960064">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solidFill>
                <a:srgbClr val="990064"/>
              </a:solidFill>
            </a:endParaRPr>
          </a:p>
        </p:txBody>
      </p:sp>
      <p:sp>
        <p:nvSpPr>
          <p:cNvPr id="18" name="Freeform 17">
            <a:extLst>
              <a:ext uri="{FF2B5EF4-FFF2-40B4-BE49-F238E27FC236}">
                <a16:creationId xmlns:a16="http://schemas.microsoft.com/office/drawing/2014/main" id="{BE08BC48-2C91-5448-8C8E-117141154E07}"/>
              </a:ext>
            </a:extLst>
          </p:cNvPr>
          <p:cNvSpPr/>
          <p:nvPr userDrawn="1"/>
        </p:nvSpPr>
        <p:spPr>
          <a:xfrm>
            <a:off x="1" y="1"/>
            <a:ext cx="7519155" cy="966668"/>
          </a:xfrm>
          <a:custGeom>
            <a:avLst/>
            <a:gdLst>
              <a:gd name="connsiteX0" fmla="*/ 0 w 7519155"/>
              <a:gd name="connsiteY0" fmla="*/ 0 h 966668"/>
              <a:gd name="connsiteX1" fmla="*/ 7519155 w 7519155"/>
              <a:gd name="connsiteY1" fmla="*/ 0 h 966668"/>
              <a:gd name="connsiteX2" fmla="*/ 7290187 w 7519155"/>
              <a:gd name="connsiteY2" fmla="*/ 966668 h 966668"/>
              <a:gd name="connsiteX3" fmla="*/ 0 w 7519155"/>
              <a:gd name="connsiteY3" fmla="*/ 956651 h 966668"/>
            </a:gdLst>
            <a:ahLst/>
            <a:cxnLst>
              <a:cxn ang="0">
                <a:pos x="connsiteX0" y="connsiteY0"/>
              </a:cxn>
              <a:cxn ang="0">
                <a:pos x="connsiteX1" y="connsiteY1"/>
              </a:cxn>
              <a:cxn ang="0">
                <a:pos x="connsiteX2" y="connsiteY2"/>
              </a:cxn>
              <a:cxn ang="0">
                <a:pos x="connsiteX3" y="connsiteY3"/>
              </a:cxn>
            </a:cxnLst>
            <a:rect l="l" t="t" r="r" b="b"/>
            <a:pathLst>
              <a:path w="7519155" h="966668">
                <a:moveTo>
                  <a:pt x="0" y="0"/>
                </a:moveTo>
                <a:lnTo>
                  <a:pt x="7519155" y="0"/>
                </a:lnTo>
                <a:lnTo>
                  <a:pt x="7290187" y="966668"/>
                </a:lnTo>
                <a:lnTo>
                  <a:pt x="0" y="956651"/>
                </a:lnTo>
                <a:close/>
              </a:path>
            </a:pathLst>
          </a:custGeom>
          <a:solidFill>
            <a:srgbClr val="960064">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solidFill>
                <a:srgbClr val="990064"/>
              </a:solidFill>
            </a:endParaRPr>
          </a:p>
        </p:txBody>
      </p:sp>
      <p:sp>
        <p:nvSpPr>
          <p:cNvPr id="15" name="Header">
            <a:extLst>
              <a:ext uri="{FF2B5EF4-FFF2-40B4-BE49-F238E27FC236}">
                <a16:creationId xmlns:a16="http://schemas.microsoft.com/office/drawing/2014/main" id="{56A25296-69F3-8245-825E-3502E86FE19B}"/>
              </a:ext>
            </a:extLst>
          </p:cNvPr>
          <p:cNvSpPr>
            <a:spLocks noGrp="1"/>
          </p:cNvSpPr>
          <p:nvPr>
            <p:ph type="body" sz="quarter" idx="11" hasCustomPrompt="1"/>
          </p:nvPr>
        </p:nvSpPr>
        <p:spPr>
          <a:xfrm>
            <a:off x="754064" y="215411"/>
            <a:ext cx="6156325" cy="701117"/>
          </a:xfrm>
          <a:prstGeom prst="rect">
            <a:avLst/>
          </a:prstGeom>
        </p:spPr>
        <p:txBody>
          <a:bodyPr lIns="0" tIns="0" rIns="0" bIns="0">
            <a:normAutofit/>
          </a:bodyPr>
          <a:lstStyle>
            <a:lvl1pPr marL="0" indent="0">
              <a:lnSpc>
                <a:spcPct val="100000"/>
              </a:lnSpc>
              <a:spcAft>
                <a:spcPts val="200"/>
              </a:spcAft>
              <a:buFontTx/>
              <a:buNone/>
              <a:defRPr sz="2200" b="1" i="1">
                <a:solidFill>
                  <a:schemeClr val="bg1"/>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3466332395"/>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 to Panc - Hero Image">
    <p:spTree>
      <p:nvGrpSpPr>
        <p:cNvPr id="1" name=""/>
        <p:cNvGrpSpPr/>
        <p:nvPr/>
      </p:nvGrpSpPr>
      <p:grpSpPr>
        <a:xfrm>
          <a:off x="0" y="0"/>
          <a:ext cx="0" cy="0"/>
          <a:chOff x="0" y="0"/>
          <a:chExt cx="0" cy="0"/>
        </a:xfrm>
      </p:grpSpPr>
      <p:pic>
        <p:nvPicPr>
          <p:cNvPr id="12" name="Hero Image">
            <a:extLst>
              <a:ext uri="{FF2B5EF4-FFF2-40B4-BE49-F238E27FC236}">
                <a16:creationId xmlns:a16="http://schemas.microsoft.com/office/drawing/2014/main" id="{A0DE2F29-E0C5-DF46-A0A0-4E681F1B21AC}"/>
              </a:ext>
            </a:extLst>
          </p:cNvPr>
          <p:cNvPicPr>
            <a:picLocks noChangeAspect="1"/>
          </p:cNvPicPr>
          <p:nvPr userDrawn="1"/>
        </p:nvPicPr>
        <p:blipFill>
          <a:blip r:embed="rId2"/>
          <a:srcRect/>
          <a:stretch/>
        </p:blipFill>
        <p:spPr>
          <a:xfrm>
            <a:off x="0" y="0"/>
            <a:ext cx="12192000" cy="6858000"/>
          </a:xfrm>
          <a:prstGeom prst="rect">
            <a:avLst/>
          </a:prstGeom>
        </p:spPr>
      </p:pic>
      <p:sp>
        <p:nvSpPr>
          <p:cNvPr id="15" name="TextBox 14">
            <a:extLst>
              <a:ext uri="{FF2B5EF4-FFF2-40B4-BE49-F238E27FC236}">
                <a16:creationId xmlns:a16="http://schemas.microsoft.com/office/drawing/2014/main" id="{A2FA827B-A877-FB48-9D6A-DB5438586297}"/>
              </a:ext>
            </a:extLst>
          </p:cNvPr>
          <p:cNvSpPr txBox="1"/>
          <p:nvPr userDrawn="1"/>
        </p:nvSpPr>
        <p:spPr>
          <a:xfrm>
            <a:off x="13452050" y="-367645"/>
            <a:ext cx="184731" cy="300210"/>
          </a:xfrm>
          <a:prstGeom prst="rect">
            <a:avLst/>
          </a:prstGeom>
          <a:noFill/>
        </p:spPr>
        <p:txBody>
          <a:bodyPr wrap="none" rtlCol="0">
            <a:spAutoFit/>
          </a:bodyPr>
          <a:lstStyle/>
          <a:p>
            <a:endParaRPr lang="en-US" sz="1351" dirty="0"/>
          </a:p>
        </p:txBody>
      </p:sp>
      <p:sp>
        <p:nvSpPr>
          <p:cNvPr id="2" name="white Panel">
            <a:extLst>
              <a:ext uri="{FF2B5EF4-FFF2-40B4-BE49-F238E27FC236}">
                <a16:creationId xmlns:a16="http://schemas.microsoft.com/office/drawing/2014/main" id="{CFBAE5CC-B1C1-060F-146E-F2019424526C}"/>
              </a:ext>
            </a:extLst>
          </p:cNvPr>
          <p:cNvSpPr/>
          <p:nvPr userDrawn="1"/>
        </p:nvSpPr>
        <p:spPr>
          <a:xfrm>
            <a:off x="0" y="5995538"/>
            <a:ext cx="12192000" cy="8669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a:p>
        </p:txBody>
      </p:sp>
      <p:sp>
        <p:nvSpPr>
          <p:cNvPr id="9" name="Base Rule">
            <a:extLst>
              <a:ext uri="{FF2B5EF4-FFF2-40B4-BE49-F238E27FC236}">
                <a16:creationId xmlns:a16="http://schemas.microsoft.com/office/drawing/2014/main" id="{AF085EBC-6424-C9F4-0452-08C2A1B5CA39}"/>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pic>
        <p:nvPicPr>
          <p:cNvPr id="3" name="AZ Logo">
            <a:extLst>
              <a:ext uri="{FF2B5EF4-FFF2-40B4-BE49-F238E27FC236}">
                <a16:creationId xmlns:a16="http://schemas.microsoft.com/office/drawing/2014/main" id="{1AA7988E-993C-2B39-630B-4EC218F8E67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313781" y="6218640"/>
            <a:ext cx="1147048" cy="275941"/>
          </a:xfrm>
          <a:prstGeom prst="rect">
            <a:avLst/>
          </a:prstGeom>
        </p:spPr>
      </p:pic>
      <p:pic>
        <p:nvPicPr>
          <p:cNvPr id="4" name="MSD Logo">
            <a:extLst>
              <a:ext uri="{FF2B5EF4-FFF2-40B4-BE49-F238E27FC236}">
                <a16:creationId xmlns:a16="http://schemas.microsoft.com/office/drawing/2014/main" id="{3D14A2B8-44ED-32E8-D2B1-8FA6B5EDC61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21791" y="6307032"/>
            <a:ext cx="668100" cy="244800"/>
          </a:xfrm>
          <a:prstGeom prst="rect">
            <a:avLst/>
          </a:prstGeom>
        </p:spPr>
      </p:pic>
      <p:pic>
        <p:nvPicPr>
          <p:cNvPr id="5" name="Lynparza Logo">
            <a:extLst>
              <a:ext uri="{FF2B5EF4-FFF2-40B4-BE49-F238E27FC236}">
                <a16:creationId xmlns:a16="http://schemas.microsoft.com/office/drawing/2014/main" id="{81C4EC66-14B8-4776-D76D-60ECCEDD5C4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503678" y="5967483"/>
            <a:ext cx="1563703" cy="883611"/>
          </a:xfrm>
          <a:prstGeom prst="rect">
            <a:avLst/>
          </a:prstGeom>
        </p:spPr>
      </p:pic>
      <p:sp>
        <p:nvSpPr>
          <p:cNvPr id="7" name="Copy">
            <a:extLst>
              <a:ext uri="{FF2B5EF4-FFF2-40B4-BE49-F238E27FC236}">
                <a16:creationId xmlns:a16="http://schemas.microsoft.com/office/drawing/2014/main" id="{2492EF1B-637C-E594-8F42-B794199A3480}"/>
              </a:ext>
            </a:extLst>
          </p:cNvPr>
          <p:cNvSpPr/>
          <p:nvPr userDrawn="1"/>
        </p:nvSpPr>
        <p:spPr>
          <a:xfrm>
            <a:off x="3769070" y="6340693"/>
            <a:ext cx="6277455" cy="153888"/>
          </a:xfrm>
          <a:prstGeom prst="rect">
            <a:avLst/>
          </a:prstGeom>
        </p:spPr>
        <p:txBody>
          <a:bodyPr wrap="square" lIns="0"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842807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 column text no header">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B86D2780-B0E9-3AC2-BF51-7FBF7147DDA2}"/>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4" name="Copy">
            <a:extLst>
              <a:ext uri="{FF2B5EF4-FFF2-40B4-BE49-F238E27FC236}">
                <a16:creationId xmlns:a16="http://schemas.microsoft.com/office/drawing/2014/main" id="{757D25D6-6CD0-B366-B6BC-7106826F32F7}"/>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5" name="AZ Logo">
            <a:extLst>
              <a:ext uri="{FF2B5EF4-FFF2-40B4-BE49-F238E27FC236}">
                <a16:creationId xmlns:a16="http://schemas.microsoft.com/office/drawing/2014/main" id="{D2F4C24C-E03A-45B2-654D-2B99BEEE531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36591" y="6348816"/>
            <a:ext cx="1147048" cy="275941"/>
          </a:xfrm>
          <a:prstGeom prst="rect">
            <a:avLst/>
          </a:prstGeom>
        </p:spPr>
      </p:pic>
      <p:pic>
        <p:nvPicPr>
          <p:cNvPr id="6" name="MSD Logo">
            <a:extLst>
              <a:ext uri="{FF2B5EF4-FFF2-40B4-BE49-F238E27FC236}">
                <a16:creationId xmlns:a16="http://schemas.microsoft.com/office/drawing/2014/main" id="{1A268158-CADB-3B22-9589-16D35C6C93D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44601" y="6437207"/>
            <a:ext cx="668100" cy="244800"/>
          </a:xfrm>
          <a:prstGeom prst="rect">
            <a:avLst/>
          </a:prstGeom>
        </p:spPr>
      </p:pic>
      <p:pic>
        <p:nvPicPr>
          <p:cNvPr id="7" name="Lynparza Logo">
            <a:extLst>
              <a:ext uri="{FF2B5EF4-FFF2-40B4-BE49-F238E27FC236}">
                <a16:creationId xmlns:a16="http://schemas.microsoft.com/office/drawing/2014/main" id="{9FA3CB01-A9B5-6694-1D93-1D6169237C7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sp>
        <p:nvSpPr>
          <p:cNvPr id="3" name="Text Placeholder 2">
            <a:extLst>
              <a:ext uri="{FF2B5EF4-FFF2-40B4-BE49-F238E27FC236}">
                <a16:creationId xmlns:a16="http://schemas.microsoft.com/office/drawing/2014/main" id="{0F3FF1AB-6A93-9C49-BB61-835251591FC6}"/>
              </a:ext>
            </a:extLst>
          </p:cNvPr>
          <p:cNvSpPr>
            <a:spLocks noGrp="1"/>
          </p:cNvSpPr>
          <p:nvPr>
            <p:ph type="body" sz="quarter" idx="10"/>
          </p:nvPr>
        </p:nvSpPr>
        <p:spPr>
          <a:xfrm>
            <a:off x="838800" y="1497601"/>
            <a:ext cx="9950451" cy="4373563"/>
          </a:xfrm>
          <a:prstGeom prst="rect">
            <a:avLst/>
          </a:prstGeom>
        </p:spPr>
        <p:txBody>
          <a:bodyPr lIns="0" tIns="0" rIns="0" bIns="0">
            <a:normAutofit/>
          </a:bodyPr>
          <a:lstStyle>
            <a:lvl1pPr>
              <a:buClr>
                <a:schemeClr val="accent1"/>
              </a:buClr>
              <a:defRPr sz="1400">
                <a:solidFill>
                  <a:srgbClr val="960064"/>
                </a:solidFill>
              </a:defRPr>
            </a:lvl1pPr>
            <a:lvl2pPr>
              <a:buClr>
                <a:schemeClr val="accent1"/>
              </a:buClr>
              <a:defRPr sz="1200">
                <a:solidFill>
                  <a:srgbClr val="960064"/>
                </a:solidFill>
              </a:defRPr>
            </a:lvl2pPr>
            <a:lvl3pPr>
              <a:buClr>
                <a:schemeClr val="accent1"/>
              </a:buClr>
              <a:defRPr sz="1100">
                <a:solidFill>
                  <a:srgbClr val="960064"/>
                </a:solidFill>
              </a:defRPr>
            </a:lvl3pPr>
            <a:lvl4pPr>
              <a:buClr>
                <a:schemeClr val="accent1"/>
              </a:buClr>
              <a:defRPr sz="1051">
                <a:solidFill>
                  <a:srgbClr val="960064"/>
                </a:solidFill>
              </a:defRPr>
            </a:lvl4pPr>
            <a:lvl5pPr>
              <a:buClr>
                <a:schemeClr val="accent1"/>
              </a:buClr>
              <a:defRPr sz="1000">
                <a:solidFill>
                  <a:srgbClr val="960064"/>
                </a:solidFill>
              </a:defRPr>
            </a:lvl5pPr>
          </a:lstStyle>
          <a:p>
            <a:pPr marL="228594" marR="0" lvl="0" indent="-228594"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a:extLst>
              <a:ext uri="{FF2B5EF4-FFF2-40B4-BE49-F238E27FC236}">
                <a16:creationId xmlns:a16="http://schemas.microsoft.com/office/drawing/2014/main" id="{54EC8A23-767E-B343-B490-BEB9F332F486}"/>
              </a:ext>
            </a:extLst>
          </p:cNvPr>
          <p:cNvSpPr>
            <a:spLocks noGrp="1"/>
          </p:cNvSpPr>
          <p:nvPr>
            <p:ph type="body" sz="quarter" idx="11" hasCustomPrompt="1"/>
          </p:nvPr>
        </p:nvSpPr>
        <p:spPr>
          <a:xfrm>
            <a:off x="838800" y="169200"/>
            <a:ext cx="10036800" cy="784800"/>
          </a:xfrm>
          <a:prstGeom prst="rect">
            <a:avLst/>
          </a:prstGeom>
        </p:spPr>
        <p:txBody>
          <a:bodyPr lIns="0" tIns="90000" rIns="46800" bIns="0">
            <a:normAutofit/>
          </a:bodyPr>
          <a:lstStyle>
            <a:lvl1pPr marL="0" indent="0">
              <a:lnSpc>
                <a:spcPct val="100000"/>
              </a:lnSpc>
              <a:spcAft>
                <a:spcPts val="200"/>
              </a:spcAft>
              <a:buFontTx/>
              <a:buNone/>
              <a:defRPr sz="2200" b="1" i="1">
                <a:solidFill>
                  <a:srgbClr val="960064"/>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2853209083"/>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guide id="3" orient="horz" pos="388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 column text no header">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64C39CFB-1AF7-2DE0-9DD1-7D5C617326AE}"/>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Copy">
            <a:extLst>
              <a:ext uri="{FF2B5EF4-FFF2-40B4-BE49-F238E27FC236}">
                <a16:creationId xmlns:a16="http://schemas.microsoft.com/office/drawing/2014/main" id="{8AE1D786-B9B7-2E04-BEA4-29C5F5B896AB}"/>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4" name="AZ Logo">
            <a:extLst>
              <a:ext uri="{FF2B5EF4-FFF2-40B4-BE49-F238E27FC236}">
                <a16:creationId xmlns:a16="http://schemas.microsoft.com/office/drawing/2014/main" id="{050F3B59-A950-34F6-7C07-DDF1E9C3E74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36591" y="6348816"/>
            <a:ext cx="1147048" cy="275941"/>
          </a:xfrm>
          <a:prstGeom prst="rect">
            <a:avLst/>
          </a:prstGeom>
        </p:spPr>
      </p:pic>
      <p:pic>
        <p:nvPicPr>
          <p:cNvPr id="5" name="MSD Logo">
            <a:extLst>
              <a:ext uri="{FF2B5EF4-FFF2-40B4-BE49-F238E27FC236}">
                <a16:creationId xmlns:a16="http://schemas.microsoft.com/office/drawing/2014/main" id="{4D0F2E7B-5AA3-EE5A-F6C7-CB8C8695E4D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44601" y="6437207"/>
            <a:ext cx="668100" cy="244800"/>
          </a:xfrm>
          <a:prstGeom prst="rect">
            <a:avLst/>
          </a:prstGeom>
        </p:spPr>
      </p:pic>
      <p:pic>
        <p:nvPicPr>
          <p:cNvPr id="6" name="Lynparza Logo">
            <a:extLst>
              <a:ext uri="{FF2B5EF4-FFF2-40B4-BE49-F238E27FC236}">
                <a16:creationId xmlns:a16="http://schemas.microsoft.com/office/drawing/2014/main" id="{0A4875E1-EBD4-BF28-728A-C0797BA911C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sp>
        <p:nvSpPr>
          <p:cNvPr id="15" name="Text Placeholder 12">
            <a:extLst>
              <a:ext uri="{FF2B5EF4-FFF2-40B4-BE49-F238E27FC236}">
                <a16:creationId xmlns:a16="http://schemas.microsoft.com/office/drawing/2014/main" id="{D6BA7790-362F-5241-9FD2-113FB455E334}"/>
              </a:ext>
            </a:extLst>
          </p:cNvPr>
          <p:cNvSpPr>
            <a:spLocks noGrp="1"/>
          </p:cNvSpPr>
          <p:nvPr>
            <p:ph type="body" sz="quarter" idx="13"/>
          </p:nvPr>
        </p:nvSpPr>
        <p:spPr>
          <a:xfrm>
            <a:off x="838800" y="1497600"/>
            <a:ext cx="5220000" cy="4147200"/>
          </a:xfrm>
          <a:prstGeom prst="rect">
            <a:avLst/>
          </a:prstGeom>
        </p:spPr>
        <p:txBody>
          <a:bodyPr lIns="0" tIns="0" rIns="0" bIns="0">
            <a:normAutofit/>
          </a:bodyPr>
          <a:lstStyle>
            <a:lvl1pPr>
              <a:buClr>
                <a:schemeClr val="accent1"/>
              </a:buClr>
              <a:defRPr sz="1400"/>
            </a:lvl1pPr>
            <a:lvl2pPr>
              <a:buClr>
                <a:schemeClr val="accent1"/>
              </a:buClr>
              <a:defRPr sz="1200"/>
            </a:lvl2pPr>
            <a:lvl3pPr>
              <a:buClr>
                <a:schemeClr val="accent1"/>
              </a:buClr>
              <a:defRPr sz="1100"/>
            </a:lvl3pPr>
            <a:lvl4pPr>
              <a:buClr>
                <a:schemeClr val="accent1"/>
              </a:buClr>
              <a:defRPr sz="1051"/>
            </a:lvl4pPr>
            <a:lvl5pPr>
              <a:buClr>
                <a:schemeClr val="accent1"/>
              </a:buClr>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2">
            <a:extLst>
              <a:ext uri="{FF2B5EF4-FFF2-40B4-BE49-F238E27FC236}">
                <a16:creationId xmlns:a16="http://schemas.microsoft.com/office/drawing/2014/main" id="{39004B6C-6FE9-CA4E-8225-F63302042007}"/>
              </a:ext>
            </a:extLst>
          </p:cNvPr>
          <p:cNvSpPr>
            <a:spLocks noGrp="1"/>
          </p:cNvSpPr>
          <p:nvPr>
            <p:ph type="body" sz="quarter" idx="14"/>
          </p:nvPr>
        </p:nvSpPr>
        <p:spPr>
          <a:xfrm>
            <a:off x="6154725" y="1505628"/>
            <a:ext cx="5220000" cy="4147200"/>
          </a:xfrm>
          <a:prstGeom prst="rect">
            <a:avLst/>
          </a:prstGeom>
        </p:spPr>
        <p:txBody>
          <a:bodyPr lIns="0" tIns="0" rIns="0" bIns="0">
            <a:normAutofit/>
          </a:bodyPr>
          <a:lstStyle>
            <a:lvl1pPr>
              <a:buClr>
                <a:schemeClr val="accent1"/>
              </a:buClr>
              <a:defRPr sz="1400"/>
            </a:lvl1pPr>
            <a:lvl2pPr>
              <a:buClr>
                <a:schemeClr val="accent1"/>
              </a:buClr>
              <a:defRPr sz="1200"/>
            </a:lvl2pPr>
            <a:lvl3pPr>
              <a:buClr>
                <a:schemeClr val="accent1"/>
              </a:buClr>
              <a:defRPr sz="1100"/>
            </a:lvl3pPr>
            <a:lvl4pPr>
              <a:buClr>
                <a:schemeClr val="accent1"/>
              </a:buClr>
              <a:defRPr sz="1051"/>
            </a:lvl4pPr>
            <a:lvl5pPr>
              <a:buClr>
                <a:schemeClr val="accent1"/>
              </a:buClr>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itle">
            <a:extLst>
              <a:ext uri="{FF2B5EF4-FFF2-40B4-BE49-F238E27FC236}">
                <a16:creationId xmlns:a16="http://schemas.microsoft.com/office/drawing/2014/main" id="{4743E650-ADCC-E747-8A1B-8C8E0C7DD422}"/>
              </a:ext>
            </a:extLst>
          </p:cNvPr>
          <p:cNvSpPr>
            <a:spLocks noGrp="1"/>
          </p:cNvSpPr>
          <p:nvPr>
            <p:ph type="body" sz="quarter" idx="11" hasCustomPrompt="1"/>
          </p:nvPr>
        </p:nvSpPr>
        <p:spPr>
          <a:xfrm>
            <a:off x="838800" y="169200"/>
            <a:ext cx="10036800" cy="784800"/>
          </a:xfrm>
          <a:prstGeom prst="rect">
            <a:avLst/>
          </a:prstGeom>
        </p:spPr>
        <p:txBody>
          <a:bodyPr lIns="0" tIns="90000" rIns="46800" bIns="0">
            <a:normAutofit/>
          </a:bodyPr>
          <a:lstStyle>
            <a:lvl1pPr marL="0" indent="0">
              <a:lnSpc>
                <a:spcPct val="100000"/>
              </a:lnSpc>
              <a:spcAft>
                <a:spcPts val="200"/>
              </a:spcAft>
              <a:buFontTx/>
              <a:buNone/>
              <a:defRPr sz="2200" b="1" i="1">
                <a:solidFill>
                  <a:schemeClr val="tx2"/>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1442896458"/>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guide id="3" pos="678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 images no header">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7BAF9C50-03AD-5E91-CE7B-6137A642FAB8}"/>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Copy">
            <a:extLst>
              <a:ext uri="{FF2B5EF4-FFF2-40B4-BE49-F238E27FC236}">
                <a16:creationId xmlns:a16="http://schemas.microsoft.com/office/drawing/2014/main" id="{FB5587C6-17F7-A145-3592-8B91E3560B2D}"/>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4" name="AZ Logo">
            <a:extLst>
              <a:ext uri="{FF2B5EF4-FFF2-40B4-BE49-F238E27FC236}">
                <a16:creationId xmlns:a16="http://schemas.microsoft.com/office/drawing/2014/main" id="{9E33A040-A987-91CF-55B8-7E988C0E559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36591" y="6348816"/>
            <a:ext cx="1147048" cy="275941"/>
          </a:xfrm>
          <a:prstGeom prst="rect">
            <a:avLst/>
          </a:prstGeom>
        </p:spPr>
      </p:pic>
      <p:pic>
        <p:nvPicPr>
          <p:cNvPr id="5" name="MSD Logo">
            <a:extLst>
              <a:ext uri="{FF2B5EF4-FFF2-40B4-BE49-F238E27FC236}">
                <a16:creationId xmlns:a16="http://schemas.microsoft.com/office/drawing/2014/main" id="{F50D7AF4-4037-4587-FBF8-CA59D497C73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44601" y="6437207"/>
            <a:ext cx="668100" cy="244800"/>
          </a:xfrm>
          <a:prstGeom prst="rect">
            <a:avLst/>
          </a:prstGeom>
        </p:spPr>
      </p:pic>
      <p:pic>
        <p:nvPicPr>
          <p:cNvPr id="6" name="Lynparza Logo">
            <a:extLst>
              <a:ext uri="{FF2B5EF4-FFF2-40B4-BE49-F238E27FC236}">
                <a16:creationId xmlns:a16="http://schemas.microsoft.com/office/drawing/2014/main" id="{8E3B7344-3F9A-518A-04F7-11D072F3DDC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sp>
        <p:nvSpPr>
          <p:cNvPr id="10" name="Picture Placeholder 5">
            <a:extLst>
              <a:ext uri="{FF2B5EF4-FFF2-40B4-BE49-F238E27FC236}">
                <a16:creationId xmlns:a16="http://schemas.microsoft.com/office/drawing/2014/main" id="{0D0DE504-8289-BC45-9B9F-94DD93721414}"/>
              </a:ext>
            </a:extLst>
          </p:cNvPr>
          <p:cNvSpPr>
            <a:spLocks noGrp="1"/>
          </p:cNvSpPr>
          <p:nvPr>
            <p:ph type="pic" sz="quarter" idx="12" hasCustomPrompt="1"/>
          </p:nvPr>
        </p:nvSpPr>
        <p:spPr>
          <a:xfrm>
            <a:off x="824400" y="1497600"/>
            <a:ext cx="5220000" cy="4147200"/>
          </a:xfrm>
          <a:prstGeom prst="rect">
            <a:avLst/>
          </a:prstGeom>
        </p:spPr>
        <p:txBody>
          <a:bodyPr lIns="90000"/>
          <a:lstStyle>
            <a:lvl1pPr marL="0" indent="0">
              <a:buNone/>
              <a:defRPr sz="1400"/>
            </a:lvl1pPr>
          </a:lstStyle>
          <a:p>
            <a:r>
              <a:rPr lang="en-US" sz="1400" dirty="0"/>
              <a:t>Click to insert image</a:t>
            </a:r>
            <a:endParaRPr lang="en-US" dirty="0"/>
          </a:p>
        </p:txBody>
      </p:sp>
      <p:sp>
        <p:nvSpPr>
          <p:cNvPr id="12" name="Picture Placeholder 5">
            <a:extLst>
              <a:ext uri="{FF2B5EF4-FFF2-40B4-BE49-F238E27FC236}">
                <a16:creationId xmlns:a16="http://schemas.microsoft.com/office/drawing/2014/main" id="{7CF582DD-90DB-FE4B-B558-E1C92A81B7CF}"/>
              </a:ext>
            </a:extLst>
          </p:cNvPr>
          <p:cNvSpPr>
            <a:spLocks noGrp="1"/>
          </p:cNvSpPr>
          <p:nvPr>
            <p:ph type="pic" sz="quarter" idx="13" hasCustomPrompt="1"/>
          </p:nvPr>
        </p:nvSpPr>
        <p:spPr>
          <a:xfrm>
            <a:off x="6148800" y="1497600"/>
            <a:ext cx="5220000" cy="4147200"/>
          </a:xfrm>
          <a:prstGeom prst="rect">
            <a:avLst/>
          </a:prstGeom>
        </p:spPr>
        <p:txBody>
          <a:bodyPr lIns="90000"/>
          <a:lstStyle>
            <a:lvl1pPr marL="0" indent="0">
              <a:buNone/>
              <a:defRPr sz="1400"/>
            </a:lvl1pPr>
          </a:lstStyle>
          <a:p>
            <a:r>
              <a:rPr lang="en-US" sz="1400" dirty="0"/>
              <a:t>Click to insert image</a:t>
            </a:r>
            <a:endParaRPr lang="en-US" dirty="0"/>
          </a:p>
        </p:txBody>
      </p:sp>
      <p:sp>
        <p:nvSpPr>
          <p:cNvPr id="21" name="Title">
            <a:extLst>
              <a:ext uri="{FF2B5EF4-FFF2-40B4-BE49-F238E27FC236}">
                <a16:creationId xmlns:a16="http://schemas.microsoft.com/office/drawing/2014/main" id="{2034A332-7A75-E748-9408-A6614760D757}"/>
              </a:ext>
            </a:extLst>
          </p:cNvPr>
          <p:cNvSpPr>
            <a:spLocks noGrp="1"/>
          </p:cNvSpPr>
          <p:nvPr>
            <p:ph type="body" sz="quarter" idx="11" hasCustomPrompt="1"/>
          </p:nvPr>
        </p:nvSpPr>
        <p:spPr>
          <a:xfrm>
            <a:off x="838800" y="169200"/>
            <a:ext cx="10036800" cy="784800"/>
          </a:xfrm>
          <a:prstGeom prst="rect">
            <a:avLst/>
          </a:prstGeom>
        </p:spPr>
        <p:txBody>
          <a:bodyPr lIns="0" tIns="90000" rIns="46800" bIns="0">
            <a:normAutofit/>
          </a:bodyPr>
          <a:lstStyle>
            <a:lvl1pPr marL="0" indent="0">
              <a:lnSpc>
                <a:spcPct val="100000"/>
              </a:lnSpc>
              <a:spcAft>
                <a:spcPts val="200"/>
              </a:spcAft>
              <a:buFontTx/>
              <a:buNone/>
              <a:defRPr sz="2200" b="1" i="1">
                <a:solidFill>
                  <a:schemeClr val="tx2"/>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2036150693"/>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guide id="3" orient="horz" pos="388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ext and image no header">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55AFFA2D-1286-FA01-B5ED-F338743158CE}"/>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Copy">
            <a:extLst>
              <a:ext uri="{FF2B5EF4-FFF2-40B4-BE49-F238E27FC236}">
                <a16:creationId xmlns:a16="http://schemas.microsoft.com/office/drawing/2014/main" id="{F9F220D8-DFF8-D074-2E9F-E0C397620D44}"/>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4" name="AZ Logo">
            <a:extLst>
              <a:ext uri="{FF2B5EF4-FFF2-40B4-BE49-F238E27FC236}">
                <a16:creationId xmlns:a16="http://schemas.microsoft.com/office/drawing/2014/main" id="{4DAE775A-6F83-DCC4-0DE5-FBDBE268981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36591" y="6348816"/>
            <a:ext cx="1147048" cy="275941"/>
          </a:xfrm>
          <a:prstGeom prst="rect">
            <a:avLst/>
          </a:prstGeom>
        </p:spPr>
      </p:pic>
      <p:pic>
        <p:nvPicPr>
          <p:cNvPr id="5" name="MSD Logo">
            <a:extLst>
              <a:ext uri="{FF2B5EF4-FFF2-40B4-BE49-F238E27FC236}">
                <a16:creationId xmlns:a16="http://schemas.microsoft.com/office/drawing/2014/main" id="{90C27123-8F2C-D937-F9D8-1F1A46E36BA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44601" y="6437207"/>
            <a:ext cx="668100" cy="244800"/>
          </a:xfrm>
          <a:prstGeom prst="rect">
            <a:avLst/>
          </a:prstGeom>
        </p:spPr>
      </p:pic>
      <p:pic>
        <p:nvPicPr>
          <p:cNvPr id="6" name="Lynparza Logo">
            <a:extLst>
              <a:ext uri="{FF2B5EF4-FFF2-40B4-BE49-F238E27FC236}">
                <a16:creationId xmlns:a16="http://schemas.microsoft.com/office/drawing/2014/main" id="{B2C93B61-DCBA-5289-F3FB-D62437C9258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sp>
        <p:nvSpPr>
          <p:cNvPr id="11" name="Text Placeholder 12">
            <a:extLst>
              <a:ext uri="{FF2B5EF4-FFF2-40B4-BE49-F238E27FC236}">
                <a16:creationId xmlns:a16="http://schemas.microsoft.com/office/drawing/2014/main" id="{3E53C699-F5C8-664D-ABE4-06DA3280415A}"/>
              </a:ext>
            </a:extLst>
          </p:cNvPr>
          <p:cNvSpPr>
            <a:spLocks noGrp="1"/>
          </p:cNvSpPr>
          <p:nvPr>
            <p:ph type="body" sz="quarter" idx="13"/>
          </p:nvPr>
        </p:nvSpPr>
        <p:spPr>
          <a:xfrm>
            <a:off x="838800" y="1497600"/>
            <a:ext cx="5220000" cy="4147200"/>
          </a:xfrm>
          <a:prstGeom prst="rect">
            <a:avLst/>
          </a:prstGeom>
        </p:spPr>
        <p:txBody>
          <a:bodyPr lIns="0" tIns="0" rIns="0" bIns="0">
            <a:normAutofit/>
          </a:bodyPr>
          <a:lstStyle>
            <a:lvl1pPr>
              <a:buClr>
                <a:schemeClr val="accent1"/>
              </a:buClr>
              <a:defRPr sz="1400"/>
            </a:lvl1pPr>
            <a:lvl2pPr>
              <a:buClr>
                <a:schemeClr val="accent1"/>
              </a:buClr>
              <a:defRPr sz="1200"/>
            </a:lvl2pPr>
            <a:lvl3pPr>
              <a:buClr>
                <a:schemeClr val="accent1"/>
              </a:buClr>
              <a:defRPr sz="1100"/>
            </a:lvl3pPr>
            <a:lvl4pPr>
              <a:buClr>
                <a:schemeClr val="accent1"/>
              </a:buClr>
              <a:defRPr sz="1051"/>
            </a:lvl4pPr>
            <a:lvl5pPr>
              <a:buClr>
                <a:schemeClr val="accent1"/>
              </a:buClr>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Picture Placeholder 5">
            <a:extLst>
              <a:ext uri="{FF2B5EF4-FFF2-40B4-BE49-F238E27FC236}">
                <a16:creationId xmlns:a16="http://schemas.microsoft.com/office/drawing/2014/main" id="{F6CCAE95-B0ED-F84D-A048-CBF0006C54CF}"/>
              </a:ext>
            </a:extLst>
          </p:cNvPr>
          <p:cNvSpPr>
            <a:spLocks noGrp="1"/>
          </p:cNvSpPr>
          <p:nvPr>
            <p:ph type="pic" sz="quarter" idx="14" hasCustomPrompt="1"/>
          </p:nvPr>
        </p:nvSpPr>
        <p:spPr>
          <a:xfrm>
            <a:off x="6148800" y="1497600"/>
            <a:ext cx="5220000" cy="4147200"/>
          </a:xfrm>
          <a:prstGeom prst="rect">
            <a:avLst/>
          </a:prstGeom>
        </p:spPr>
        <p:txBody>
          <a:bodyPr lIns="90000"/>
          <a:lstStyle>
            <a:lvl1pPr marL="0" indent="0">
              <a:buNone/>
              <a:defRPr sz="1400"/>
            </a:lvl1pPr>
          </a:lstStyle>
          <a:p>
            <a:r>
              <a:rPr lang="en-US" sz="1400" dirty="0"/>
              <a:t>Click to insert image</a:t>
            </a:r>
            <a:endParaRPr lang="en-US" dirty="0"/>
          </a:p>
        </p:txBody>
      </p:sp>
      <p:sp>
        <p:nvSpPr>
          <p:cNvPr id="25" name="Title">
            <a:extLst>
              <a:ext uri="{FF2B5EF4-FFF2-40B4-BE49-F238E27FC236}">
                <a16:creationId xmlns:a16="http://schemas.microsoft.com/office/drawing/2014/main" id="{0A3B6CD8-3BC3-9D48-B035-8B5F6F0BD8B8}"/>
              </a:ext>
            </a:extLst>
          </p:cNvPr>
          <p:cNvSpPr>
            <a:spLocks noGrp="1"/>
          </p:cNvSpPr>
          <p:nvPr>
            <p:ph type="body" sz="quarter" idx="11" hasCustomPrompt="1"/>
          </p:nvPr>
        </p:nvSpPr>
        <p:spPr>
          <a:xfrm>
            <a:off x="838800" y="169200"/>
            <a:ext cx="10036800" cy="784800"/>
          </a:xfrm>
          <a:prstGeom prst="rect">
            <a:avLst/>
          </a:prstGeom>
        </p:spPr>
        <p:txBody>
          <a:bodyPr lIns="0" tIns="90000" rIns="46800" bIns="0">
            <a:normAutofit/>
          </a:bodyPr>
          <a:lstStyle>
            <a:lvl1pPr marL="0" indent="0">
              <a:lnSpc>
                <a:spcPct val="100000"/>
              </a:lnSpc>
              <a:spcAft>
                <a:spcPts val="200"/>
              </a:spcAft>
              <a:buFontTx/>
              <a:buNone/>
              <a:defRPr sz="2200" b="1" i="1">
                <a:solidFill>
                  <a:schemeClr val="tx2"/>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3863788761"/>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guide id="3" pos="6788"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hart Layout">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619D2D3A-999E-3715-993B-49AA4BAA41DE}"/>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Copy">
            <a:extLst>
              <a:ext uri="{FF2B5EF4-FFF2-40B4-BE49-F238E27FC236}">
                <a16:creationId xmlns:a16="http://schemas.microsoft.com/office/drawing/2014/main" id="{1F5E22C3-0928-32B5-6B42-05F510213F7D}"/>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4" name="AZ Logo">
            <a:extLst>
              <a:ext uri="{FF2B5EF4-FFF2-40B4-BE49-F238E27FC236}">
                <a16:creationId xmlns:a16="http://schemas.microsoft.com/office/drawing/2014/main" id="{8E98AE25-AAE1-3837-1991-9B991292700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36591" y="6348816"/>
            <a:ext cx="1147048" cy="275941"/>
          </a:xfrm>
          <a:prstGeom prst="rect">
            <a:avLst/>
          </a:prstGeom>
        </p:spPr>
      </p:pic>
      <p:pic>
        <p:nvPicPr>
          <p:cNvPr id="5" name="MSD Logo">
            <a:extLst>
              <a:ext uri="{FF2B5EF4-FFF2-40B4-BE49-F238E27FC236}">
                <a16:creationId xmlns:a16="http://schemas.microsoft.com/office/drawing/2014/main" id="{F32B09C2-C925-760C-E0F7-4A198C4E7CD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44601" y="6437207"/>
            <a:ext cx="668100" cy="244800"/>
          </a:xfrm>
          <a:prstGeom prst="rect">
            <a:avLst/>
          </a:prstGeom>
        </p:spPr>
      </p:pic>
      <p:pic>
        <p:nvPicPr>
          <p:cNvPr id="6" name="Lynparza Logo">
            <a:extLst>
              <a:ext uri="{FF2B5EF4-FFF2-40B4-BE49-F238E27FC236}">
                <a16:creationId xmlns:a16="http://schemas.microsoft.com/office/drawing/2014/main" id="{1815DC77-626E-1FC1-F556-C4941533FB5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sp>
        <p:nvSpPr>
          <p:cNvPr id="12" name="Chart Placeholder 11">
            <a:extLst>
              <a:ext uri="{FF2B5EF4-FFF2-40B4-BE49-F238E27FC236}">
                <a16:creationId xmlns:a16="http://schemas.microsoft.com/office/drawing/2014/main" id="{CC49FD1C-71D5-CB4F-94AD-9C125DF87FD9}"/>
              </a:ext>
            </a:extLst>
          </p:cNvPr>
          <p:cNvSpPr>
            <a:spLocks noGrp="1"/>
          </p:cNvSpPr>
          <p:nvPr>
            <p:ph type="chart" sz="quarter" idx="11"/>
          </p:nvPr>
        </p:nvSpPr>
        <p:spPr>
          <a:xfrm>
            <a:off x="3579872" y="2046152"/>
            <a:ext cx="5032256" cy="3602443"/>
          </a:xfrm>
          <a:prstGeom prst="rect">
            <a:avLst/>
          </a:prstGeom>
        </p:spPr>
        <p:txBody>
          <a:bodyPr lIns="90000"/>
          <a:lstStyle>
            <a:lvl1pPr marL="0" indent="0">
              <a:buNone/>
              <a:defRPr sz="1400">
                <a:solidFill>
                  <a:schemeClr val="tx2"/>
                </a:solidFill>
                <a:latin typeface="Arial SF MT" pitchFamily="2"/>
              </a:defRPr>
            </a:lvl1pPr>
          </a:lstStyle>
          <a:p>
            <a:endParaRPr lang="en-US" dirty="0"/>
          </a:p>
        </p:txBody>
      </p:sp>
      <p:sp>
        <p:nvSpPr>
          <p:cNvPr id="24" name="Text Placeholder 47">
            <a:extLst>
              <a:ext uri="{FF2B5EF4-FFF2-40B4-BE49-F238E27FC236}">
                <a16:creationId xmlns:a16="http://schemas.microsoft.com/office/drawing/2014/main" id="{FF75D643-52AA-8244-9D3F-1BEA14573DE3}"/>
              </a:ext>
            </a:extLst>
          </p:cNvPr>
          <p:cNvSpPr>
            <a:spLocks noGrp="1"/>
          </p:cNvSpPr>
          <p:nvPr>
            <p:ph type="body" sz="quarter" idx="10" hasCustomPrompt="1"/>
          </p:nvPr>
        </p:nvSpPr>
        <p:spPr>
          <a:xfrm>
            <a:off x="1065600" y="1454401"/>
            <a:ext cx="4221163" cy="286232"/>
          </a:xfrm>
          <a:prstGeom prst="rect">
            <a:avLst/>
          </a:prstGeom>
        </p:spPr>
        <p:txBody>
          <a:bodyPr wrap="square" lIns="0">
            <a:spAutoFit/>
          </a:bodyPr>
          <a:lstStyle>
            <a:lvl1pPr marL="0" indent="0">
              <a:buNone/>
              <a:defRPr sz="1400" b="1" i="1">
                <a:solidFill>
                  <a:schemeClr val="tx2"/>
                </a:solidFill>
                <a:latin typeface="Arial" panose="020B0604020202020204" pitchFamily="34" charset="0"/>
                <a:cs typeface="Arial" panose="020B0604020202020204" pitchFamily="34" charset="0"/>
              </a:defRPr>
            </a:lvl1pPr>
            <a:lvl2pPr marL="457189" indent="0">
              <a:buNone/>
              <a:defRPr sz="2300" i="1">
                <a:solidFill>
                  <a:schemeClr val="tx2"/>
                </a:solidFill>
                <a:latin typeface="Arial" panose="020B0604020202020204" pitchFamily="34" charset="0"/>
                <a:cs typeface="Arial" panose="020B0604020202020204" pitchFamily="34" charset="0"/>
              </a:defRPr>
            </a:lvl2pPr>
            <a:lvl3pPr marL="914377" indent="0">
              <a:buNone/>
              <a:defRPr sz="2300" i="1">
                <a:solidFill>
                  <a:schemeClr val="tx2"/>
                </a:solidFill>
                <a:latin typeface="Arial" panose="020B0604020202020204" pitchFamily="34" charset="0"/>
                <a:cs typeface="Arial" panose="020B0604020202020204" pitchFamily="34" charset="0"/>
              </a:defRPr>
            </a:lvl3pPr>
            <a:lvl4pPr marL="1371566" indent="0">
              <a:buNone/>
              <a:defRPr sz="2300" i="1">
                <a:solidFill>
                  <a:schemeClr val="tx2"/>
                </a:solidFill>
                <a:latin typeface="Arial" panose="020B0604020202020204" pitchFamily="34" charset="0"/>
                <a:cs typeface="Arial" panose="020B0604020202020204" pitchFamily="34" charset="0"/>
              </a:defRPr>
            </a:lvl4pPr>
            <a:lvl5pPr marL="1828754" indent="0">
              <a:buNone/>
              <a:defRPr sz="2300" i="1">
                <a:solidFill>
                  <a:schemeClr val="tx2"/>
                </a:solidFill>
                <a:latin typeface="Arial" panose="020B0604020202020204" pitchFamily="34" charset="0"/>
                <a:cs typeface="Arial" panose="020B0604020202020204" pitchFamily="34" charset="0"/>
              </a:defRPr>
            </a:lvl5pPr>
          </a:lstStyle>
          <a:p>
            <a:pPr lvl="0"/>
            <a:r>
              <a:rPr lang="en-US" dirty="0"/>
              <a:t>Graph title</a:t>
            </a:r>
          </a:p>
        </p:txBody>
      </p:sp>
      <p:sp>
        <p:nvSpPr>
          <p:cNvPr id="23" name="Title">
            <a:extLst>
              <a:ext uri="{FF2B5EF4-FFF2-40B4-BE49-F238E27FC236}">
                <a16:creationId xmlns:a16="http://schemas.microsoft.com/office/drawing/2014/main" id="{F32822AD-2959-954A-BBAC-6611078F6EB1}"/>
              </a:ext>
            </a:extLst>
          </p:cNvPr>
          <p:cNvSpPr>
            <a:spLocks noGrp="1"/>
          </p:cNvSpPr>
          <p:nvPr>
            <p:ph type="body" sz="quarter" idx="12" hasCustomPrompt="1"/>
          </p:nvPr>
        </p:nvSpPr>
        <p:spPr>
          <a:xfrm>
            <a:off x="838800" y="169200"/>
            <a:ext cx="10036800" cy="784800"/>
          </a:xfrm>
          <a:prstGeom prst="rect">
            <a:avLst/>
          </a:prstGeom>
        </p:spPr>
        <p:txBody>
          <a:bodyPr lIns="0" tIns="90000" rIns="46800" bIns="0">
            <a:normAutofit/>
          </a:bodyPr>
          <a:lstStyle>
            <a:lvl1pPr marL="0" indent="0">
              <a:lnSpc>
                <a:spcPct val="100000"/>
              </a:lnSpc>
              <a:spcAft>
                <a:spcPts val="200"/>
              </a:spcAft>
              <a:buFontTx/>
              <a:buNone/>
              <a:defRPr sz="2200" b="1" i="1">
                <a:solidFill>
                  <a:schemeClr val="tx2"/>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2814652837"/>
      </p:ext>
    </p:extLst>
  </p:cSld>
  <p:clrMapOvr>
    <a:masterClrMapping/>
  </p:clrMapOvr>
  <p:extLst>
    <p:ext uri="{DCECCB84-F9BA-43D5-87BE-67443E8EF086}">
      <p15:sldGuideLst xmlns:p15="http://schemas.microsoft.com/office/powerpoint/2012/main">
        <p15:guide id="1" pos="529" userDrawn="1">
          <p15:clr>
            <a:srgbClr val="FBAE40"/>
          </p15:clr>
        </p15:guide>
        <p15:guide id="2" pos="3188"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able Master">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C3A0B95C-F24A-7350-04CF-5008C54FD0B7}"/>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 name="Copy">
            <a:extLst>
              <a:ext uri="{FF2B5EF4-FFF2-40B4-BE49-F238E27FC236}">
                <a16:creationId xmlns:a16="http://schemas.microsoft.com/office/drawing/2014/main" id="{0C800EE1-2020-A491-7E5D-D9100083BD6A}"/>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4" name="AZ Logo">
            <a:extLst>
              <a:ext uri="{FF2B5EF4-FFF2-40B4-BE49-F238E27FC236}">
                <a16:creationId xmlns:a16="http://schemas.microsoft.com/office/drawing/2014/main" id="{A3FBCD9A-FACF-D301-4558-983E20CC8FC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36591" y="6348816"/>
            <a:ext cx="1147048" cy="275941"/>
          </a:xfrm>
          <a:prstGeom prst="rect">
            <a:avLst/>
          </a:prstGeom>
        </p:spPr>
      </p:pic>
      <p:pic>
        <p:nvPicPr>
          <p:cNvPr id="5" name="MSD Logo">
            <a:extLst>
              <a:ext uri="{FF2B5EF4-FFF2-40B4-BE49-F238E27FC236}">
                <a16:creationId xmlns:a16="http://schemas.microsoft.com/office/drawing/2014/main" id="{61BAF1BB-BC12-BCE5-A471-E31577D87D3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44601" y="6437207"/>
            <a:ext cx="668100" cy="244800"/>
          </a:xfrm>
          <a:prstGeom prst="rect">
            <a:avLst/>
          </a:prstGeom>
        </p:spPr>
      </p:pic>
      <p:pic>
        <p:nvPicPr>
          <p:cNvPr id="6" name="Lynparza Logo">
            <a:extLst>
              <a:ext uri="{FF2B5EF4-FFF2-40B4-BE49-F238E27FC236}">
                <a16:creationId xmlns:a16="http://schemas.microsoft.com/office/drawing/2014/main" id="{0C677B9B-5F7F-D656-B2B2-1BDFBC04CD2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sp>
        <p:nvSpPr>
          <p:cNvPr id="8" name="Table Placeholder 7">
            <a:extLst>
              <a:ext uri="{FF2B5EF4-FFF2-40B4-BE49-F238E27FC236}">
                <a16:creationId xmlns:a16="http://schemas.microsoft.com/office/drawing/2014/main" id="{3059D7BA-A7E4-0F48-BA98-BF207107DD4C}"/>
              </a:ext>
            </a:extLst>
          </p:cNvPr>
          <p:cNvSpPr>
            <a:spLocks noGrp="1"/>
          </p:cNvSpPr>
          <p:nvPr>
            <p:ph type="tbl" sz="quarter" idx="11"/>
          </p:nvPr>
        </p:nvSpPr>
        <p:spPr>
          <a:xfrm>
            <a:off x="1864823" y="2044800"/>
            <a:ext cx="8462357" cy="3603600"/>
          </a:xfrm>
          <a:prstGeom prst="rect">
            <a:avLst/>
          </a:prstGeom>
        </p:spPr>
        <p:txBody>
          <a:bodyPr/>
          <a:lstStyle>
            <a:lvl1pPr marL="0" indent="0">
              <a:buFontTx/>
              <a:buNone/>
              <a:defRPr sz="1400">
                <a:solidFill>
                  <a:schemeClr val="tx2"/>
                </a:solidFill>
                <a:latin typeface="Arial SF MT" pitchFamily="2"/>
              </a:defRPr>
            </a:lvl1pPr>
          </a:lstStyle>
          <a:p>
            <a:endParaRPr lang="en-US" dirty="0"/>
          </a:p>
        </p:txBody>
      </p:sp>
      <p:sp>
        <p:nvSpPr>
          <p:cNvPr id="11" name="Text Placeholder 47">
            <a:extLst>
              <a:ext uri="{FF2B5EF4-FFF2-40B4-BE49-F238E27FC236}">
                <a16:creationId xmlns:a16="http://schemas.microsoft.com/office/drawing/2014/main" id="{489A75B6-0ED1-B044-AEF2-263685B64723}"/>
              </a:ext>
            </a:extLst>
          </p:cNvPr>
          <p:cNvSpPr>
            <a:spLocks noGrp="1"/>
          </p:cNvSpPr>
          <p:nvPr>
            <p:ph type="body" sz="quarter" idx="10" hasCustomPrompt="1"/>
          </p:nvPr>
        </p:nvSpPr>
        <p:spPr>
          <a:xfrm>
            <a:off x="1065600" y="1454401"/>
            <a:ext cx="4221163" cy="286232"/>
          </a:xfrm>
          <a:prstGeom prst="rect">
            <a:avLst/>
          </a:prstGeom>
        </p:spPr>
        <p:txBody>
          <a:bodyPr wrap="square" lIns="0">
            <a:spAutoFit/>
          </a:bodyPr>
          <a:lstStyle>
            <a:lvl1pPr marL="0" indent="0">
              <a:buNone/>
              <a:defRPr sz="1400" b="1" i="1">
                <a:solidFill>
                  <a:schemeClr val="tx2"/>
                </a:solidFill>
                <a:latin typeface="Arial" panose="020B0604020202020204" pitchFamily="34" charset="0"/>
                <a:cs typeface="Arial" panose="020B0604020202020204" pitchFamily="34" charset="0"/>
              </a:defRPr>
            </a:lvl1pPr>
            <a:lvl2pPr marL="457189" indent="0">
              <a:buNone/>
              <a:defRPr sz="2300" i="1">
                <a:solidFill>
                  <a:schemeClr val="tx2"/>
                </a:solidFill>
                <a:latin typeface="Arial" panose="020B0604020202020204" pitchFamily="34" charset="0"/>
                <a:cs typeface="Arial" panose="020B0604020202020204" pitchFamily="34" charset="0"/>
              </a:defRPr>
            </a:lvl2pPr>
            <a:lvl3pPr marL="914377" indent="0">
              <a:buNone/>
              <a:defRPr sz="2300" i="1">
                <a:solidFill>
                  <a:schemeClr val="tx2"/>
                </a:solidFill>
                <a:latin typeface="Arial" panose="020B0604020202020204" pitchFamily="34" charset="0"/>
                <a:cs typeface="Arial" panose="020B0604020202020204" pitchFamily="34" charset="0"/>
              </a:defRPr>
            </a:lvl3pPr>
            <a:lvl4pPr marL="1371566" indent="0">
              <a:buNone/>
              <a:defRPr sz="2300" i="1">
                <a:solidFill>
                  <a:schemeClr val="tx2"/>
                </a:solidFill>
                <a:latin typeface="Arial" panose="020B0604020202020204" pitchFamily="34" charset="0"/>
                <a:cs typeface="Arial" panose="020B0604020202020204" pitchFamily="34" charset="0"/>
              </a:defRPr>
            </a:lvl4pPr>
            <a:lvl5pPr marL="1828754" indent="0">
              <a:buNone/>
              <a:defRPr sz="2300" i="1">
                <a:solidFill>
                  <a:schemeClr val="tx2"/>
                </a:solidFill>
                <a:latin typeface="Arial" panose="020B0604020202020204" pitchFamily="34" charset="0"/>
                <a:cs typeface="Arial" panose="020B0604020202020204" pitchFamily="34" charset="0"/>
              </a:defRPr>
            </a:lvl5pPr>
          </a:lstStyle>
          <a:p>
            <a:pPr lvl="0"/>
            <a:r>
              <a:rPr lang="en-US" dirty="0"/>
              <a:t>Table title</a:t>
            </a:r>
          </a:p>
        </p:txBody>
      </p:sp>
      <p:sp>
        <p:nvSpPr>
          <p:cNvPr id="21" name="Title">
            <a:extLst>
              <a:ext uri="{FF2B5EF4-FFF2-40B4-BE49-F238E27FC236}">
                <a16:creationId xmlns:a16="http://schemas.microsoft.com/office/drawing/2014/main" id="{2493FFC6-F915-704A-B743-7470559B2A7C}"/>
              </a:ext>
            </a:extLst>
          </p:cNvPr>
          <p:cNvSpPr>
            <a:spLocks noGrp="1"/>
          </p:cNvSpPr>
          <p:nvPr>
            <p:ph type="body" sz="quarter" idx="12" hasCustomPrompt="1"/>
          </p:nvPr>
        </p:nvSpPr>
        <p:spPr>
          <a:xfrm>
            <a:off x="838800" y="169200"/>
            <a:ext cx="10036800" cy="784800"/>
          </a:xfrm>
          <a:prstGeom prst="rect">
            <a:avLst/>
          </a:prstGeom>
        </p:spPr>
        <p:txBody>
          <a:bodyPr lIns="0" tIns="90000" rIns="46800" bIns="0">
            <a:normAutofit/>
          </a:bodyPr>
          <a:lstStyle>
            <a:lvl1pPr marL="0" indent="0">
              <a:lnSpc>
                <a:spcPct val="100000"/>
              </a:lnSpc>
              <a:spcAft>
                <a:spcPts val="200"/>
              </a:spcAft>
              <a:buFontTx/>
              <a:buNone/>
              <a:defRPr sz="2200" b="1" i="1">
                <a:solidFill>
                  <a:schemeClr val="tx2"/>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1293253694"/>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Smart_art Master">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74981212-2F3D-38FB-F935-4DD719BC7CE0}"/>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4" name="Copy">
            <a:extLst>
              <a:ext uri="{FF2B5EF4-FFF2-40B4-BE49-F238E27FC236}">
                <a16:creationId xmlns:a16="http://schemas.microsoft.com/office/drawing/2014/main" id="{83ABA4DA-EE04-9457-67D8-244C6A660941}"/>
              </a:ext>
            </a:extLst>
          </p:cNvPr>
          <p:cNvSpPr/>
          <p:nvPr userDrawn="1"/>
        </p:nvSpPr>
        <p:spPr>
          <a:xfrm>
            <a:off x="3400320" y="6485580"/>
            <a:ext cx="6698427" cy="153888"/>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5" name="AZ Logo">
            <a:extLst>
              <a:ext uri="{FF2B5EF4-FFF2-40B4-BE49-F238E27FC236}">
                <a16:creationId xmlns:a16="http://schemas.microsoft.com/office/drawing/2014/main" id="{780ED318-0BF0-360E-5615-B7A9720D1CF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936591" y="6348816"/>
            <a:ext cx="1147048" cy="275941"/>
          </a:xfrm>
          <a:prstGeom prst="rect">
            <a:avLst/>
          </a:prstGeom>
        </p:spPr>
      </p:pic>
      <p:pic>
        <p:nvPicPr>
          <p:cNvPr id="6" name="MSD Logo">
            <a:extLst>
              <a:ext uri="{FF2B5EF4-FFF2-40B4-BE49-F238E27FC236}">
                <a16:creationId xmlns:a16="http://schemas.microsoft.com/office/drawing/2014/main" id="{5EF47B74-568B-7D0E-9DD7-78FB44805B5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44601" y="6437207"/>
            <a:ext cx="668100" cy="244800"/>
          </a:xfrm>
          <a:prstGeom prst="rect">
            <a:avLst/>
          </a:prstGeom>
        </p:spPr>
      </p:pic>
      <p:pic>
        <p:nvPicPr>
          <p:cNvPr id="7" name="Lynparza Logo">
            <a:extLst>
              <a:ext uri="{FF2B5EF4-FFF2-40B4-BE49-F238E27FC236}">
                <a16:creationId xmlns:a16="http://schemas.microsoft.com/office/drawing/2014/main" id="{32C8C260-5C3B-AE28-FA11-0D52700C51A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sp>
        <p:nvSpPr>
          <p:cNvPr id="3" name="SmartArt Placeholder 2">
            <a:extLst>
              <a:ext uri="{FF2B5EF4-FFF2-40B4-BE49-F238E27FC236}">
                <a16:creationId xmlns:a16="http://schemas.microsoft.com/office/drawing/2014/main" id="{7201EA85-909D-8345-A063-0E22D1042EA5}"/>
              </a:ext>
            </a:extLst>
          </p:cNvPr>
          <p:cNvSpPr>
            <a:spLocks noGrp="1"/>
          </p:cNvSpPr>
          <p:nvPr>
            <p:ph type="dgm" sz="quarter" idx="11"/>
          </p:nvPr>
        </p:nvSpPr>
        <p:spPr>
          <a:xfrm>
            <a:off x="3578400" y="2044800"/>
            <a:ext cx="5032800" cy="3603600"/>
          </a:xfrm>
          <a:prstGeom prst="rect">
            <a:avLst/>
          </a:prstGeom>
        </p:spPr>
        <p:txBody>
          <a:bodyPr lIns="90000"/>
          <a:lstStyle>
            <a:lvl1pPr marL="0" indent="0">
              <a:buNone/>
              <a:defRPr sz="1400">
                <a:latin typeface="Arial SF MT" pitchFamily="2"/>
              </a:defRPr>
            </a:lvl1pPr>
          </a:lstStyle>
          <a:p>
            <a:endParaRPr lang="en-US" dirty="0"/>
          </a:p>
        </p:txBody>
      </p:sp>
      <p:sp>
        <p:nvSpPr>
          <p:cNvPr id="11" name="Text Placeholder 47">
            <a:extLst>
              <a:ext uri="{FF2B5EF4-FFF2-40B4-BE49-F238E27FC236}">
                <a16:creationId xmlns:a16="http://schemas.microsoft.com/office/drawing/2014/main" id="{7B5A6205-4232-9147-A1C4-D16F9B9D8427}"/>
              </a:ext>
            </a:extLst>
          </p:cNvPr>
          <p:cNvSpPr>
            <a:spLocks noGrp="1"/>
          </p:cNvSpPr>
          <p:nvPr>
            <p:ph type="body" sz="quarter" idx="10" hasCustomPrompt="1"/>
          </p:nvPr>
        </p:nvSpPr>
        <p:spPr>
          <a:xfrm>
            <a:off x="1065600" y="1454401"/>
            <a:ext cx="4221163" cy="286232"/>
          </a:xfrm>
          <a:prstGeom prst="rect">
            <a:avLst/>
          </a:prstGeom>
        </p:spPr>
        <p:txBody>
          <a:bodyPr wrap="square" lIns="0">
            <a:spAutoFit/>
          </a:bodyPr>
          <a:lstStyle>
            <a:lvl1pPr marL="0" indent="0">
              <a:buNone/>
              <a:defRPr sz="1400" b="1" i="1">
                <a:solidFill>
                  <a:schemeClr val="tx2"/>
                </a:solidFill>
                <a:latin typeface="Arial" panose="020B0604020202020204" pitchFamily="34" charset="0"/>
                <a:cs typeface="Arial" panose="020B0604020202020204" pitchFamily="34" charset="0"/>
              </a:defRPr>
            </a:lvl1pPr>
            <a:lvl2pPr marL="457189" indent="0">
              <a:buNone/>
              <a:defRPr sz="2300" i="1">
                <a:solidFill>
                  <a:schemeClr val="tx2"/>
                </a:solidFill>
                <a:latin typeface="Arial" panose="020B0604020202020204" pitchFamily="34" charset="0"/>
                <a:cs typeface="Arial" panose="020B0604020202020204" pitchFamily="34" charset="0"/>
              </a:defRPr>
            </a:lvl2pPr>
            <a:lvl3pPr marL="914377" indent="0">
              <a:buNone/>
              <a:defRPr sz="2300" i="1">
                <a:solidFill>
                  <a:schemeClr val="tx2"/>
                </a:solidFill>
                <a:latin typeface="Arial" panose="020B0604020202020204" pitchFamily="34" charset="0"/>
                <a:cs typeface="Arial" panose="020B0604020202020204" pitchFamily="34" charset="0"/>
              </a:defRPr>
            </a:lvl3pPr>
            <a:lvl4pPr marL="1371566" indent="0">
              <a:buNone/>
              <a:defRPr sz="2300" i="1">
                <a:solidFill>
                  <a:schemeClr val="tx2"/>
                </a:solidFill>
                <a:latin typeface="Arial" panose="020B0604020202020204" pitchFamily="34" charset="0"/>
                <a:cs typeface="Arial" panose="020B0604020202020204" pitchFamily="34" charset="0"/>
              </a:defRPr>
            </a:lvl4pPr>
            <a:lvl5pPr marL="1828754" indent="0">
              <a:buNone/>
              <a:defRPr sz="2300" i="1">
                <a:solidFill>
                  <a:schemeClr val="tx2"/>
                </a:solidFill>
                <a:latin typeface="Arial" panose="020B0604020202020204" pitchFamily="34" charset="0"/>
                <a:cs typeface="Arial" panose="020B0604020202020204" pitchFamily="34" charset="0"/>
              </a:defRPr>
            </a:lvl5pPr>
          </a:lstStyle>
          <a:p>
            <a:pPr lvl="0"/>
            <a:r>
              <a:rPr lang="en-US" dirty="0"/>
              <a:t>Smart Art title</a:t>
            </a:r>
          </a:p>
        </p:txBody>
      </p:sp>
      <p:sp>
        <p:nvSpPr>
          <p:cNvPr id="21" name="Title">
            <a:extLst>
              <a:ext uri="{FF2B5EF4-FFF2-40B4-BE49-F238E27FC236}">
                <a16:creationId xmlns:a16="http://schemas.microsoft.com/office/drawing/2014/main" id="{5E04D05B-EF32-1745-AE52-B30814C7DE99}"/>
              </a:ext>
            </a:extLst>
          </p:cNvPr>
          <p:cNvSpPr>
            <a:spLocks noGrp="1"/>
          </p:cNvSpPr>
          <p:nvPr>
            <p:ph type="body" sz="quarter" idx="12" hasCustomPrompt="1"/>
          </p:nvPr>
        </p:nvSpPr>
        <p:spPr>
          <a:xfrm>
            <a:off x="838800" y="169200"/>
            <a:ext cx="10036800" cy="784800"/>
          </a:xfrm>
          <a:prstGeom prst="rect">
            <a:avLst/>
          </a:prstGeom>
        </p:spPr>
        <p:txBody>
          <a:bodyPr lIns="0" tIns="90000" rIns="46800" bIns="0">
            <a:normAutofit/>
          </a:bodyPr>
          <a:lstStyle>
            <a:lvl1pPr marL="0" indent="0">
              <a:lnSpc>
                <a:spcPct val="100000"/>
              </a:lnSpc>
              <a:spcAft>
                <a:spcPts val="200"/>
              </a:spcAft>
              <a:buFontTx/>
              <a:buNone/>
              <a:defRPr sz="2200" b="1" i="1">
                <a:solidFill>
                  <a:schemeClr val="tx2"/>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LICK TO EDIT MASTER TITLE CONTENT</a:t>
            </a:r>
          </a:p>
        </p:txBody>
      </p:sp>
    </p:spTree>
    <p:extLst>
      <p:ext uri="{BB962C8B-B14F-4D97-AF65-F5344CB8AC3E}">
        <p14:creationId xmlns:p14="http://schemas.microsoft.com/office/powerpoint/2010/main" val="2248393632"/>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p:nvPr>
        </p:nvSpPr>
        <p:spPr/>
        <p:txBody>
          <a:bodyPr rtlCol="0"/>
          <a:lstStyle>
            <a:lvl1pPr>
              <a:defRPr/>
            </a:lvl1pPr>
          </a:lstStyle>
          <a:p>
            <a:pPr rtl="0"/>
            <a:endParaRPr lang="ru" dirty="0"/>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rtlCol="0">
            <a:spAutoFit/>
          </a:bodyPr>
          <a:lstStyle>
            <a:lvl1pPr>
              <a:defRPr/>
            </a:lvl1pPr>
            <a:lvl2pPr marL="576000" indent="-288000">
              <a:defRPr/>
            </a:lvl2pPr>
          </a:lstStyle>
          <a:p>
            <a:pPr lvl="0" rtl="0"/>
            <a:r>
              <a:rPr lang="ru"/>
              <a:t>Click to add text here. </a:t>
            </a:r>
            <a:br>
              <a:rPr lang="en-US"/>
            </a:br>
            <a:r>
              <a:rPr lang="ru"/>
              <a:t>When pasting copy from other slides, be sure to right-click and choose ‘Keep text only’. </a:t>
            </a:r>
            <a:br>
              <a:rPr lang="en-US"/>
            </a:br>
            <a:r>
              <a:rPr lang="ru"/>
              <a:t>To increase bullet level, select your text and press Tab.</a:t>
            </a:r>
            <a:br>
              <a:rPr lang="en-US"/>
            </a:br>
            <a:r>
              <a:rPr lang="ru"/>
              <a:t>To decrease bullet level, select your bullet text and press Shift + Tab. </a:t>
            </a:r>
          </a:p>
          <a:p>
            <a:pPr lvl="1" rtl="0"/>
            <a:r>
              <a:rPr lang="ru"/>
              <a:t>Second level</a:t>
            </a:r>
          </a:p>
          <a:p>
            <a:pPr lvl="2" rtl="0"/>
            <a:r>
              <a:rPr lang="ru"/>
              <a:t>Third level</a:t>
            </a:r>
          </a:p>
          <a:p>
            <a:pPr lvl="3" rtl="0"/>
            <a:r>
              <a:rPr lang="ru"/>
              <a:t>Fourth level</a:t>
            </a:r>
          </a:p>
          <a:p>
            <a:pPr lvl="4" rtl="0"/>
            <a:r>
              <a:rPr lang="ru"/>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rtlCol="0"/>
          <a:lstStyle/>
          <a:p>
            <a:pPr rtl="0"/>
            <a:endParaRPr lang="en-GB" dirty="0"/>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rtlCol="0"/>
          <a:lstStyle/>
          <a:p>
            <a:pPr rtl="0"/>
            <a:fld id="{F8E47D07-9D1E-4FE9-B31A-2F5863681021}" type="slidenum">
              <a:rPr lang="en-GB" smtClean="0"/>
              <a:pPr/>
              <a:t>‹#›</a:t>
            </a:fld>
            <a:endParaRPr lang="en-GB" dirty="0"/>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rtlCol="0" anchor="b" anchorCtr="0">
            <a:noAutofit/>
          </a:bodyPr>
          <a:lstStyle>
            <a:lvl1pPr>
              <a:spcAft>
                <a:spcPts val="300"/>
              </a:spcAft>
              <a:buNone/>
              <a:defRPr sz="800"/>
            </a:lvl1pPr>
          </a:lstStyle>
          <a:p>
            <a:pPr lvl="0" rtl="0"/>
            <a:r>
              <a:rPr lang="ru"/>
              <a:t>Footnotes</a:t>
            </a:r>
          </a:p>
        </p:txBody>
      </p:sp>
    </p:spTree>
    <p:custDataLst>
      <p:tags r:id="rId1"/>
    </p:custDataLst>
    <p:extLst>
      <p:ext uri="{BB962C8B-B14F-4D97-AF65-F5344CB8AC3E}">
        <p14:creationId xmlns:p14="http://schemas.microsoft.com/office/powerpoint/2010/main" val="1239078246"/>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2" y="6180268"/>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7938" y="1336348"/>
            <a:ext cx="11211613" cy="701273"/>
          </a:xfrm>
          <a:prstGeom prst="rect">
            <a:avLst/>
          </a:prstGeom>
          <a:noFill/>
          <a:ln>
            <a:noFill/>
          </a:ln>
        </p:spPr>
        <p:txBody>
          <a:bodyPr rtlCol="0" anchor="t">
            <a:noAutofit/>
          </a:bodyPr>
          <a:lstStyle>
            <a:lvl1pPr marL="0" indent="0">
              <a:lnSpc>
                <a:spcPct val="100000"/>
              </a:lnSpc>
              <a:buNone/>
              <a:defRPr sz="1600" b="1" i="0" baseline="0">
                <a:solidFill>
                  <a:schemeClr val="accent1"/>
                </a:solidFill>
                <a:latin typeface="Arial" pitchFamily="34" charset="0"/>
                <a:cs typeface="Arial" pitchFamily="34" charset="0"/>
              </a:defRPr>
            </a:lvl1pPr>
            <a:lvl2pPr>
              <a:buNone/>
              <a:defRPr/>
            </a:lvl2pPr>
          </a:lstStyle>
          <a:p>
            <a:pPr lvl="0" rtl="0"/>
            <a:r>
              <a:rPr lang="ru"/>
              <a:t>Click to edit Master text styles</a:t>
            </a:r>
          </a:p>
        </p:txBody>
      </p:sp>
      <p:sp>
        <p:nvSpPr>
          <p:cNvPr id="9" name="Content Placeholder 8"/>
          <p:cNvSpPr>
            <a:spLocks noGrp="1"/>
          </p:cNvSpPr>
          <p:nvPr>
            <p:ph sz="quarter" idx="13" hasCustomPrompt="1"/>
          </p:nvPr>
        </p:nvSpPr>
        <p:spPr>
          <a:xfrm>
            <a:off x="427938" y="2099967"/>
            <a:ext cx="10443633" cy="3959576"/>
          </a:xfrm>
        </p:spPr>
        <p:txBody>
          <a:bodyPr rtlCol="0">
            <a:normAutofit/>
          </a:bodyPr>
          <a:lstStyle>
            <a:lvl1pPr>
              <a:spcAft>
                <a:spcPts val="400"/>
              </a:spcAft>
              <a:defRPr sz="2133" b="0">
                <a:solidFill>
                  <a:srgbClr val="4B306A"/>
                </a:solidFill>
              </a:defRPr>
            </a:lvl1pPr>
            <a:lvl2pPr marL="241294" indent="-239178">
              <a:lnSpc>
                <a:spcPct val="100000"/>
              </a:lnSpc>
              <a:spcAft>
                <a:spcPts val="400"/>
              </a:spcAft>
              <a:defRPr sz="2133" b="0">
                <a:solidFill>
                  <a:schemeClr val="tx1"/>
                </a:solidFill>
              </a:defRPr>
            </a:lvl2pPr>
            <a:lvl3pPr marL="666734" indent="-188379">
              <a:lnSpc>
                <a:spcPct val="100000"/>
              </a:lnSpc>
              <a:spcAft>
                <a:spcPts val="400"/>
              </a:spcAft>
              <a:buSzPct val="80000"/>
              <a:buFont typeface="Arial" panose="020B0604020202020204" pitchFamily="34" charset="0"/>
              <a:buChar char="–"/>
              <a:defRPr sz="1600">
                <a:solidFill>
                  <a:schemeClr val="tx1"/>
                </a:solidFill>
              </a:defRPr>
            </a:lvl3pPr>
            <a:lvl4pPr>
              <a:lnSpc>
                <a:spcPct val="100000"/>
              </a:lnSpc>
              <a:spcAft>
                <a:spcPts val="400"/>
              </a:spcAft>
              <a:defRPr sz="1467">
                <a:solidFill>
                  <a:schemeClr val="tx1"/>
                </a:solidFill>
              </a:defRPr>
            </a:lvl4pPr>
            <a:lvl5pPr>
              <a:lnSpc>
                <a:spcPct val="100000"/>
              </a:lnSpc>
              <a:defRPr/>
            </a:lvl5pPr>
          </a:lstStyle>
          <a:p>
            <a:pPr lvl="1" rtl="0"/>
            <a:r>
              <a:rPr lang="ru"/>
              <a:t>Second level</a:t>
            </a:r>
          </a:p>
          <a:p>
            <a:pPr lvl="2" rtl="0"/>
            <a:r>
              <a:rPr lang="ru"/>
              <a:t>Third level</a:t>
            </a:r>
          </a:p>
          <a:p>
            <a:pPr lvl="3" rtl="0"/>
            <a:r>
              <a:rPr lang="ru"/>
              <a:t>Fourth level</a:t>
            </a:r>
          </a:p>
        </p:txBody>
      </p:sp>
      <p:sp>
        <p:nvSpPr>
          <p:cNvPr id="4" name="Title 3">
            <a:extLst>
              <a:ext uri="{FF2B5EF4-FFF2-40B4-BE49-F238E27FC236}">
                <a16:creationId xmlns:a16="http://schemas.microsoft.com/office/drawing/2014/main" id="{0261BC0C-46D8-1541-B900-CCC87A7D8819}"/>
              </a:ext>
            </a:extLst>
          </p:cNvPr>
          <p:cNvSpPr>
            <a:spLocks noGrp="1"/>
          </p:cNvSpPr>
          <p:nvPr>
            <p:ph type="title"/>
          </p:nvPr>
        </p:nvSpPr>
        <p:spPr/>
        <p:txBody>
          <a:bodyPr rtlCol="0"/>
          <a:lstStyle/>
          <a:p>
            <a:pPr rtl="0"/>
            <a:r>
              <a:rPr lang="ru"/>
              <a:t>Click to edit Master title style</a:t>
            </a:r>
          </a:p>
        </p:txBody>
      </p:sp>
      <p:sp>
        <p:nvSpPr>
          <p:cNvPr id="8" name="Slide Number Placeholder 7">
            <a:extLst>
              <a:ext uri="{FF2B5EF4-FFF2-40B4-BE49-F238E27FC236}">
                <a16:creationId xmlns:a16="http://schemas.microsoft.com/office/drawing/2014/main" id="{0D036CF2-107B-A648-B123-03507FEF3770}"/>
              </a:ext>
            </a:extLst>
          </p:cNvPr>
          <p:cNvSpPr>
            <a:spLocks noGrp="1"/>
          </p:cNvSpPr>
          <p:nvPr>
            <p:ph type="sldNum" sz="quarter" idx="15"/>
          </p:nvPr>
        </p:nvSpPr>
        <p:spPr/>
        <p:txBody>
          <a:bodyPr rtlCol="0"/>
          <a:lstStyle/>
          <a:p>
            <a:pPr rtl="0"/>
            <a:fld id="{4FF61421-0D1F-374C-A6EF-D3B8E531EC5C}" type="slidenum">
              <a:rPr lang="en-US" smtClean="0"/>
              <a:pPr/>
              <a:t>‹#›</a:t>
            </a:fld>
            <a:endParaRPr lang="en-US" dirty="0"/>
          </a:p>
        </p:txBody>
      </p:sp>
      <p:sp>
        <p:nvSpPr>
          <p:cNvPr id="11" name="Content Placeholder 3">
            <a:extLst>
              <a:ext uri="{FF2B5EF4-FFF2-40B4-BE49-F238E27FC236}">
                <a16:creationId xmlns:a16="http://schemas.microsoft.com/office/drawing/2014/main" id="{8901E974-6A09-0549-A164-5C367760316A}"/>
              </a:ext>
            </a:extLst>
          </p:cNvPr>
          <p:cNvSpPr>
            <a:spLocks noGrp="1"/>
          </p:cNvSpPr>
          <p:nvPr>
            <p:ph sz="quarter" idx="16" hasCustomPrompt="1"/>
          </p:nvPr>
        </p:nvSpPr>
        <p:spPr>
          <a:xfrm>
            <a:off x="0" y="5683252"/>
            <a:ext cx="11178117" cy="639233"/>
          </a:xfrm>
        </p:spPr>
        <p:txBody>
          <a:bodyPr lIns="90000" rtlCol="0" anchor="b" anchorCtr="0">
            <a:noAutofit/>
          </a:bodyPr>
          <a:lstStyle>
            <a:lvl1pPr>
              <a:defRPr sz="800" b="0">
                <a:solidFill>
                  <a:schemeClr val="tx1">
                    <a:lumMod val="50000"/>
                    <a:lumOff val="50000"/>
                  </a:schemeClr>
                </a:solidFill>
              </a:defRPr>
            </a:lvl1pPr>
          </a:lstStyle>
          <a:p>
            <a:pPr lvl="0" rtl="0"/>
            <a:r>
              <a:rPr lang="ru"/>
              <a:t>Footer</a:t>
            </a:r>
            <a:endParaRPr lang="en-US" dirty="0"/>
          </a:p>
        </p:txBody>
      </p:sp>
      <p:sp>
        <p:nvSpPr>
          <p:cNvPr id="12" name="Rectangle 11">
            <a:hlinkClick r:id="rId3" action="ppaction://hlinksldjump"/>
            <a:extLst>
              <a:ext uri="{FF2B5EF4-FFF2-40B4-BE49-F238E27FC236}">
                <a16:creationId xmlns:a16="http://schemas.microsoft.com/office/drawing/2014/main" id="{5E23E60C-CB67-5042-8D6D-F65B9BAD1D3C}"/>
              </a:ext>
            </a:extLst>
          </p:cNvPr>
          <p:cNvSpPr/>
          <p:nvPr userDrawn="1"/>
        </p:nvSpPr>
        <p:spPr bwMode="auto">
          <a:xfrm>
            <a:off x="5795159" y="6356710"/>
            <a:ext cx="593767" cy="512041"/>
          </a:xfrm>
          <a:prstGeom prst="rect">
            <a:avLst/>
          </a:prstGeom>
          <a:no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13519085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3_Section Divider">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447ADDD-920E-4BEB-819B-9759B3CF06AB}"/>
              </a:ext>
            </a:extLst>
          </p:cNvPr>
          <p:cNvSpPr>
            <a:spLocks noGrp="1"/>
          </p:cNvSpPr>
          <p:nvPr>
            <p:ph type="title" hasCustomPrompt="1"/>
          </p:nvPr>
        </p:nvSpPr>
        <p:spPr>
          <a:xfrm>
            <a:off x="1" y="0"/>
            <a:ext cx="5562601" cy="6858000"/>
          </a:xfrm>
          <a:custGeom>
            <a:avLst/>
            <a:gdLst>
              <a:gd name="connsiteX0" fmla="*/ 0 w 5562601"/>
              <a:gd name="connsiteY0" fmla="*/ 0 h 6858000"/>
              <a:gd name="connsiteX1" fmla="*/ 3124199 w 5562601"/>
              <a:gd name="connsiteY1" fmla="*/ 0 h 6858000"/>
              <a:gd name="connsiteX2" fmla="*/ 3694793 w 5562601"/>
              <a:gd name="connsiteY2" fmla="*/ 0 h 6858000"/>
              <a:gd name="connsiteX3" fmla="*/ 3762493 w 5562601"/>
              <a:gd name="connsiteY3" fmla="*/ 43402 h 6858000"/>
              <a:gd name="connsiteX4" fmla="*/ 5562601 w 5562601"/>
              <a:gd name="connsiteY4" fmla="*/ 3429000 h 6858000"/>
              <a:gd name="connsiteX5" fmla="*/ 3762493 w 5562601"/>
              <a:gd name="connsiteY5" fmla="*/ 6814598 h 6858000"/>
              <a:gd name="connsiteX6" fmla="*/ 3694792 w 5562601"/>
              <a:gd name="connsiteY6" fmla="*/ 6858000 h 6858000"/>
              <a:gd name="connsiteX7" fmla="*/ 0 w 5562601"/>
              <a:gd name="connsiteY7" fmla="*/ 6858000 h 6858000"/>
              <a:gd name="connsiteX8" fmla="*/ 0 w 5562601"/>
              <a:gd name="connsiteY8" fmla="*/ 26016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2601" h="6858000">
                <a:moveTo>
                  <a:pt x="0" y="0"/>
                </a:moveTo>
                <a:lnTo>
                  <a:pt x="3124199" y="0"/>
                </a:lnTo>
                <a:lnTo>
                  <a:pt x="3694793" y="0"/>
                </a:lnTo>
                <a:lnTo>
                  <a:pt x="3762493" y="43402"/>
                </a:lnTo>
                <a:cubicBezTo>
                  <a:pt x="4848549" y="777127"/>
                  <a:pt x="5562601" y="2019676"/>
                  <a:pt x="5562601" y="3429000"/>
                </a:cubicBezTo>
                <a:cubicBezTo>
                  <a:pt x="5562601" y="4838325"/>
                  <a:pt x="4848549" y="6080873"/>
                  <a:pt x="3762493" y="6814598"/>
                </a:cubicBezTo>
                <a:lnTo>
                  <a:pt x="3694792" y="6858000"/>
                </a:lnTo>
                <a:lnTo>
                  <a:pt x="0" y="6858000"/>
                </a:lnTo>
                <a:lnTo>
                  <a:pt x="0" y="2601686"/>
                </a:lnTo>
                <a:close/>
              </a:path>
            </a:pathLst>
          </a:custGeom>
          <a:solidFill>
            <a:schemeClr val="accent3"/>
          </a:solidFill>
        </p:spPr>
        <p:txBody>
          <a:bodyPr wrap="square" lIns="396000" tIns="2160000" bIns="2880000" rtlCol="0" anchor="b" anchorCtr="0">
            <a:normAutofit/>
          </a:bodyPr>
          <a:lstStyle>
            <a:lvl1pPr>
              <a:lnSpc>
                <a:spcPct val="100000"/>
              </a:lnSpc>
              <a:defRPr sz="4000">
                <a:solidFill>
                  <a:schemeClr val="bg1"/>
                </a:solidFill>
              </a:defRPr>
            </a:lvl1pPr>
          </a:lstStyle>
          <a:p>
            <a:pPr rtl="0"/>
            <a:r>
              <a:rPr lang="ru"/>
              <a:t>Click to enter</a:t>
            </a:r>
            <a:br>
              <a:rPr lang="en-US"/>
            </a:br>
            <a:r>
              <a:rPr lang="ru"/>
              <a:t>section title here</a:t>
            </a:r>
            <a:endParaRPr lang="en-GB"/>
          </a:p>
        </p:txBody>
      </p:sp>
      <p:sp>
        <p:nvSpPr>
          <p:cNvPr id="20" name="Text Placeholder 30">
            <a:extLst>
              <a:ext uri="{FF2B5EF4-FFF2-40B4-BE49-F238E27FC236}">
                <a16:creationId xmlns:a16="http://schemas.microsoft.com/office/drawing/2014/main" id="{9A77974F-FF01-4E3F-957B-CC5A44F8CE16}"/>
              </a:ext>
            </a:extLst>
          </p:cNvPr>
          <p:cNvSpPr txBox="1">
            <a:spLocks/>
          </p:cNvSpPr>
          <p:nvPr userDrawn="1"/>
        </p:nvSpPr>
        <p:spPr>
          <a:xfrm>
            <a:off x="11597151" y="6303999"/>
            <a:ext cx="294812" cy="355098"/>
          </a:xfrm>
          <a:prstGeom prst="rect">
            <a:avLst/>
          </a:pr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rtlCol="0"/>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lnSpc>
                <a:spcPct val="100000"/>
              </a:lnSpc>
            </a:pPr>
            <a:r>
              <a:rPr lang="ru"/>
              <a:t> </a:t>
            </a:r>
          </a:p>
        </p:txBody>
      </p:sp>
    </p:spTree>
    <p:custDataLst>
      <p:tags r:id="rId1"/>
    </p:custDataLst>
    <p:extLst>
      <p:ext uri="{BB962C8B-B14F-4D97-AF65-F5344CB8AC3E}">
        <p14:creationId xmlns:p14="http://schemas.microsoft.com/office/powerpoint/2010/main" val="36805236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 Panc">
    <p:spTree>
      <p:nvGrpSpPr>
        <p:cNvPr id="1" name=""/>
        <p:cNvGrpSpPr/>
        <p:nvPr/>
      </p:nvGrpSpPr>
      <p:grpSpPr>
        <a:xfrm>
          <a:off x="0" y="0"/>
          <a:ext cx="0" cy="0"/>
          <a:chOff x="0" y="0"/>
          <a:chExt cx="0" cy="0"/>
        </a:xfrm>
      </p:grpSpPr>
      <p:pic>
        <p:nvPicPr>
          <p:cNvPr id="15" name="Hero Image">
            <a:extLst>
              <a:ext uri="{FF2B5EF4-FFF2-40B4-BE49-F238E27FC236}">
                <a16:creationId xmlns:a16="http://schemas.microsoft.com/office/drawing/2014/main" id="{6DEDAD3C-43C2-3F4A-9F5A-5F26570960CF}"/>
              </a:ext>
            </a:extLst>
          </p:cNvPr>
          <p:cNvPicPr>
            <a:picLocks noChangeAspect="1"/>
          </p:cNvPicPr>
          <p:nvPr userDrawn="1"/>
        </p:nvPicPr>
        <p:blipFill>
          <a:blip r:embed="rId2"/>
          <a:srcRect/>
          <a:stretch/>
        </p:blipFill>
        <p:spPr>
          <a:xfrm>
            <a:off x="0" y="0"/>
            <a:ext cx="12192000" cy="6858000"/>
          </a:xfrm>
          <a:prstGeom prst="rect">
            <a:avLst/>
          </a:prstGeom>
        </p:spPr>
      </p:pic>
      <p:sp>
        <p:nvSpPr>
          <p:cNvPr id="2" name="white Panel">
            <a:extLst>
              <a:ext uri="{FF2B5EF4-FFF2-40B4-BE49-F238E27FC236}">
                <a16:creationId xmlns:a16="http://schemas.microsoft.com/office/drawing/2014/main" id="{B72680DC-41A9-EE21-E3BE-C2940821B6C8}"/>
              </a:ext>
            </a:extLst>
          </p:cNvPr>
          <p:cNvSpPr/>
          <p:nvPr userDrawn="1"/>
        </p:nvSpPr>
        <p:spPr>
          <a:xfrm>
            <a:off x="0" y="5957438"/>
            <a:ext cx="12192000" cy="8669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a:p>
        </p:txBody>
      </p:sp>
      <p:sp>
        <p:nvSpPr>
          <p:cNvPr id="8" name="Base Rule">
            <a:extLst>
              <a:ext uri="{FF2B5EF4-FFF2-40B4-BE49-F238E27FC236}">
                <a16:creationId xmlns:a16="http://schemas.microsoft.com/office/drawing/2014/main" id="{94EF231F-0C2B-4B53-58D2-EAC5DCC2BAE0}"/>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pic>
        <p:nvPicPr>
          <p:cNvPr id="3" name="AZ Logo">
            <a:extLst>
              <a:ext uri="{FF2B5EF4-FFF2-40B4-BE49-F238E27FC236}">
                <a16:creationId xmlns:a16="http://schemas.microsoft.com/office/drawing/2014/main" id="{D25456F4-DC1B-3EEA-74FF-7C18547BCDF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313781" y="6218640"/>
            <a:ext cx="1147048" cy="275941"/>
          </a:xfrm>
          <a:prstGeom prst="rect">
            <a:avLst/>
          </a:prstGeom>
        </p:spPr>
      </p:pic>
      <p:pic>
        <p:nvPicPr>
          <p:cNvPr id="4" name="MSD Logo">
            <a:extLst>
              <a:ext uri="{FF2B5EF4-FFF2-40B4-BE49-F238E27FC236}">
                <a16:creationId xmlns:a16="http://schemas.microsoft.com/office/drawing/2014/main" id="{A80E640E-381B-F545-4568-8C58E576EC8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21791" y="6307032"/>
            <a:ext cx="668100" cy="244800"/>
          </a:xfrm>
          <a:prstGeom prst="rect">
            <a:avLst/>
          </a:prstGeom>
        </p:spPr>
      </p:pic>
      <p:pic>
        <p:nvPicPr>
          <p:cNvPr id="5" name="Lynparza Logo">
            <a:extLst>
              <a:ext uri="{FF2B5EF4-FFF2-40B4-BE49-F238E27FC236}">
                <a16:creationId xmlns:a16="http://schemas.microsoft.com/office/drawing/2014/main" id="{46C99DE8-D589-0A52-8F11-3077C2B7968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503678" y="5967483"/>
            <a:ext cx="1563703" cy="883611"/>
          </a:xfrm>
          <a:prstGeom prst="rect">
            <a:avLst/>
          </a:prstGeom>
        </p:spPr>
      </p:pic>
      <p:sp>
        <p:nvSpPr>
          <p:cNvPr id="6" name="Copy">
            <a:extLst>
              <a:ext uri="{FF2B5EF4-FFF2-40B4-BE49-F238E27FC236}">
                <a16:creationId xmlns:a16="http://schemas.microsoft.com/office/drawing/2014/main" id="{BEC026BB-C8CE-187D-3B37-5BAADCF7156F}"/>
              </a:ext>
            </a:extLst>
          </p:cNvPr>
          <p:cNvSpPr/>
          <p:nvPr userDrawn="1"/>
        </p:nvSpPr>
        <p:spPr>
          <a:xfrm>
            <a:off x="3769070" y="6340693"/>
            <a:ext cx="6277455" cy="153888"/>
          </a:xfrm>
          <a:prstGeom prst="rect">
            <a:avLst/>
          </a:prstGeom>
        </p:spPr>
        <p:txBody>
          <a:bodyPr wrap="square" lIns="0"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sp>
        <p:nvSpPr>
          <p:cNvPr id="21" name="Rectangle 4">
            <a:extLst>
              <a:ext uri="{FF2B5EF4-FFF2-40B4-BE49-F238E27FC236}">
                <a16:creationId xmlns:a16="http://schemas.microsoft.com/office/drawing/2014/main" id="{9853B1C0-16D9-6549-93DF-7A7D686CBA85}"/>
              </a:ext>
            </a:extLst>
          </p:cNvPr>
          <p:cNvSpPr/>
          <p:nvPr/>
        </p:nvSpPr>
        <p:spPr>
          <a:xfrm>
            <a:off x="2" y="2366750"/>
            <a:ext cx="5805055" cy="2024095"/>
          </a:xfrm>
          <a:custGeom>
            <a:avLst/>
            <a:gdLst>
              <a:gd name="connsiteX0" fmla="*/ 0 w 3324387"/>
              <a:gd name="connsiteY0" fmla="*/ 0 h 830720"/>
              <a:gd name="connsiteX1" fmla="*/ 3324387 w 3324387"/>
              <a:gd name="connsiteY1" fmla="*/ 0 h 830720"/>
              <a:gd name="connsiteX2" fmla="*/ 3324387 w 3324387"/>
              <a:gd name="connsiteY2" fmla="*/ 830720 h 830720"/>
              <a:gd name="connsiteX3" fmla="*/ 0 w 3324387"/>
              <a:gd name="connsiteY3" fmla="*/ 830720 h 830720"/>
              <a:gd name="connsiteX4" fmla="*/ 0 w 3324387"/>
              <a:gd name="connsiteY4" fmla="*/ 0 h 830720"/>
              <a:gd name="connsiteX0" fmla="*/ 0 w 3324387"/>
              <a:gd name="connsiteY0" fmla="*/ 0 h 830720"/>
              <a:gd name="connsiteX1" fmla="*/ 3324387 w 3324387"/>
              <a:gd name="connsiteY1" fmla="*/ 0 h 830720"/>
              <a:gd name="connsiteX2" fmla="*/ 2998923 w 3324387"/>
              <a:gd name="connsiteY2" fmla="*/ 815222 h 830720"/>
              <a:gd name="connsiteX3" fmla="*/ 0 w 3324387"/>
              <a:gd name="connsiteY3" fmla="*/ 830720 h 830720"/>
              <a:gd name="connsiteX4" fmla="*/ 0 w 3324387"/>
              <a:gd name="connsiteY4" fmla="*/ 0 h 830720"/>
              <a:gd name="connsiteX0" fmla="*/ 0 w 3324387"/>
              <a:gd name="connsiteY0" fmla="*/ 0 h 830720"/>
              <a:gd name="connsiteX1" fmla="*/ 3324387 w 3324387"/>
              <a:gd name="connsiteY1" fmla="*/ 0 h 830720"/>
              <a:gd name="connsiteX2" fmla="*/ 3200401 w 3324387"/>
              <a:gd name="connsiteY2" fmla="*/ 830720 h 830720"/>
              <a:gd name="connsiteX3" fmla="*/ 0 w 3324387"/>
              <a:gd name="connsiteY3" fmla="*/ 830720 h 830720"/>
              <a:gd name="connsiteX4" fmla="*/ 0 w 3324387"/>
              <a:gd name="connsiteY4" fmla="*/ 0 h 830720"/>
              <a:gd name="connsiteX0" fmla="*/ 0 w 3384738"/>
              <a:gd name="connsiteY0" fmla="*/ 0 h 830720"/>
              <a:gd name="connsiteX1" fmla="*/ 3384738 w 3384738"/>
              <a:gd name="connsiteY1" fmla="*/ 5713 h 830720"/>
              <a:gd name="connsiteX2" fmla="*/ 3200401 w 3384738"/>
              <a:gd name="connsiteY2" fmla="*/ 830720 h 830720"/>
              <a:gd name="connsiteX3" fmla="*/ 0 w 3384738"/>
              <a:gd name="connsiteY3" fmla="*/ 830720 h 830720"/>
              <a:gd name="connsiteX4" fmla="*/ 0 w 3384738"/>
              <a:gd name="connsiteY4" fmla="*/ 0 h 830720"/>
              <a:gd name="connsiteX0" fmla="*/ 0 w 3380427"/>
              <a:gd name="connsiteY0" fmla="*/ 0 h 830720"/>
              <a:gd name="connsiteX1" fmla="*/ 3380427 w 3380427"/>
              <a:gd name="connsiteY1" fmla="*/ 0 h 830720"/>
              <a:gd name="connsiteX2" fmla="*/ 3200401 w 3380427"/>
              <a:gd name="connsiteY2" fmla="*/ 830720 h 830720"/>
              <a:gd name="connsiteX3" fmla="*/ 0 w 3380427"/>
              <a:gd name="connsiteY3" fmla="*/ 830720 h 830720"/>
              <a:gd name="connsiteX4" fmla="*/ 0 w 3380427"/>
              <a:gd name="connsiteY4" fmla="*/ 0 h 830720"/>
              <a:gd name="connsiteX0" fmla="*/ 0 w 3380427"/>
              <a:gd name="connsiteY0" fmla="*/ 0 h 830720"/>
              <a:gd name="connsiteX1" fmla="*/ 3380427 w 3380427"/>
              <a:gd name="connsiteY1" fmla="*/ 0 h 830720"/>
              <a:gd name="connsiteX2" fmla="*/ 3187469 w 3380427"/>
              <a:gd name="connsiteY2" fmla="*/ 830720 h 830720"/>
              <a:gd name="connsiteX3" fmla="*/ 0 w 3380427"/>
              <a:gd name="connsiteY3" fmla="*/ 830720 h 830720"/>
              <a:gd name="connsiteX4" fmla="*/ 0 w 3380427"/>
              <a:gd name="connsiteY4" fmla="*/ 0 h 830720"/>
              <a:gd name="connsiteX0" fmla="*/ 0 w 3380427"/>
              <a:gd name="connsiteY0" fmla="*/ 0 h 834607"/>
              <a:gd name="connsiteX1" fmla="*/ 3380427 w 3380427"/>
              <a:gd name="connsiteY1" fmla="*/ 0 h 834607"/>
              <a:gd name="connsiteX2" fmla="*/ 3198448 w 3380427"/>
              <a:gd name="connsiteY2" fmla="*/ 834607 h 834607"/>
              <a:gd name="connsiteX3" fmla="*/ 0 w 3380427"/>
              <a:gd name="connsiteY3" fmla="*/ 830720 h 834607"/>
              <a:gd name="connsiteX4" fmla="*/ 0 w 3380427"/>
              <a:gd name="connsiteY4" fmla="*/ 0 h 834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0427" h="834607">
                <a:moveTo>
                  <a:pt x="0" y="0"/>
                </a:moveTo>
                <a:lnTo>
                  <a:pt x="3380427" y="0"/>
                </a:lnTo>
                <a:lnTo>
                  <a:pt x="3198448" y="834607"/>
                </a:lnTo>
                <a:lnTo>
                  <a:pt x="0" y="830720"/>
                </a:lnTo>
                <a:lnTo>
                  <a:pt x="0" y="0"/>
                </a:lnTo>
                <a:close/>
              </a:path>
            </a:pathLst>
          </a:custGeom>
          <a:solidFill>
            <a:srgbClr val="960064">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a:p>
        </p:txBody>
      </p:sp>
      <p:sp>
        <p:nvSpPr>
          <p:cNvPr id="22" name="Rectangle 4">
            <a:extLst>
              <a:ext uri="{FF2B5EF4-FFF2-40B4-BE49-F238E27FC236}">
                <a16:creationId xmlns:a16="http://schemas.microsoft.com/office/drawing/2014/main" id="{AB3D998A-2CB3-234A-BFE7-4A83FE2C45D6}"/>
              </a:ext>
            </a:extLst>
          </p:cNvPr>
          <p:cNvSpPr/>
          <p:nvPr/>
        </p:nvSpPr>
        <p:spPr>
          <a:xfrm>
            <a:off x="1" y="1893241"/>
            <a:ext cx="5432219" cy="2014667"/>
          </a:xfrm>
          <a:custGeom>
            <a:avLst/>
            <a:gdLst>
              <a:gd name="connsiteX0" fmla="*/ 0 w 3324387"/>
              <a:gd name="connsiteY0" fmla="*/ 0 h 830720"/>
              <a:gd name="connsiteX1" fmla="*/ 3324387 w 3324387"/>
              <a:gd name="connsiteY1" fmla="*/ 0 h 830720"/>
              <a:gd name="connsiteX2" fmla="*/ 3324387 w 3324387"/>
              <a:gd name="connsiteY2" fmla="*/ 830720 h 830720"/>
              <a:gd name="connsiteX3" fmla="*/ 0 w 3324387"/>
              <a:gd name="connsiteY3" fmla="*/ 830720 h 830720"/>
              <a:gd name="connsiteX4" fmla="*/ 0 w 3324387"/>
              <a:gd name="connsiteY4" fmla="*/ 0 h 830720"/>
              <a:gd name="connsiteX0" fmla="*/ 0 w 3324387"/>
              <a:gd name="connsiteY0" fmla="*/ 0 h 830720"/>
              <a:gd name="connsiteX1" fmla="*/ 3324387 w 3324387"/>
              <a:gd name="connsiteY1" fmla="*/ 0 h 830720"/>
              <a:gd name="connsiteX2" fmla="*/ 2998923 w 3324387"/>
              <a:gd name="connsiteY2" fmla="*/ 815222 h 830720"/>
              <a:gd name="connsiteX3" fmla="*/ 0 w 3324387"/>
              <a:gd name="connsiteY3" fmla="*/ 830720 h 830720"/>
              <a:gd name="connsiteX4" fmla="*/ 0 w 3324387"/>
              <a:gd name="connsiteY4" fmla="*/ 0 h 830720"/>
              <a:gd name="connsiteX0" fmla="*/ 0 w 3324387"/>
              <a:gd name="connsiteY0" fmla="*/ 0 h 830720"/>
              <a:gd name="connsiteX1" fmla="*/ 3324387 w 3324387"/>
              <a:gd name="connsiteY1" fmla="*/ 0 h 830720"/>
              <a:gd name="connsiteX2" fmla="*/ 3200401 w 3324387"/>
              <a:gd name="connsiteY2" fmla="*/ 830720 h 830720"/>
              <a:gd name="connsiteX3" fmla="*/ 0 w 3324387"/>
              <a:gd name="connsiteY3" fmla="*/ 830720 h 830720"/>
              <a:gd name="connsiteX4" fmla="*/ 0 w 3324387"/>
              <a:gd name="connsiteY4" fmla="*/ 0 h 830720"/>
              <a:gd name="connsiteX0" fmla="*/ 0 w 3384738"/>
              <a:gd name="connsiteY0" fmla="*/ 0 h 830720"/>
              <a:gd name="connsiteX1" fmla="*/ 3384738 w 3384738"/>
              <a:gd name="connsiteY1" fmla="*/ 5713 h 830720"/>
              <a:gd name="connsiteX2" fmla="*/ 3200401 w 3384738"/>
              <a:gd name="connsiteY2" fmla="*/ 830720 h 830720"/>
              <a:gd name="connsiteX3" fmla="*/ 0 w 3384738"/>
              <a:gd name="connsiteY3" fmla="*/ 830720 h 830720"/>
              <a:gd name="connsiteX4" fmla="*/ 0 w 3384738"/>
              <a:gd name="connsiteY4" fmla="*/ 0 h 830720"/>
              <a:gd name="connsiteX0" fmla="*/ 0 w 3380427"/>
              <a:gd name="connsiteY0" fmla="*/ 0 h 830720"/>
              <a:gd name="connsiteX1" fmla="*/ 3380427 w 3380427"/>
              <a:gd name="connsiteY1" fmla="*/ 0 h 830720"/>
              <a:gd name="connsiteX2" fmla="*/ 3200401 w 3380427"/>
              <a:gd name="connsiteY2" fmla="*/ 830720 h 830720"/>
              <a:gd name="connsiteX3" fmla="*/ 0 w 3380427"/>
              <a:gd name="connsiteY3" fmla="*/ 830720 h 830720"/>
              <a:gd name="connsiteX4" fmla="*/ 0 w 3380427"/>
              <a:gd name="connsiteY4" fmla="*/ 0 h 830720"/>
              <a:gd name="connsiteX0" fmla="*/ 0 w 3380427"/>
              <a:gd name="connsiteY0" fmla="*/ 0 h 830720"/>
              <a:gd name="connsiteX1" fmla="*/ 3380427 w 3380427"/>
              <a:gd name="connsiteY1" fmla="*/ 0 h 830720"/>
              <a:gd name="connsiteX2" fmla="*/ 3187469 w 3380427"/>
              <a:gd name="connsiteY2" fmla="*/ 830720 h 830720"/>
              <a:gd name="connsiteX3" fmla="*/ 0 w 3380427"/>
              <a:gd name="connsiteY3" fmla="*/ 830720 h 830720"/>
              <a:gd name="connsiteX4" fmla="*/ 0 w 3380427"/>
              <a:gd name="connsiteY4" fmla="*/ 0 h 830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0427" h="830720">
                <a:moveTo>
                  <a:pt x="0" y="0"/>
                </a:moveTo>
                <a:lnTo>
                  <a:pt x="3380427" y="0"/>
                </a:lnTo>
                <a:lnTo>
                  <a:pt x="3187469" y="830720"/>
                </a:lnTo>
                <a:lnTo>
                  <a:pt x="0" y="830720"/>
                </a:lnTo>
                <a:lnTo>
                  <a:pt x="0" y="0"/>
                </a:lnTo>
                <a:close/>
              </a:path>
            </a:pathLst>
          </a:cu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48" name="Sub Head">
            <a:extLst>
              <a:ext uri="{FF2B5EF4-FFF2-40B4-BE49-F238E27FC236}">
                <a16:creationId xmlns:a16="http://schemas.microsoft.com/office/drawing/2014/main" id="{1DF68E80-9F83-8B48-97B3-37D54158AC0D}"/>
              </a:ext>
            </a:extLst>
          </p:cNvPr>
          <p:cNvSpPr>
            <a:spLocks noGrp="1"/>
          </p:cNvSpPr>
          <p:nvPr>
            <p:ph type="body" sz="quarter" idx="10" hasCustomPrompt="1"/>
          </p:nvPr>
        </p:nvSpPr>
        <p:spPr>
          <a:xfrm>
            <a:off x="734401" y="3434400"/>
            <a:ext cx="4205140" cy="410883"/>
          </a:xfrm>
          <a:prstGeom prst="rect">
            <a:avLst/>
          </a:prstGeom>
        </p:spPr>
        <p:txBody>
          <a:bodyPr wrap="square" lIns="0">
            <a:normAutofit/>
          </a:bodyPr>
          <a:lstStyle>
            <a:lvl1pPr marL="0" indent="0">
              <a:lnSpc>
                <a:spcPct val="100000"/>
              </a:lnSpc>
              <a:buNone/>
              <a:defRPr sz="2300" i="1">
                <a:solidFill>
                  <a:schemeClr val="bg1"/>
                </a:solidFill>
                <a:latin typeface="Arial" panose="020B0604020202020204" pitchFamily="34" charset="0"/>
                <a:cs typeface="Arial" panose="020B0604020202020204" pitchFamily="34" charset="0"/>
              </a:defRPr>
            </a:lvl1pPr>
            <a:lvl2pPr marL="457189" indent="0">
              <a:buNone/>
              <a:defRPr sz="2300" i="1">
                <a:solidFill>
                  <a:schemeClr val="tx2"/>
                </a:solidFill>
                <a:latin typeface="Arial" panose="020B0604020202020204" pitchFamily="34" charset="0"/>
                <a:cs typeface="Arial" panose="020B0604020202020204" pitchFamily="34" charset="0"/>
              </a:defRPr>
            </a:lvl2pPr>
            <a:lvl3pPr marL="914377" indent="0">
              <a:buNone/>
              <a:defRPr sz="2300" i="1">
                <a:solidFill>
                  <a:schemeClr val="tx2"/>
                </a:solidFill>
                <a:latin typeface="Arial" panose="020B0604020202020204" pitchFamily="34" charset="0"/>
                <a:cs typeface="Arial" panose="020B0604020202020204" pitchFamily="34" charset="0"/>
              </a:defRPr>
            </a:lvl3pPr>
            <a:lvl4pPr marL="1371566" indent="0">
              <a:buNone/>
              <a:defRPr sz="2300" i="1">
                <a:solidFill>
                  <a:schemeClr val="tx2"/>
                </a:solidFill>
                <a:latin typeface="Arial" panose="020B0604020202020204" pitchFamily="34" charset="0"/>
                <a:cs typeface="Arial" panose="020B0604020202020204" pitchFamily="34" charset="0"/>
              </a:defRPr>
            </a:lvl4pPr>
            <a:lvl5pPr marL="1828754" indent="0">
              <a:buNone/>
              <a:defRPr sz="2300" i="1">
                <a:solidFill>
                  <a:schemeClr val="tx2"/>
                </a:solidFill>
                <a:latin typeface="Arial" panose="020B0604020202020204" pitchFamily="34" charset="0"/>
                <a:cs typeface="Arial" panose="020B0604020202020204" pitchFamily="34" charset="0"/>
              </a:defRPr>
            </a:lvl5pPr>
          </a:lstStyle>
          <a:p>
            <a:pPr lvl="0"/>
            <a:r>
              <a:rPr lang="en-US" dirty="0"/>
              <a:t>SUB HEADER</a:t>
            </a:r>
          </a:p>
        </p:txBody>
      </p:sp>
      <p:sp>
        <p:nvSpPr>
          <p:cNvPr id="7" name="Title">
            <a:extLst>
              <a:ext uri="{FF2B5EF4-FFF2-40B4-BE49-F238E27FC236}">
                <a16:creationId xmlns:a16="http://schemas.microsoft.com/office/drawing/2014/main" id="{8CB98203-3CE1-F64E-BB23-DC01D54CF085}"/>
              </a:ext>
            </a:extLst>
          </p:cNvPr>
          <p:cNvSpPr>
            <a:spLocks noGrp="1"/>
          </p:cNvSpPr>
          <p:nvPr>
            <p:ph type="body" sz="quarter" idx="11" hasCustomPrompt="1"/>
          </p:nvPr>
        </p:nvSpPr>
        <p:spPr>
          <a:xfrm>
            <a:off x="734400" y="2459109"/>
            <a:ext cx="4244400" cy="882935"/>
          </a:xfrm>
          <a:prstGeom prst="rect">
            <a:avLst/>
          </a:prstGeom>
        </p:spPr>
        <p:txBody>
          <a:bodyPr lIns="0" tIns="0" bIns="0" anchor="t" anchorCtr="0">
            <a:normAutofit/>
          </a:bodyPr>
          <a:lstStyle>
            <a:lvl1pPr marL="0" indent="0">
              <a:lnSpc>
                <a:spcPct val="100000"/>
              </a:lnSpc>
              <a:buNone/>
              <a:defRPr sz="2600" b="1" i="1">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ITLE </a:t>
            </a:r>
          </a:p>
        </p:txBody>
      </p:sp>
    </p:spTree>
    <p:extLst>
      <p:ext uri="{BB962C8B-B14F-4D97-AF65-F5344CB8AC3E}">
        <p14:creationId xmlns:p14="http://schemas.microsoft.com/office/powerpoint/2010/main" val="4299128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7" y="547584"/>
            <a:ext cx="11376025" cy="864655"/>
          </a:xfrm>
        </p:spPr>
        <p:txBody>
          <a:bodyPr rtlCol="0">
            <a:normAutofit/>
          </a:bodyPr>
          <a:lstStyle>
            <a:lvl1pPr>
              <a:defRPr sz="2400"/>
            </a:lvl1pPr>
          </a:lstStyle>
          <a:p>
            <a:pPr rtl="0"/>
            <a:r>
              <a:rPr lang="ru-RU"/>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rtlCol="0">
            <a:spAutoFit/>
          </a:bodyPr>
          <a:lstStyle>
            <a:lvl1pPr>
              <a:defRPr/>
            </a:lvl1pPr>
            <a:lvl2pPr marL="576000" indent="-288000">
              <a:defRPr/>
            </a:lvl2pPr>
          </a:lstStyle>
          <a:p>
            <a:pPr lvl="0" rtl="0"/>
            <a:r>
              <a:rPr lang="ru-RU"/>
              <a:t>Click to add text here. </a:t>
            </a:r>
            <a:br>
              <a:rPr lang="en-US"/>
            </a:br>
            <a:r>
              <a:rPr lang="ru-RU"/>
              <a:t>When pasting copy from other slides, be sure to right-click and choose ‘Keep text only’. </a:t>
            </a:r>
            <a:br>
              <a:rPr lang="en-US"/>
            </a:br>
            <a:r>
              <a:rPr lang="ru-RU"/>
              <a:t>To increase bullet level, select your text and press Tab.</a:t>
            </a:r>
            <a:br>
              <a:rPr lang="en-US"/>
            </a:br>
            <a:r>
              <a:rPr lang="ru-RU"/>
              <a:t>To decrease bullet level, select your bullet text and press Shift + Tab. </a:t>
            </a:r>
          </a:p>
          <a:p>
            <a:pPr lvl="1" rtl="0"/>
            <a:r>
              <a:rPr lang="ru-RU"/>
              <a:t>Second level</a:t>
            </a:r>
          </a:p>
          <a:p>
            <a:pPr lvl="2" rtl="0"/>
            <a:r>
              <a:rPr lang="ru-RU"/>
              <a:t>Third level</a:t>
            </a:r>
          </a:p>
          <a:p>
            <a:pPr lvl="3" rtl="0"/>
            <a:r>
              <a:rPr lang="ru-RU"/>
              <a:t>Fourth level</a:t>
            </a:r>
          </a:p>
          <a:p>
            <a:pPr lvl="4" rtl="0"/>
            <a:r>
              <a:rPr lang="ru-RU"/>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a:xfrm>
            <a:off x="10137663" y="6456258"/>
            <a:ext cx="1279358" cy="309145"/>
          </a:xfrm>
          <a:prstGeom prst="rect">
            <a:avLst/>
          </a:prstGeom>
        </p:spPr>
        <p:txBody>
          <a:bodyPr rtlCol="0"/>
          <a:lstStyle/>
          <a:p>
            <a:pPr rtl="0"/>
            <a:endParaRPr lang="en-GB" dirty="0"/>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rtlCol="0"/>
          <a:lstStyle/>
          <a:p>
            <a:pPr rtl="0"/>
            <a:fld id="{F8E47D07-9D1E-4FE9-B31A-2F5863681021}" type="slidenum">
              <a:rPr lang="en-GB" smtClean="0"/>
              <a:pPr/>
              <a:t>‹#›</a:t>
            </a:fld>
            <a:endParaRPr lang="en-GB" dirty="0"/>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rtlCol="0" anchor="b" anchorCtr="0">
            <a:noAutofit/>
          </a:bodyPr>
          <a:lstStyle>
            <a:lvl1pPr>
              <a:spcAft>
                <a:spcPts val="300"/>
              </a:spcAft>
              <a:buNone/>
              <a:defRPr sz="800"/>
            </a:lvl1pPr>
          </a:lstStyle>
          <a:p>
            <a:pPr lvl="0" rtl="0"/>
            <a:r>
              <a:rPr lang="ru-RU"/>
              <a:t>Footnotes</a:t>
            </a:r>
          </a:p>
        </p:txBody>
      </p:sp>
    </p:spTree>
    <p:custDataLst>
      <p:tags r:id="rId1"/>
    </p:custDataLst>
    <p:extLst>
      <p:ext uri="{BB962C8B-B14F-4D97-AF65-F5344CB8AC3E}">
        <p14:creationId xmlns:p14="http://schemas.microsoft.com/office/powerpoint/2010/main" val="1789383676"/>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marL="0" indent="0">
              <a:spcAft>
                <a:spcPts val="0"/>
              </a:spcAft>
              <a:buNone/>
              <a:defRPr sz="800">
                <a:solidFill>
                  <a:srgbClr val="7F7F7F"/>
                </a:solidFill>
              </a:defRPr>
            </a:lvl1pPr>
          </a:lstStyle>
          <a:p>
            <a:pPr lvl="0"/>
            <a:r>
              <a:rPr lang="en-US"/>
              <a:t>Footnotes</a:t>
            </a:r>
          </a:p>
        </p:txBody>
      </p:sp>
      <p:sp>
        <p:nvSpPr>
          <p:cNvPr id="3" name="Title 1">
            <a:extLst>
              <a:ext uri="{FF2B5EF4-FFF2-40B4-BE49-F238E27FC236}">
                <a16:creationId xmlns:a16="http://schemas.microsoft.com/office/drawing/2014/main" id="{D3314897-52E8-1395-6584-2F4D65BE15B6}"/>
              </a:ext>
            </a:extLst>
          </p:cNvPr>
          <p:cNvSpPr>
            <a:spLocks noGrp="1"/>
          </p:cNvSpPr>
          <p:nvPr>
            <p:ph type="title" hasCustomPrompt="1"/>
          </p:nvPr>
        </p:nvSpPr>
        <p:spPr>
          <a:xfrm>
            <a:off x="407987" y="404812"/>
            <a:ext cx="11376025" cy="1007427"/>
          </a:xfrm>
        </p:spPr>
        <p:txBody>
          <a:bodyPr/>
          <a:lstStyle>
            <a:lvl1pPr>
              <a:defRPr/>
            </a:lvl1pPr>
          </a:lstStyle>
          <a:p>
            <a:r>
              <a:rPr lang="en-US"/>
              <a:t>Click to enter title here</a:t>
            </a:r>
          </a:p>
        </p:txBody>
      </p:sp>
    </p:spTree>
    <p:custDataLst>
      <p:tags r:id="rId1"/>
    </p:custDataLst>
    <p:extLst>
      <p:ext uri="{BB962C8B-B14F-4D97-AF65-F5344CB8AC3E}">
        <p14:creationId xmlns:p14="http://schemas.microsoft.com/office/powerpoint/2010/main" val="3513461160"/>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5B106E36-FD25-4E2D-B0AA-010F637433A0}" type="datetimeFigureOut">
              <a:rPr lang="ru-RU" smtClean="0"/>
              <a:pPr/>
              <a:t>17.04.202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41756469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p>
            <a:fld id="{D7A9F1EA-91CC-4A45-89B7-32883CC9746F}" type="datetimeFigureOut">
              <a:rPr lang="ru-RU" smtClean="0"/>
              <a:t>17.04.202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6E8DB500-CCF2-42F2-B266-96569EFF7EF3}" type="slidenum">
              <a:rPr lang="ru-RU" smtClean="0"/>
              <a:t>‹#›</a:t>
            </a:fld>
            <a:endParaRPr lang="ru-RU"/>
          </a:p>
        </p:txBody>
      </p:sp>
    </p:spTree>
    <p:extLst>
      <p:ext uri="{BB962C8B-B14F-4D97-AF65-F5344CB8AC3E}">
        <p14:creationId xmlns:p14="http://schemas.microsoft.com/office/powerpoint/2010/main" val="42634832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CDCC3B-CA12-4A4B-B5F5-D2062F3C58EC}"/>
              </a:ext>
            </a:extLst>
          </p:cNvPr>
          <p:cNvSpPr>
            <a:spLocks noGrp="1"/>
          </p:cNvSpPr>
          <p:nvPr>
            <p:ph type="title" hasCustomPrompt="1"/>
          </p:nvPr>
        </p:nvSpPr>
        <p:spPr>
          <a:xfrm>
            <a:off x="407987" y="1486304"/>
            <a:ext cx="5185093" cy="2649135"/>
          </a:xfrm>
        </p:spPr>
        <p:txBody>
          <a:bodyPr anchor="b" anchorCtr="0">
            <a:normAutofit/>
          </a:bodyPr>
          <a:lstStyle>
            <a:lvl1pPr>
              <a:lnSpc>
                <a:spcPct val="100000"/>
              </a:lnSpc>
              <a:defRPr sz="4000">
                <a:solidFill>
                  <a:schemeClr val="accent1"/>
                </a:solidFill>
              </a:defRPr>
            </a:lvl1pPr>
          </a:lstStyle>
          <a:p>
            <a:r>
              <a:rPr lang="en-US"/>
              <a:t>Click to enter title here</a:t>
            </a:r>
          </a:p>
        </p:txBody>
      </p:sp>
      <p:sp>
        <p:nvSpPr>
          <p:cNvPr id="6" name="Picture Placeholder 12">
            <a:extLst>
              <a:ext uri="{FF2B5EF4-FFF2-40B4-BE49-F238E27FC236}">
                <a16:creationId xmlns:a16="http://schemas.microsoft.com/office/drawing/2014/main" id="{3506CBD9-0F78-454A-9842-87C2546180B8}"/>
              </a:ext>
            </a:extLst>
          </p:cNvPr>
          <p:cNvSpPr>
            <a:spLocks noGrp="1"/>
          </p:cNvSpPr>
          <p:nvPr>
            <p:ph type="pic" sz="quarter" idx="20" hasCustomPrompt="1"/>
          </p:nvPr>
        </p:nvSpPr>
        <p:spPr>
          <a:xfrm>
            <a:off x="6188475" y="0"/>
            <a:ext cx="6004761" cy="6865200"/>
          </a:xfrm>
          <a:custGeom>
            <a:avLst/>
            <a:gdLst>
              <a:gd name="connsiteX0" fmla="*/ 1547827 w 6004761"/>
              <a:gd name="connsiteY0" fmla="*/ 0 h 6864096"/>
              <a:gd name="connsiteX1" fmla="*/ 6004760 w 6004761"/>
              <a:gd name="connsiteY1" fmla="*/ 0 h 6864096"/>
              <a:gd name="connsiteX2" fmla="*/ 6004761 w 6004761"/>
              <a:gd name="connsiteY2" fmla="*/ 6864096 h 6864096"/>
              <a:gd name="connsiteX3" fmla="*/ 1554450 w 6004761"/>
              <a:gd name="connsiteY3" fmla="*/ 6864096 h 6864096"/>
              <a:gd name="connsiteX4" fmla="*/ 1379124 w 6004761"/>
              <a:gd name="connsiteY4" fmla="*/ 6702826 h 6864096"/>
              <a:gd name="connsiteX5" fmla="*/ 0 w 6004761"/>
              <a:gd name="connsiteY5" fmla="*/ 3429001 h 6864096"/>
              <a:gd name="connsiteX6" fmla="*/ 1379124 w 6004761"/>
              <a:gd name="connsiteY6" fmla="*/ 155178 h 686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4761" h="6864096">
                <a:moveTo>
                  <a:pt x="1547827" y="0"/>
                </a:moveTo>
                <a:lnTo>
                  <a:pt x="6004760" y="0"/>
                </a:lnTo>
                <a:lnTo>
                  <a:pt x="6004761" y="6864096"/>
                </a:lnTo>
                <a:lnTo>
                  <a:pt x="1554450" y="6864096"/>
                </a:lnTo>
                <a:lnTo>
                  <a:pt x="1379124" y="6702826"/>
                </a:lnTo>
                <a:cubicBezTo>
                  <a:pt x="528239" y="5871990"/>
                  <a:pt x="0" y="4712184"/>
                  <a:pt x="0" y="3429001"/>
                </a:cubicBezTo>
                <a:cubicBezTo>
                  <a:pt x="0" y="2145819"/>
                  <a:pt x="528239" y="986013"/>
                  <a:pt x="1379124" y="155178"/>
                </a:cubicBezTo>
                <a:close/>
              </a:path>
            </a:pathLst>
          </a:custGeom>
          <a:solidFill>
            <a:schemeClr val="accent1"/>
          </a:solidFill>
        </p:spPr>
        <p:txBody>
          <a:bodyPr wrap="square" tIns="432000" bIns="648000" anchor="ctr">
            <a:noAutofit/>
          </a:bodyPr>
          <a:lstStyle>
            <a:lvl1pPr marL="0" indent="0" algn="ctr">
              <a:lnSpc>
                <a:spcPct val="100000"/>
              </a:lnSpc>
              <a:buNone/>
              <a:defRPr sz="1600" b="1">
                <a:solidFill>
                  <a:schemeClr val="bg1"/>
                </a:solidFill>
              </a:defRPr>
            </a:lvl1pPr>
          </a:lstStyle>
          <a:p>
            <a:r>
              <a:rPr lang="en-US"/>
              <a:t>_______________________________</a:t>
            </a:r>
            <a:br>
              <a:rPr lang="en-US"/>
            </a:br>
            <a:br>
              <a:rPr lang="en-US"/>
            </a:br>
            <a:r>
              <a:rPr lang="en-US"/>
              <a:t>To add an image here: </a:t>
            </a:r>
            <a:br>
              <a:rPr lang="en-US"/>
            </a:br>
            <a:r>
              <a:rPr lang="en-US"/>
              <a:t>Click the icon and insert a file from your computer.</a:t>
            </a:r>
            <a:br>
              <a:rPr lang="en-US"/>
            </a:br>
            <a:br>
              <a:rPr lang="en-US"/>
            </a:br>
            <a:br>
              <a:rPr lang="en-US"/>
            </a:br>
            <a:br>
              <a:rPr lang="en-US"/>
            </a:br>
            <a:r>
              <a:rPr lang="en-US"/>
              <a:t> Your image can then be scaled within </a:t>
            </a:r>
            <a:br>
              <a:rPr lang="en-US"/>
            </a:br>
            <a:r>
              <a:rPr lang="en-US"/>
              <a:t>the frame by using the Crop feature in </a:t>
            </a:r>
            <a:br>
              <a:rPr lang="en-US"/>
            </a:br>
            <a:r>
              <a:rPr lang="en-US"/>
              <a:t>the Picture Format tab of the ribbon.</a:t>
            </a:r>
            <a:br>
              <a:rPr lang="en-US"/>
            </a:br>
            <a:r>
              <a:rPr lang="en-US"/>
              <a:t>_______________________________</a:t>
            </a:r>
          </a:p>
        </p:txBody>
      </p:sp>
      <p:pic>
        <p:nvPicPr>
          <p:cNvPr id="7" name="Picture 2" descr="Image result for ASTRAZENECA LOGO">
            <a:extLst>
              <a:ext uri="{FF2B5EF4-FFF2-40B4-BE49-F238E27FC236}">
                <a16:creationId xmlns:a16="http://schemas.microsoft.com/office/drawing/2014/main" id="{1ED72C3C-E918-420F-9374-6F1CBE3946F7}"/>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12276" y="576767"/>
            <a:ext cx="2405987" cy="651957"/>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a:extLst>
              <a:ext uri="{FF2B5EF4-FFF2-40B4-BE49-F238E27FC236}">
                <a16:creationId xmlns:a16="http://schemas.microsoft.com/office/drawing/2014/main" id="{632E5583-912E-4EA8-8EDC-7B6B86E76274}"/>
              </a:ext>
            </a:extLst>
          </p:cNvPr>
          <p:cNvSpPr>
            <a:spLocks noGrp="1"/>
          </p:cNvSpPr>
          <p:nvPr>
            <p:ph type="body" sz="quarter" idx="21" hasCustomPrompt="1"/>
          </p:nvPr>
        </p:nvSpPr>
        <p:spPr>
          <a:xfrm>
            <a:off x="407988" y="4328932"/>
            <a:ext cx="5184775" cy="1203767"/>
          </a:xfrm>
          <a:prstGeom prst="rect">
            <a:avLst/>
          </a:prstGeom>
        </p:spPr>
        <p:txBody>
          <a:bodyPr lIns="0">
            <a:normAutofit/>
          </a:bodyPr>
          <a:lstStyle>
            <a:lvl1pPr marL="0" indent="0">
              <a:lnSpc>
                <a:spcPct val="100000"/>
              </a:lnSpc>
              <a:buNone/>
              <a:defRPr sz="2400">
                <a:solidFill>
                  <a:schemeClr val="tx1"/>
                </a:solidFill>
              </a:defRPr>
            </a:lvl1pPr>
          </a:lstStyle>
          <a:p>
            <a:pPr lvl="0"/>
            <a:r>
              <a:rPr lang="en-US"/>
              <a:t>Click to add subtitle / presenter name</a:t>
            </a:r>
          </a:p>
        </p:txBody>
      </p:sp>
      <p:sp>
        <p:nvSpPr>
          <p:cNvPr id="12" name="Rectangle 11">
            <a:extLst>
              <a:ext uri="{FF2B5EF4-FFF2-40B4-BE49-F238E27FC236}">
                <a16:creationId xmlns:a16="http://schemas.microsoft.com/office/drawing/2014/main" id="{06231862-37A9-4364-9D96-47810B11870D}"/>
              </a:ext>
            </a:extLst>
          </p:cNvPr>
          <p:cNvSpPr/>
          <p:nvPr userDrawn="1"/>
        </p:nvSpPr>
        <p:spPr>
          <a:xfrm>
            <a:off x="342900" y="404813"/>
            <a:ext cx="2794000" cy="920488"/>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3" name="Date Placeholder 2">
            <a:extLst>
              <a:ext uri="{FF2B5EF4-FFF2-40B4-BE49-F238E27FC236}">
                <a16:creationId xmlns:a16="http://schemas.microsoft.com/office/drawing/2014/main" id="{39E6A1CD-3FD6-4AD3-876A-75F060E88A2E}"/>
              </a:ext>
            </a:extLst>
          </p:cNvPr>
          <p:cNvSpPr>
            <a:spLocks noGrp="1"/>
          </p:cNvSpPr>
          <p:nvPr>
            <p:ph type="dt" sz="half" idx="26"/>
          </p:nvPr>
        </p:nvSpPr>
        <p:spPr>
          <a:xfrm>
            <a:off x="407987" y="5887668"/>
            <a:ext cx="1279358" cy="309145"/>
          </a:xfrm>
        </p:spPr>
        <p:txBody>
          <a:bodyPr lIns="0"/>
          <a:lstStyle>
            <a:lvl1pPr algn="l">
              <a:lnSpc>
                <a:spcPct val="100000"/>
              </a:lnSpc>
              <a:defRPr/>
            </a:lvl1pPr>
          </a:lstStyle>
          <a:p>
            <a:endParaRPr lang="en-GB"/>
          </a:p>
        </p:txBody>
      </p:sp>
      <p:sp>
        <p:nvSpPr>
          <p:cNvPr id="8" name="Text Placeholder 7">
            <a:extLst>
              <a:ext uri="{FF2B5EF4-FFF2-40B4-BE49-F238E27FC236}">
                <a16:creationId xmlns:a16="http://schemas.microsoft.com/office/drawing/2014/main" id="{7468ED59-10F2-418A-8E8D-5A205AB6BDFD}"/>
              </a:ext>
            </a:extLst>
          </p:cNvPr>
          <p:cNvSpPr>
            <a:spLocks noGrp="1"/>
          </p:cNvSpPr>
          <p:nvPr>
            <p:ph type="body" sz="quarter" idx="27" hasCustomPrompt="1"/>
          </p:nvPr>
        </p:nvSpPr>
        <p:spPr>
          <a:xfrm>
            <a:off x="407988" y="6420976"/>
            <a:ext cx="5184775" cy="234286"/>
          </a:xfrm>
        </p:spPr>
        <p:txBody>
          <a:bodyPr lIns="0" tIns="36000" rIns="0" bIns="36000" anchor="ctr" anchorCtr="0">
            <a:spAutoFit/>
          </a:bodyPr>
          <a:lstStyle>
            <a:lvl1pPr marL="0" indent="0">
              <a:lnSpc>
                <a:spcPct val="100000"/>
              </a:lnSpc>
              <a:buNone/>
              <a:defRPr sz="1050"/>
            </a:lvl1pPr>
            <a:lvl2pPr marL="432000" indent="0">
              <a:buNone/>
              <a:defRPr sz="1050"/>
            </a:lvl2pPr>
            <a:lvl3pPr marL="684000" indent="0">
              <a:buNone/>
              <a:defRPr sz="1050"/>
            </a:lvl3pPr>
            <a:lvl4pPr marL="828000" indent="0">
              <a:buNone/>
              <a:defRPr sz="1050"/>
            </a:lvl4pPr>
            <a:lvl5pPr marL="959400" indent="0">
              <a:buNone/>
              <a:defRPr sz="1050"/>
            </a:lvl5pPr>
          </a:lstStyle>
          <a:p>
            <a:pPr lvl="0"/>
            <a:r>
              <a:rPr lang="en-US"/>
              <a:t>Click to add confidentiality statement here</a:t>
            </a:r>
          </a:p>
        </p:txBody>
      </p:sp>
    </p:spTree>
    <p:custDataLst>
      <p:tags r:id="rId1"/>
    </p:custDataLst>
    <p:extLst>
      <p:ext uri="{BB962C8B-B14F-4D97-AF65-F5344CB8AC3E}">
        <p14:creationId xmlns:p14="http://schemas.microsoft.com/office/powerpoint/2010/main" val="3791377985"/>
      </p:ext>
    </p:extLst>
  </p:cSld>
  <p:clrMapOvr>
    <a:masterClrMapping/>
  </p:clrMapOvr>
  <p:extLst>
    <p:ext uri="{DCECCB84-F9BA-43D5-87BE-67443E8EF086}">
      <p15:sldGuideLst xmlns:p15="http://schemas.microsoft.com/office/powerpoint/2012/main">
        <p15:guide id="1" pos="3522">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marL="0" indent="0">
              <a:spcAft>
                <a:spcPts val="0"/>
              </a:spcAft>
              <a:buNone/>
              <a:defRPr sz="800">
                <a:solidFill>
                  <a:srgbClr val="7F7F7F"/>
                </a:solidFill>
              </a:defRPr>
            </a:lvl1pPr>
          </a:lstStyle>
          <a:p>
            <a:pPr lvl="0"/>
            <a:r>
              <a:rPr lang="en-US"/>
              <a:t>Footnotes</a:t>
            </a:r>
          </a:p>
        </p:txBody>
      </p:sp>
    </p:spTree>
    <p:custDataLst>
      <p:tags r:id="rId1"/>
    </p:custDataLst>
    <p:extLst>
      <p:ext uri="{BB962C8B-B14F-4D97-AF65-F5344CB8AC3E}">
        <p14:creationId xmlns:p14="http://schemas.microsoft.com/office/powerpoint/2010/main" val="854105194"/>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marL="0" indent="0">
              <a:spcAft>
                <a:spcPts val="0"/>
              </a:spcAft>
              <a:buNone/>
              <a:defRPr sz="800">
                <a:solidFill>
                  <a:srgbClr val="7F7F7F"/>
                </a:solidFill>
              </a:defRPr>
            </a:lvl1pPr>
          </a:lstStyle>
          <a:p>
            <a:pPr lvl="0"/>
            <a:r>
              <a:rPr lang="en-US"/>
              <a:t>Footnotes</a:t>
            </a:r>
          </a:p>
        </p:txBody>
      </p:sp>
      <p:sp>
        <p:nvSpPr>
          <p:cNvPr id="3" name="Title 1">
            <a:extLst>
              <a:ext uri="{FF2B5EF4-FFF2-40B4-BE49-F238E27FC236}">
                <a16:creationId xmlns:a16="http://schemas.microsoft.com/office/drawing/2014/main" id="{B81F2044-7AAA-56B0-76DE-145C53F4DF7C}"/>
              </a:ext>
            </a:extLst>
          </p:cNvPr>
          <p:cNvSpPr>
            <a:spLocks noGrp="1"/>
          </p:cNvSpPr>
          <p:nvPr>
            <p:ph type="title" hasCustomPrompt="1"/>
          </p:nvPr>
        </p:nvSpPr>
        <p:spPr>
          <a:xfrm>
            <a:off x="407987" y="404812"/>
            <a:ext cx="11376025" cy="1007427"/>
          </a:xfrm>
        </p:spPr>
        <p:txBody>
          <a:bodyPr/>
          <a:lstStyle>
            <a:lvl1pPr>
              <a:defRPr/>
            </a:lvl1pPr>
          </a:lstStyle>
          <a:p>
            <a:r>
              <a:rPr lang="en-US"/>
              <a:t>Click to enter title here</a:t>
            </a:r>
          </a:p>
        </p:txBody>
      </p:sp>
    </p:spTree>
    <p:custDataLst>
      <p:tags r:id="rId1"/>
    </p:custDataLst>
    <p:extLst>
      <p:ext uri="{BB962C8B-B14F-4D97-AF65-F5344CB8AC3E}">
        <p14:creationId xmlns:p14="http://schemas.microsoft.com/office/powerpoint/2010/main" val="3001770913"/>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3" name="Title 1">
            <a:extLst>
              <a:ext uri="{FF2B5EF4-FFF2-40B4-BE49-F238E27FC236}">
                <a16:creationId xmlns:a16="http://schemas.microsoft.com/office/drawing/2014/main" id="{FB3D8C6F-FE83-A65D-83ED-4B78A0B2D2C4}"/>
              </a:ext>
            </a:extLst>
          </p:cNvPr>
          <p:cNvSpPr>
            <a:spLocks noGrp="1"/>
          </p:cNvSpPr>
          <p:nvPr>
            <p:ph type="title" hasCustomPrompt="1"/>
          </p:nvPr>
        </p:nvSpPr>
        <p:spPr>
          <a:xfrm>
            <a:off x="407987" y="404812"/>
            <a:ext cx="11376025" cy="1007427"/>
          </a:xfrm>
        </p:spPr>
        <p:txBody>
          <a:bodyPr/>
          <a:lstStyle>
            <a:lvl1pPr>
              <a:defRPr/>
            </a:lvl1pPr>
          </a:lstStyle>
          <a:p>
            <a:r>
              <a:rPr lang="en-US"/>
              <a:t>Click to enter title here</a:t>
            </a:r>
          </a:p>
        </p:txBody>
      </p:sp>
      <p:sp>
        <p:nvSpPr>
          <p:cNvPr id="4" name="Text Placeholder 96">
            <a:extLst>
              <a:ext uri="{FF2B5EF4-FFF2-40B4-BE49-F238E27FC236}">
                <a16:creationId xmlns:a16="http://schemas.microsoft.com/office/drawing/2014/main" id="{001215E2-CA1E-48F0-0D87-830979CE716E}"/>
              </a:ext>
            </a:extLst>
          </p:cNvPr>
          <p:cNvSpPr>
            <a:spLocks noGrp="1"/>
          </p:cNvSpPr>
          <p:nvPr>
            <p:ph type="body" sz="quarter" idx="111" hasCustomPrompt="1"/>
          </p:nvPr>
        </p:nvSpPr>
        <p:spPr>
          <a:xfrm>
            <a:off x="407988" y="6200774"/>
            <a:ext cx="9729787" cy="657225"/>
          </a:xfrm>
        </p:spPr>
        <p:txBody>
          <a:bodyPr anchor="b" anchorCtr="0">
            <a:noAutofit/>
          </a:bodyPr>
          <a:lstStyle>
            <a:lvl1pPr marL="0" indent="0">
              <a:spcAft>
                <a:spcPts val="0"/>
              </a:spcAft>
              <a:buNone/>
              <a:defRPr sz="800">
                <a:solidFill>
                  <a:srgbClr val="7F7F7F"/>
                </a:solidFill>
              </a:defRPr>
            </a:lvl1pPr>
          </a:lstStyle>
          <a:p>
            <a:pPr lvl="0"/>
            <a:r>
              <a:rPr lang="en-US"/>
              <a:t>Footnotes</a:t>
            </a:r>
          </a:p>
        </p:txBody>
      </p:sp>
    </p:spTree>
    <p:custDataLst>
      <p:tags r:id="rId1"/>
    </p:custDataLst>
    <p:extLst>
      <p:ext uri="{BB962C8B-B14F-4D97-AF65-F5344CB8AC3E}">
        <p14:creationId xmlns:p14="http://schemas.microsoft.com/office/powerpoint/2010/main" val="2187892062"/>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marL="0" indent="0">
              <a:spcAft>
                <a:spcPts val="0"/>
              </a:spcAft>
              <a:buNone/>
              <a:defRPr sz="800">
                <a:solidFill>
                  <a:srgbClr val="7F7F7F"/>
                </a:solidFill>
              </a:defRPr>
            </a:lvl1pPr>
          </a:lstStyle>
          <a:p>
            <a:pPr lvl="0"/>
            <a:r>
              <a:rPr lang="en-US"/>
              <a:t>Footnotes</a:t>
            </a:r>
          </a:p>
        </p:txBody>
      </p:sp>
      <p:sp>
        <p:nvSpPr>
          <p:cNvPr id="3" name="Title 1">
            <a:extLst>
              <a:ext uri="{FF2B5EF4-FFF2-40B4-BE49-F238E27FC236}">
                <a16:creationId xmlns:a16="http://schemas.microsoft.com/office/drawing/2014/main" id="{6D95EF47-6638-4BAE-71AF-A88624BD5E53}"/>
              </a:ext>
            </a:extLst>
          </p:cNvPr>
          <p:cNvSpPr>
            <a:spLocks noGrp="1"/>
          </p:cNvSpPr>
          <p:nvPr>
            <p:ph type="title" hasCustomPrompt="1"/>
          </p:nvPr>
        </p:nvSpPr>
        <p:spPr>
          <a:xfrm>
            <a:off x="407987" y="404812"/>
            <a:ext cx="11376025" cy="1007427"/>
          </a:xfrm>
        </p:spPr>
        <p:txBody>
          <a:bodyPr/>
          <a:lstStyle>
            <a:lvl1pPr>
              <a:defRPr/>
            </a:lvl1pPr>
          </a:lstStyle>
          <a:p>
            <a:r>
              <a:rPr lang="en-US" dirty="0"/>
              <a:t>Click to enter title here</a:t>
            </a:r>
          </a:p>
        </p:txBody>
      </p:sp>
    </p:spTree>
    <p:custDataLst>
      <p:tags r:id="rId1"/>
    </p:custDataLst>
    <p:extLst>
      <p:ext uri="{BB962C8B-B14F-4D97-AF65-F5344CB8AC3E}">
        <p14:creationId xmlns:p14="http://schemas.microsoft.com/office/powerpoint/2010/main" val="197924774"/>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marL="0" indent="0">
              <a:spcAft>
                <a:spcPts val="0"/>
              </a:spcAft>
              <a:buNone/>
              <a:defRPr sz="800">
                <a:solidFill>
                  <a:srgbClr val="7F7F7F"/>
                </a:solidFill>
              </a:defRPr>
            </a:lvl1pPr>
          </a:lstStyle>
          <a:p>
            <a:pPr lvl="0"/>
            <a:r>
              <a:rPr lang="en-US"/>
              <a:t>Footnotes</a:t>
            </a:r>
          </a:p>
        </p:txBody>
      </p:sp>
      <p:sp>
        <p:nvSpPr>
          <p:cNvPr id="3" name="Title 1">
            <a:extLst>
              <a:ext uri="{FF2B5EF4-FFF2-40B4-BE49-F238E27FC236}">
                <a16:creationId xmlns:a16="http://schemas.microsoft.com/office/drawing/2014/main" id="{3BFDAAD6-F106-863A-5B76-C74E7701DF1D}"/>
              </a:ext>
            </a:extLst>
          </p:cNvPr>
          <p:cNvSpPr>
            <a:spLocks noGrp="1"/>
          </p:cNvSpPr>
          <p:nvPr>
            <p:ph type="title" hasCustomPrompt="1"/>
          </p:nvPr>
        </p:nvSpPr>
        <p:spPr>
          <a:xfrm>
            <a:off x="407987" y="404812"/>
            <a:ext cx="11376025" cy="1007427"/>
          </a:xfrm>
        </p:spPr>
        <p:txBody>
          <a:bodyPr/>
          <a:lstStyle>
            <a:lvl1pPr>
              <a:defRPr/>
            </a:lvl1pPr>
          </a:lstStyle>
          <a:p>
            <a:r>
              <a:rPr lang="en-US"/>
              <a:t>Click to enter title here</a:t>
            </a:r>
          </a:p>
        </p:txBody>
      </p:sp>
    </p:spTree>
    <p:custDataLst>
      <p:tags r:id="rId1"/>
    </p:custDataLst>
    <p:extLst>
      <p:ext uri="{BB962C8B-B14F-4D97-AF65-F5344CB8AC3E}">
        <p14:creationId xmlns:p14="http://schemas.microsoft.com/office/powerpoint/2010/main" val="1281352205"/>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 Panc">
    <p:spTree>
      <p:nvGrpSpPr>
        <p:cNvPr id="1" name=""/>
        <p:cNvGrpSpPr/>
        <p:nvPr/>
      </p:nvGrpSpPr>
      <p:grpSpPr>
        <a:xfrm>
          <a:off x="0" y="0"/>
          <a:ext cx="0" cy="0"/>
          <a:chOff x="0" y="0"/>
          <a:chExt cx="0" cy="0"/>
        </a:xfrm>
      </p:grpSpPr>
      <p:pic>
        <p:nvPicPr>
          <p:cNvPr id="15" name="Hero Image">
            <a:extLst>
              <a:ext uri="{FF2B5EF4-FFF2-40B4-BE49-F238E27FC236}">
                <a16:creationId xmlns:a16="http://schemas.microsoft.com/office/drawing/2014/main" id="{6DEDAD3C-43C2-3F4A-9F5A-5F26570960CF}"/>
              </a:ext>
            </a:extLst>
          </p:cNvPr>
          <p:cNvPicPr>
            <a:picLocks noChangeAspect="1"/>
          </p:cNvPicPr>
          <p:nvPr userDrawn="1"/>
        </p:nvPicPr>
        <p:blipFill>
          <a:blip r:embed="rId2"/>
          <a:srcRect/>
          <a:stretch/>
        </p:blipFill>
        <p:spPr>
          <a:xfrm>
            <a:off x="0" y="0"/>
            <a:ext cx="12192000" cy="6858000"/>
          </a:xfrm>
          <a:prstGeom prst="rect">
            <a:avLst/>
          </a:prstGeom>
        </p:spPr>
      </p:pic>
      <p:sp>
        <p:nvSpPr>
          <p:cNvPr id="2" name="white Panel">
            <a:extLst>
              <a:ext uri="{FF2B5EF4-FFF2-40B4-BE49-F238E27FC236}">
                <a16:creationId xmlns:a16="http://schemas.microsoft.com/office/drawing/2014/main" id="{7061F24B-49BB-57C0-6F56-9B4BD2D1DCDD}"/>
              </a:ext>
            </a:extLst>
          </p:cNvPr>
          <p:cNvSpPr/>
          <p:nvPr userDrawn="1"/>
        </p:nvSpPr>
        <p:spPr>
          <a:xfrm>
            <a:off x="0" y="5995538"/>
            <a:ext cx="12192000" cy="8669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a:p>
        </p:txBody>
      </p:sp>
      <p:sp>
        <p:nvSpPr>
          <p:cNvPr id="8" name="Base Rule">
            <a:extLst>
              <a:ext uri="{FF2B5EF4-FFF2-40B4-BE49-F238E27FC236}">
                <a16:creationId xmlns:a16="http://schemas.microsoft.com/office/drawing/2014/main" id="{65C1A9EA-1B2B-963C-74DA-EDC98516C8C6}"/>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pic>
        <p:nvPicPr>
          <p:cNvPr id="3" name="AZ Logo">
            <a:extLst>
              <a:ext uri="{FF2B5EF4-FFF2-40B4-BE49-F238E27FC236}">
                <a16:creationId xmlns:a16="http://schemas.microsoft.com/office/drawing/2014/main" id="{69AA26CD-97CE-F7CD-54A9-C73DD251FCA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313781" y="6218640"/>
            <a:ext cx="1147048" cy="275941"/>
          </a:xfrm>
          <a:prstGeom prst="rect">
            <a:avLst/>
          </a:prstGeom>
        </p:spPr>
      </p:pic>
      <p:pic>
        <p:nvPicPr>
          <p:cNvPr id="4" name="MSD Logo">
            <a:extLst>
              <a:ext uri="{FF2B5EF4-FFF2-40B4-BE49-F238E27FC236}">
                <a16:creationId xmlns:a16="http://schemas.microsoft.com/office/drawing/2014/main" id="{0C5050CA-B0A8-7597-ABC4-90226061ACB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21791" y="6307032"/>
            <a:ext cx="668100" cy="244800"/>
          </a:xfrm>
          <a:prstGeom prst="rect">
            <a:avLst/>
          </a:prstGeom>
        </p:spPr>
      </p:pic>
      <p:pic>
        <p:nvPicPr>
          <p:cNvPr id="5" name="Lynparza Logo">
            <a:extLst>
              <a:ext uri="{FF2B5EF4-FFF2-40B4-BE49-F238E27FC236}">
                <a16:creationId xmlns:a16="http://schemas.microsoft.com/office/drawing/2014/main" id="{63CAB831-AAB8-C675-841E-4454A34EB6A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503678" y="5967483"/>
            <a:ext cx="1563703" cy="883611"/>
          </a:xfrm>
          <a:prstGeom prst="rect">
            <a:avLst/>
          </a:prstGeom>
        </p:spPr>
      </p:pic>
      <p:sp>
        <p:nvSpPr>
          <p:cNvPr id="6" name="Copy">
            <a:extLst>
              <a:ext uri="{FF2B5EF4-FFF2-40B4-BE49-F238E27FC236}">
                <a16:creationId xmlns:a16="http://schemas.microsoft.com/office/drawing/2014/main" id="{2555B414-04C8-8B18-A635-3EF86CB67E64}"/>
              </a:ext>
            </a:extLst>
          </p:cNvPr>
          <p:cNvSpPr/>
          <p:nvPr userDrawn="1"/>
        </p:nvSpPr>
        <p:spPr>
          <a:xfrm>
            <a:off x="3769070" y="6340693"/>
            <a:ext cx="6277455" cy="153888"/>
          </a:xfrm>
          <a:prstGeom prst="rect">
            <a:avLst/>
          </a:prstGeom>
        </p:spPr>
        <p:txBody>
          <a:bodyPr wrap="square" lIns="0"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sp>
        <p:nvSpPr>
          <p:cNvPr id="21" name="Rectangle 4">
            <a:extLst>
              <a:ext uri="{FF2B5EF4-FFF2-40B4-BE49-F238E27FC236}">
                <a16:creationId xmlns:a16="http://schemas.microsoft.com/office/drawing/2014/main" id="{9853B1C0-16D9-6549-93DF-7A7D686CBA85}"/>
              </a:ext>
            </a:extLst>
          </p:cNvPr>
          <p:cNvSpPr/>
          <p:nvPr/>
        </p:nvSpPr>
        <p:spPr>
          <a:xfrm>
            <a:off x="2" y="2366750"/>
            <a:ext cx="5805055" cy="2024095"/>
          </a:xfrm>
          <a:custGeom>
            <a:avLst/>
            <a:gdLst>
              <a:gd name="connsiteX0" fmla="*/ 0 w 3324387"/>
              <a:gd name="connsiteY0" fmla="*/ 0 h 830720"/>
              <a:gd name="connsiteX1" fmla="*/ 3324387 w 3324387"/>
              <a:gd name="connsiteY1" fmla="*/ 0 h 830720"/>
              <a:gd name="connsiteX2" fmla="*/ 3324387 w 3324387"/>
              <a:gd name="connsiteY2" fmla="*/ 830720 h 830720"/>
              <a:gd name="connsiteX3" fmla="*/ 0 w 3324387"/>
              <a:gd name="connsiteY3" fmla="*/ 830720 h 830720"/>
              <a:gd name="connsiteX4" fmla="*/ 0 w 3324387"/>
              <a:gd name="connsiteY4" fmla="*/ 0 h 830720"/>
              <a:gd name="connsiteX0" fmla="*/ 0 w 3324387"/>
              <a:gd name="connsiteY0" fmla="*/ 0 h 830720"/>
              <a:gd name="connsiteX1" fmla="*/ 3324387 w 3324387"/>
              <a:gd name="connsiteY1" fmla="*/ 0 h 830720"/>
              <a:gd name="connsiteX2" fmla="*/ 2998923 w 3324387"/>
              <a:gd name="connsiteY2" fmla="*/ 815222 h 830720"/>
              <a:gd name="connsiteX3" fmla="*/ 0 w 3324387"/>
              <a:gd name="connsiteY3" fmla="*/ 830720 h 830720"/>
              <a:gd name="connsiteX4" fmla="*/ 0 w 3324387"/>
              <a:gd name="connsiteY4" fmla="*/ 0 h 830720"/>
              <a:gd name="connsiteX0" fmla="*/ 0 w 3324387"/>
              <a:gd name="connsiteY0" fmla="*/ 0 h 830720"/>
              <a:gd name="connsiteX1" fmla="*/ 3324387 w 3324387"/>
              <a:gd name="connsiteY1" fmla="*/ 0 h 830720"/>
              <a:gd name="connsiteX2" fmla="*/ 3200401 w 3324387"/>
              <a:gd name="connsiteY2" fmla="*/ 830720 h 830720"/>
              <a:gd name="connsiteX3" fmla="*/ 0 w 3324387"/>
              <a:gd name="connsiteY3" fmla="*/ 830720 h 830720"/>
              <a:gd name="connsiteX4" fmla="*/ 0 w 3324387"/>
              <a:gd name="connsiteY4" fmla="*/ 0 h 830720"/>
              <a:gd name="connsiteX0" fmla="*/ 0 w 3384738"/>
              <a:gd name="connsiteY0" fmla="*/ 0 h 830720"/>
              <a:gd name="connsiteX1" fmla="*/ 3384738 w 3384738"/>
              <a:gd name="connsiteY1" fmla="*/ 5713 h 830720"/>
              <a:gd name="connsiteX2" fmla="*/ 3200401 w 3384738"/>
              <a:gd name="connsiteY2" fmla="*/ 830720 h 830720"/>
              <a:gd name="connsiteX3" fmla="*/ 0 w 3384738"/>
              <a:gd name="connsiteY3" fmla="*/ 830720 h 830720"/>
              <a:gd name="connsiteX4" fmla="*/ 0 w 3384738"/>
              <a:gd name="connsiteY4" fmla="*/ 0 h 830720"/>
              <a:gd name="connsiteX0" fmla="*/ 0 w 3380427"/>
              <a:gd name="connsiteY0" fmla="*/ 0 h 830720"/>
              <a:gd name="connsiteX1" fmla="*/ 3380427 w 3380427"/>
              <a:gd name="connsiteY1" fmla="*/ 0 h 830720"/>
              <a:gd name="connsiteX2" fmla="*/ 3200401 w 3380427"/>
              <a:gd name="connsiteY2" fmla="*/ 830720 h 830720"/>
              <a:gd name="connsiteX3" fmla="*/ 0 w 3380427"/>
              <a:gd name="connsiteY3" fmla="*/ 830720 h 830720"/>
              <a:gd name="connsiteX4" fmla="*/ 0 w 3380427"/>
              <a:gd name="connsiteY4" fmla="*/ 0 h 830720"/>
              <a:gd name="connsiteX0" fmla="*/ 0 w 3380427"/>
              <a:gd name="connsiteY0" fmla="*/ 0 h 830720"/>
              <a:gd name="connsiteX1" fmla="*/ 3380427 w 3380427"/>
              <a:gd name="connsiteY1" fmla="*/ 0 h 830720"/>
              <a:gd name="connsiteX2" fmla="*/ 3187469 w 3380427"/>
              <a:gd name="connsiteY2" fmla="*/ 830720 h 830720"/>
              <a:gd name="connsiteX3" fmla="*/ 0 w 3380427"/>
              <a:gd name="connsiteY3" fmla="*/ 830720 h 830720"/>
              <a:gd name="connsiteX4" fmla="*/ 0 w 3380427"/>
              <a:gd name="connsiteY4" fmla="*/ 0 h 830720"/>
              <a:gd name="connsiteX0" fmla="*/ 0 w 3380427"/>
              <a:gd name="connsiteY0" fmla="*/ 0 h 834607"/>
              <a:gd name="connsiteX1" fmla="*/ 3380427 w 3380427"/>
              <a:gd name="connsiteY1" fmla="*/ 0 h 834607"/>
              <a:gd name="connsiteX2" fmla="*/ 3198448 w 3380427"/>
              <a:gd name="connsiteY2" fmla="*/ 834607 h 834607"/>
              <a:gd name="connsiteX3" fmla="*/ 0 w 3380427"/>
              <a:gd name="connsiteY3" fmla="*/ 830720 h 834607"/>
              <a:gd name="connsiteX4" fmla="*/ 0 w 3380427"/>
              <a:gd name="connsiteY4" fmla="*/ 0 h 834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0427" h="834607">
                <a:moveTo>
                  <a:pt x="0" y="0"/>
                </a:moveTo>
                <a:lnTo>
                  <a:pt x="3380427" y="0"/>
                </a:lnTo>
                <a:lnTo>
                  <a:pt x="3198448" y="834607"/>
                </a:lnTo>
                <a:lnTo>
                  <a:pt x="0" y="830720"/>
                </a:lnTo>
                <a:lnTo>
                  <a:pt x="0" y="0"/>
                </a:lnTo>
                <a:close/>
              </a:path>
            </a:pathLst>
          </a:custGeom>
          <a:solidFill>
            <a:srgbClr val="960064">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a:p>
        </p:txBody>
      </p:sp>
      <p:sp>
        <p:nvSpPr>
          <p:cNvPr id="22" name="Rectangle 4">
            <a:extLst>
              <a:ext uri="{FF2B5EF4-FFF2-40B4-BE49-F238E27FC236}">
                <a16:creationId xmlns:a16="http://schemas.microsoft.com/office/drawing/2014/main" id="{AB3D998A-2CB3-234A-BFE7-4A83FE2C45D6}"/>
              </a:ext>
            </a:extLst>
          </p:cNvPr>
          <p:cNvSpPr/>
          <p:nvPr/>
        </p:nvSpPr>
        <p:spPr>
          <a:xfrm>
            <a:off x="1" y="1893241"/>
            <a:ext cx="5432219" cy="2014667"/>
          </a:xfrm>
          <a:custGeom>
            <a:avLst/>
            <a:gdLst>
              <a:gd name="connsiteX0" fmla="*/ 0 w 3324387"/>
              <a:gd name="connsiteY0" fmla="*/ 0 h 830720"/>
              <a:gd name="connsiteX1" fmla="*/ 3324387 w 3324387"/>
              <a:gd name="connsiteY1" fmla="*/ 0 h 830720"/>
              <a:gd name="connsiteX2" fmla="*/ 3324387 w 3324387"/>
              <a:gd name="connsiteY2" fmla="*/ 830720 h 830720"/>
              <a:gd name="connsiteX3" fmla="*/ 0 w 3324387"/>
              <a:gd name="connsiteY3" fmla="*/ 830720 h 830720"/>
              <a:gd name="connsiteX4" fmla="*/ 0 w 3324387"/>
              <a:gd name="connsiteY4" fmla="*/ 0 h 830720"/>
              <a:gd name="connsiteX0" fmla="*/ 0 w 3324387"/>
              <a:gd name="connsiteY0" fmla="*/ 0 h 830720"/>
              <a:gd name="connsiteX1" fmla="*/ 3324387 w 3324387"/>
              <a:gd name="connsiteY1" fmla="*/ 0 h 830720"/>
              <a:gd name="connsiteX2" fmla="*/ 2998923 w 3324387"/>
              <a:gd name="connsiteY2" fmla="*/ 815222 h 830720"/>
              <a:gd name="connsiteX3" fmla="*/ 0 w 3324387"/>
              <a:gd name="connsiteY3" fmla="*/ 830720 h 830720"/>
              <a:gd name="connsiteX4" fmla="*/ 0 w 3324387"/>
              <a:gd name="connsiteY4" fmla="*/ 0 h 830720"/>
              <a:gd name="connsiteX0" fmla="*/ 0 w 3324387"/>
              <a:gd name="connsiteY0" fmla="*/ 0 h 830720"/>
              <a:gd name="connsiteX1" fmla="*/ 3324387 w 3324387"/>
              <a:gd name="connsiteY1" fmla="*/ 0 h 830720"/>
              <a:gd name="connsiteX2" fmla="*/ 3200401 w 3324387"/>
              <a:gd name="connsiteY2" fmla="*/ 830720 h 830720"/>
              <a:gd name="connsiteX3" fmla="*/ 0 w 3324387"/>
              <a:gd name="connsiteY3" fmla="*/ 830720 h 830720"/>
              <a:gd name="connsiteX4" fmla="*/ 0 w 3324387"/>
              <a:gd name="connsiteY4" fmla="*/ 0 h 830720"/>
              <a:gd name="connsiteX0" fmla="*/ 0 w 3384738"/>
              <a:gd name="connsiteY0" fmla="*/ 0 h 830720"/>
              <a:gd name="connsiteX1" fmla="*/ 3384738 w 3384738"/>
              <a:gd name="connsiteY1" fmla="*/ 5713 h 830720"/>
              <a:gd name="connsiteX2" fmla="*/ 3200401 w 3384738"/>
              <a:gd name="connsiteY2" fmla="*/ 830720 h 830720"/>
              <a:gd name="connsiteX3" fmla="*/ 0 w 3384738"/>
              <a:gd name="connsiteY3" fmla="*/ 830720 h 830720"/>
              <a:gd name="connsiteX4" fmla="*/ 0 w 3384738"/>
              <a:gd name="connsiteY4" fmla="*/ 0 h 830720"/>
              <a:gd name="connsiteX0" fmla="*/ 0 w 3380427"/>
              <a:gd name="connsiteY0" fmla="*/ 0 h 830720"/>
              <a:gd name="connsiteX1" fmla="*/ 3380427 w 3380427"/>
              <a:gd name="connsiteY1" fmla="*/ 0 h 830720"/>
              <a:gd name="connsiteX2" fmla="*/ 3200401 w 3380427"/>
              <a:gd name="connsiteY2" fmla="*/ 830720 h 830720"/>
              <a:gd name="connsiteX3" fmla="*/ 0 w 3380427"/>
              <a:gd name="connsiteY3" fmla="*/ 830720 h 830720"/>
              <a:gd name="connsiteX4" fmla="*/ 0 w 3380427"/>
              <a:gd name="connsiteY4" fmla="*/ 0 h 830720"/>
              <a:gd name="connsiteX0" fmla="*/ 0 w 3380427"/>
              <a:gd name="connsiteY0" fmla="*/ 0 h 830720"/>
              <a:gd name="connsiteX1" fmla="*/ 3380427 w 3380427"/>
              <a:gd name="connsiteY1" fmla="*/ 0 h 830720"/>
              <a:gd name="connsiteX2" fmla="*/ 3187469 w 3380427"/>
              <a:gd name="connsiteY2" fmla="*/ 830720 h 830720"/>
              <a:gd name="connsiteX3" fmla="*/ 0 w 3380427"/>
              <a:gd name="connsiteY3" fmla="*/ 830720 h 830720"/>
              <a:gd name="connsiteX4" fmla="*/ 0 w 3380427"/>
              <a:gd name="connsiteY4" fmla="*/ 0 h 830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0427" h="830720">
                <a:moveTo>
                  <a:pt x="0" y="0"/>
                </a:moveTo>
                <a:lnTo>
                  <a:pt x="3380427" y="0"/>
                </a:lnTo>
                <a:lnTo>
                  <a:pt x="3187469" y="830720"/>
                </a:lnTo>
                <a:lnTo>
                  <a:pt x="0" y="830720"/>
                </a:lnTo>
                <a:lnTo>
                  <a:pt x="0" y="0"/>
                </a:lnTo>
                <a:close/>
              </a:path>
            </a:pathLst>
          </a:cu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48" name="Sub Head">
            <a:extLst>
              <a:ext uri="{FF2B5EF4-FFF2-40B4-BE49-F238E27FC236}">
                <a16:creationId xmlns:a16="http://schemas.microsoft.com/office/drawing/2014/main" id="{1DF68E80-9F83-8B48-97B3-37D54158AC0D}"/>
              </a:ext>
            </a:extLst>
          </p:cNvPr>
          <p:cNvSpPr>
            <a:spLocks noGrp="1"/>
          </p:cNvSpPr>
          <p:nvPr>
            <p:ph type="body" sz="quarter" idx="10" hasCustomPrompt="1"/>
          </p:nvPr>
        </p:nvSpPr>
        <p:spPr>
          <a:xfrm>
            <a:off x="734401" y="3434400"/>
            <a:ext cx="4205140" cy="410883"/>
          </a:xfrm>
          <a:prstGeom prst="rect">
            <a:avLst/>
          </a:prstGeom>
        </p:spPr>
        <p:txBody>
          <a:bodyPr wrap="square" lIns="0">
            <a:normAutofit/>
          </a:bodyPr>
          <a:lstStyle>
            <a:lvl1pPr marL="0" indent="0">
              <a:lnSpc>
                <a:spcPct val="100000"/>
              </a:lnSpc>
              <a:buNone/>
              <a:defRPr sz="2300" i="1">
                <a:solidFill>
                  <a:schemeClr val="bg1"/>
                </a:solidFill>
                <a:latin typeface="Arial" panose="020B0604020202020204" pitchFamily="34" charset="0"/>
                <a:cs typeface="Arial" panose="020B0604020202020204" pitchFamily="34" charset="0"/>
              </a:defRPr>
            </a:lvl1pPr>
            <a:lvl2pPr marL="457189" indent="0">
              <a:buNone/>
              <a:defRPr sz="2300" i="1">
                <a:solidFill>
                  <a:schemeClr val="tx2"/>
                </a:solidFill>
                <a:latin typeface="Arial" panose="020B0604020202020204" pitchFamily="34" charset="0"/>
                <a:cs typeface="Arial" panose="020B0604020202020204" pitchFamily="34" charset="0"/>
              </a:defRPr>
            </a:lvl2pPr>
            <a:lvl3pPr marL="914377" indent="0">
              <a:buNone/>
              <a:defRPr sz="2300" i="1">
                <a:solidFill>
                  <a:schemeClr val="tx2"/>
                </a:solidFill>
                <a:latin typeface="Arial" panose="020B0604020202020204" pitchFamily="34" charset="0"/>
                <a:cs typeface="Arial" panose="020B0604020202020204" pitchFamily="34" charset="0"/>
              </a:defRPr>
            </a:lvl3pPr>
            <a:lvl4pPr marL="1371566" indent="0">
              <a:buNone/>
              <a:defRPr sz="2300" i="1">
                <a:solidFill>
                  <a:schemeClr val="tx2"/>
                </a:solidFill>
                <a:latin typeface="Arial" panose="020B0604020202020204" pitchFamily="34" charset="0"/>
                <a:cs typeface="Arial" panose="020B0604020202020204" pitchFamily="34" charset="0"/>
              </a:defRPr>
            </a:lvl4pPr>
            <a:lvl5pPr marL="1828754" indent="0">
              <a:buNone/>
              <a:defRPr sz="2300" i="1">
                <a:solidFill>
                  <a:schemeClr val="tx2"/>
                </a:solidFill>
                <a:latin typeface="Arial" panose="020B0604020202020204" pitchFamily="34" charset="0"/>
                <a:cs typeface="Arial" panose="020B0604020202020204" pitchFamily="34" charset="0"/>
              </a:defRPr>
            </a:lvl5pPr>
          </a:lstStyle>
          <a:p>
            <a:pPr lvl="0"/>
            <a:r>
              <a:rPr lang="en-US" dirty="0"/>
              <a:t>SUB HEADER</a:t>
            </a:r>
          </a:p>
        </p:txBody>
      </p:sp>
      <p:sp>
        <p:nvSpPr>
          <p:cNvPr id="7" name="Title">
            <a:extLst>
              <a:ext uri="{FF2B5EF4-FFF2-40B4-BE49-F238E27FC236}">
                <a16:creationId xmlns:a16="http://schemas.microsoft.com/office/drawing/2014/main" id="{8CB98203-3CE1-F64E-BB23-DC01D54CF085}"/>
              </a:ext>
            </a:extLst>
          </p:cNvPr>
          <p:cNvSpPr>
            <a:spLocks noGrp="1"/>
          </p:cNvSpPr>
          <p:nvPr>
            <p:ph type="body" sz="quarter" idx="11" hasCustomPrompt="1"/>
          </p:nvPr>
        </p:nvSpPr>
        <p:spPr>
          <a:xfrm>
            <a:off x="734400" y="2459109"/>
            <a:ext cx="4244400" cy="882935"/>
          </a:xfrm>
          <a:prstGeom prst="rect">
            <a:avLst/>
          </a:prstGeom>
        </p:spPr>
        <p:txBody>
          <a:bodyPr lIns="0" tIns="0" bIns="0" anchor="t" anchorCtr="0">
            <a:normAutofit/>
          </a:bodyPr>
          <a:lstStyle>
            <a:lvl1pPr marL="0" indent="0">
              <a:lnSpc>
                <a:spcPct val="100000"/>
              </a:lnSpc>
              <a:buNone/>
              <a:defRPr sz="2600" b="1" i="1">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ITLE </a:t>
            </a:r>
          </a:p>
        </p:txBody>
      </p:sp>
    </p:spTree>
    <p:extLst>
      <p:ext uri="{BB962C8B-B14F-4D97-AF65-F5344CB8AC3E}">
        <p14:creationId xmlns:p14="http://schemas.microsoft.com/office/powerpoint/2010/main" val="8354529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marL="0" indent="0">
              <a:spcAft>
                <a:spcPts val="0"/>
              </a:spcAft>
              <a:buNone/>
              <a:defRPr sz="800">
                <a:solidFill>
                  <a:srgbClr val="7F7F7F"/>
                </a:solidFill>
              </a:defRPr>
            </a:lvl1pPr>
          </a:lstStyle>
          <a:p>
            <a:pPr lvl="0"/>
            <a:r>
              <a:rPr lang="en-US"/>
              <a:t>Footnotes</a:t>
            </a:r>
          </a:p>
        </p:txBody>
      </p:sp>
      <p:sp>
        <p:nvSpPr>
          <p:cNvPr id="3" name="Title 1">
            <a:extLst>
              <a:ext uri="{FF2B5EF4-FFF2-40B4-BE49-F238E27FC236}">
                <a16:creationId xmlns:a16="http://schemas.microsoft.com/office/drawing/2014/main" id="{D3314897-52E8-1395-6584-2F4D65BE15B6}"/>
              </a:ext>
            </a:extLst>
          </p:cNvPr>
          <p:cNvSpPr>
            <a:spLocks noGrp="1"/>
          </p:cNvSpPr>
          <p:nvPr>
            <p:ph type="title" hasCustomPrompt="1"/>
          </p:nvPr>
        </p:nvSpPr>
        <p:spPr>
          <a:xfrm>
            <a:off x="407987" y="404812"/>
            <a:ext cx="11376025" cy="1007427"/>
          </a:xfrm>
        </p:spPr>
        <p:txBody>
          <a:bodyPr/>
          <a:lstStyle>
            <a:lvl1pPr>
              <a:defRPr/>
            </a:lvl1pPr>
          </a:lstStyle>
          <a:p>
            <a:r>
              <a:rPr lang="en-US"/>
              <a:t>Click to enter title here</a:t>
            </a:r>
          </a:p>
        </p:txBody>
      </p:sp>
    </p:spTree>
    <p:custDataLst>
      <p:tags r:id="rId1"/>
    </p:custDataLst>
    <p:extLst>
      <p:ext uri="{BB962C8B-B14F-4D97-AF65-F5344CB8AC3E}">
        <p14:creationId xmlns:p14="http://schemas.microsoft.com/office/powerpoint/2010/main" val="464508533"/>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marL="0" indent="0">
              <a:spcAft>
                <a:spcPts val="0"/>
              </a:spcAft>
              <a:buNone/>
              <a:defRPr sz="800">
                <a:solidFill>
                  <a:srgbClr val="7F7F7F"/>
                </a:solidFill>
              </a:defRPr>
            </a:lvl1pPr>
          </a:lstStyle>
          <a:p>
            <a:pPr lvl="0"/>
            <a:r>
              <a:rPr lang="en-US"/>
              <a:t>Footnotes</a:t>
            </a:r>
          </a:p>
        </p:txBody>
      </p:sp>
      <p:sp>
        <p:nvSpPr>
          <p:cNvPr id="3" name="Title 1">
            <a:extLst>
              <a:ext uri="{FF2B5EF4-FFF2-40B4-BE49-F238E27FC236}">
                <a16:creationId xmlns:a16="http://schemas.microsoft.com/office/drawing/2014/main" id="{DB26520F-ECCA-A8D1-F311-543EEBB0E9A5}"/>
              </a:ext>
            </a:extLst>
          </p:cNvPr>
          <p:cNvSpPr>
            <a:spLocks noGrp="1"/>
          </p:cNvSpPr>
          <p:nvPr>
            <p:ph type="title" hasCustomPrompt="1"/>
          </p:nvPr>
        </p:nvSpPr>
        <p:spPr>
          <a:xfrm>
            <a:off x="407987" y="404812"/>
            <a:ext cx="11376025" cy="1007427"/>
          </a:xfrm>
        </p:spPr>
        <p:txBody>
          <a:bodyPr/>
          <a:lstStyle>
            <a:lvl1pPr>
              <a:defRPr/>
            </a:lvl1pPr>
          </a:lstStyle>
          <a:p>
            <a:r>
              <a:rPr lang="en-US"/>
              <a:t>Click to enter title here</a:t>
            </a:r>
          </a:p>
        </p:txBody>
      </p:sp>
    </p:spTree>
    <p:custDataLst>
      <p:tags r:id="rId1"/>
    </p:custDataLst>
    <p:extLst>
      <p:ext uri="{BB962C8B-B14F-4D97-AF65-F5344CB8AC3E}">
        <p14:creationId xmlns:p14="http://schemas.microsoft.com/office/powerpoint/2010/main" val="434390870"/>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marL="0" indent="0">
              <a:spcAft>
                <a:spcPts val="0"/>
              </a:spcAft>
              <a:buNone/>
              <a:defRPr sz="800">
                <a:solidFill>
                  <a:srgbClr val="7F7F7F"/>
                </a:solidFill>
              </a:defRPr>
            </a:lvl1pPr>
          </a:lstStyle>
          <a:p>
            <a:pPr lvl="0"/>
            <a:r>
              <a:rPr lang="en-US"/>
              <a:t>Footnotes</a:t>
            </a:r>
          </a:p>
        </p:txBody>
      </p:sp>
      <p:sp>
        <p:nvSpPr>
          <p:cNvPr id="3" name="Title 1">
            <a:extLst>
              <a:ext uri="{FF2B5EF4-FFF2-40B4-BE49-F238E27FC236}">
                <a16:creationId xmlns:a16="http://schemas.microsoft.com/office/drawing/2014/main" id="{AEFF892D-EB44-9D07-D143-A11D8B95B95B}"/>
              </a:ext>
            </a:extLst>
          </p:cNvPr>
          <p:cNvSpPr>
            <a:spLocks noGrp="1"/>
          </p:cNvSpPr>
          <p:nvPr>
            <p:ph type="title" hasCustomPrompt="1"/>
          </p:nvPr>
        </p:nvSpPr>
        <p:spPr>
          <a:xfrm>
            <a:off x="407987" y="404812"/>
            <a:ext cx="11376025" cy="1007427"/>
          </a:xfrm>
        </p:spPr>
        <p:txBody>
          <a:bodyPr/>
          <a:lstStyle>
            <a:lvl1pPr>
              <a:defRPr/>
            </a:lvl1pPr>
          </a:lstStyle>
          <a:p>
            <a:r>
              <a:rPr lang="en-US"/>
              <a:t>Click to enter title here</a:t>
            </a:r>
          </a:p>
        </p:txBody>
      </p:sp>
    </p:spTree>
    <p:custDataLst>
      <p:tags r:id="rId1"/>
    </p:custDataLst>
    <p:extLst>
      <p:ext uri="{BB962C8B-B14F-4D97-AF65-F5344CB8AC3E}">
        <p14:creationId xmlns:p14="http://schemas.microsoft.com/office/powerpoint/2010/main" val="545828223"/>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marL="0" indent="0">
              <a:spcAft>
                <a:spcPts val="0"/>
              </a:spcAft>
              <a:buNone/>
              <a:defRPr sz="800">
                <a:solidFill>
                  <a:srgbClr val="7F7F7F"/>
                </a:solidFill>
              </a:defRPr>
            </a:lvl1pPr>
          </a:lstStyle>
          <a:p>
            <a:pPr lvl="0"/>
            <a:r>
              <a:rPr lang="en-US"/>
              <a:t>Footnotes</a:t>
            </a:r>
          </a:p>
        </p:txBody>
      </p:sp>
      <p:sp>
        <p:nvSpPr>
          <p:cNvPr id="3" name="Title 1">
            <a:extLst>
              <a:ext uri="{FF2B5EF4-FFF2-40B4-BE49-F238E27FC236}">
                <a16:creationId xmlns:a16="http://schemas.microsoft.com/office/drawing/2014/main" id="{DE2D61FD-5DB0-EC95-BEEE-1BB56B428818}"/>
              </a:ext>
            </a:extLst>
          </p:cNvPr>
          <p:cNvSpPr>
            <a:spLocks noGrp="1"/>
          </p:cNvSpPr>
          <p:nvPr>
            <p:ph type="title" hasCustomPrompt="1"/>
          </p:nvPr>
        </p:nvSpPr>
        <p:spPr>
          <a:xfrm>
            <a:off x="407987" y="404812"/>
            <a:ext cx="11376025" cy="1007427"/>
          </a:xfrm>
        </p:spPr>
        <p:txBody>
          <a:bodyPr/>
          <a:lstStyle>
            <a:lvl1pPr>
              <a:defRPr/>
            </a:lvl1pPr>
          </a:lstStyle>
          <a:p>
            <a:r>
              <a:rPr lang="en-US"/>
              <a:t>Click to enter title here</a:t>
            </a:r>
          </a:p>
        </p:txBody>
      </p:sp>
    </p:spTree>
    <p:custDataLst>
      <p:tags r:id="rId1"/>
    </p:custDataLst>
    <p:extLst>
      <p:ext uri="{BB962C8B-B14F-4D97-AF65-F5344CB8AC3E}">
        <p14:creationId xmlns:p14="http://schemas.microsoft.com/office/powerpoint/2010/main" val="4248434351"/>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in Len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D0FA13F-5B1F-4795-B0E7-3E97B5D8E071}"/>
              </a:ext>
            </a:extLst>
          </p:cNvPr>
          <p:cNvSpPr>
            <a:spLocks noGrp="1"/>
          </p:cNvSpPr>
          <p:nvPr>
            <p:ph type="title" hasCustomPrompt="1"/>
          </p:nvPr>
        </p:nvSpPr>
        <p:spPr>
          <a:xfrm>
            <a:off x="1" y="-1"/>
            <a:ext cx="3875391" cy="4330700"/>
          </a:xfrm>
          <a:custGeom>
            <a:avLst/>
            <a:gdLst>
              <a:gd name="connsiteX0" fmla="*/ 417122 w 3875391"/>
              <a:gd name="connsiteY0" fmla="*/ 0 h 4330700"/>
              <a:gd name="connsiteX1" fmla="*/ 2700571 w 3875391"/>
              <a:gd name="connsiteY1" fmla="*/ 0 h 4330700"/>
              <a:gd name="connsiteX2" fmla="*/ 2854048 w 3875391"/>
              <a:gd name="connsiteY2" fmla="*/ 93240 h 4330700"/>
              <a:gd name="connsiteX3" fmla="*/ 3875391 w 3875391"/>
              <a:gd name="connsiteY3" fmla="*/ 2014156 h 4330700"/>
              <a:gd name="connsiteX4" fmla="*/ 3479762 w 3875391"/>
              <a:gd name="connsiteY4" fmla="*/ 3309358 h 4330700"/>
              <a:gd name="connsiteX5" fmla="*/ 3457575 w 3875391"/>
              <a:gd name="connsiteY5" fmla="*/ 3339027 h 4330700"/>
              <a:gd name="connsiteX6" fmla="*/ 3457575 w 3875391"/>
              <a:gd name="connsiteY6" fmla="*/ 3343274 h 4330700"/>
              <a:gd name="connsiteX7" fmla="*/ 3454399 w 3875391"/>
              <a:gd name="connsiteY7" fmla="*/ 3343274 h 4330700"/>
              <a:gd name="connsiteX8" fmla="*/ 3346405 w 3875391"/>
              <a:gd name="connsiteY8" fmla="*/ 3487693 h 4330700"/>
              <a:gd name="connsiteX9" fmla="*/ 1558846 w 3875391"/>
              <a:gd name="connsiteY9" fmla="*/ 4330700 h 4330700"/>
              <a:gd name="connsiteX10" fmla="*/ 85309 w 3875391"/>
              <a:gd name="connsiteY10" fmla="*/ 3801714 h 4330700"/>
              <a:gd name="connsiteX11" fmla="*/ 0 w 3875391"/>
              <a:gd name="connsiteY11" fmla="*/ 3724180 h 4330700"/>
              <a:gd name="connsiteX12" fmla="*/ 0 w 3875391"/>
              <a:gd name="connsiteY12" fmla="*/ 304131 h 4330700"/>
              <a:gd name="connsiteX13" fmla="*/ 85309 w 3875391"/>
              <a:gd name="connsiteY13" fmla="*/ 226597 h 4330700"/>
              <a:gd name="connsiteX14" fmla="*/ 263644 w 3875391"/>
              <a:gd name="connsiteY14" fmla="*/ 93240 h 433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75391" h="4330700">
                <a:moveTo>
                  <a:pt x="417122" y="0"/>
                </a:moveTo>
                <a:lnTo>
                  <a:pt x="2700571" y="0"/>
                </a:lnTo>
                <a:lnTo>
                  <a:pt x="2854048" y="93240"/>
                </a:lnTo>
                <a:cubicBezTo>
                  <a:pt x="3470253" y="509540"/>
                  <a:pt x="3875391" y="1214535"/>
                  <a:pt x="3875391" y="2014156"/>
                </a:cubicBezTo>
                <a:cubicBezTo>
                  <a:pt x="3875391" y="2493928"/>
                  <a:pt x="3729542" y="2939635"/>
                  <a:pt x="3479762" y="3309358"/>
                </a:cubicBezTo>
                <a:lnTo>
                  <a:pt x="3457575" y="3339027"/>
                </a:lnTo>
                <a:lnTo>
                  <a:pt x="3457575" y="3343274"/>
                </a:lnTo>
                <a:lnTo>
                  <a:pt x="3454399" y="3343274"/>
                </a:lnTo>
                <a:lnTo>
                  <a:pt x="3346405" y="3487693"/>
                </a:lnTo>
                <a:cubicBezTo>
                  <a:pt x="2921516" y="4002539"/>
                  <a:pt x="2278504" y="4330700"/>
                  <a:pt x="1558846" y="4330700"/>
                </a:cubicBezTo>
                <a:cubicBezTo>
                  <a:pt x="999112" y="4330700"/>
                  <a:pt x="485745" y="4132183"/>
                  <a:pt x="85309" y="3801714"/>
                </a:cubicBezTo>
                <a:lnTo>
                  <a:pt x="0" y="3724180"/>
                </a:lnTo>
                <a:lnTo>
                  <a:pt x="0" y="304131"/>
                </a:lnTo>
                <a:lnTo>
                  <a:pt x="85309" y="226597"/>
                </a:lnTo>
                <a:cubicBezTo>
                  <a:pt x="142514" y="179387"/>
                  <a:pt x="202023" y="134871"/>
                  <a:pt x="263644" y="93240"/>
                </a:cubicBezTo>
                <a:close/>
              </a:path>
            </a:pathLst>
          </a:custGeom>
          <a:solidFill>
            <a:schemeClr val="accent1"/>
          </a:solidFill>
        </p:spPr>
        <p:txBody>
          <a:bodyPr wrap="square" lIns="396000" tIns="360000" bIns="360000" anchor="ctr" anchorCtr="0">
            <a:normAutofit/>
          </a:bodyPr>
          <a:lstStyle>
            <a:lvl1pPr>
              <a:lnSpc>
                <a:spcPct val="100000"/>
              </a:lnSpc>
              <a:defRPr sz="4000">
                <a:solidFill>
                  <a:schemeClr val="bg1"/>
                </a:solidFill>
              </a:defRPr>
            </a:lvl1pPr>
          </a:lstStyle>
          <a:p>
            <a:r>
              <a:rPr lang="en-US"/>
              <a:t>Click to enter title here</a:t>
            </a:r>
          </a:p>
        </p:txBody>
      </p:sp>
      <p:cxnSp>
        <p:nvCxnSpPr>
          <p:cNvPr id="9" name="Straight Connector 8">
            <a:extLst>
              <a:ext uri="{FF2B5EF4-FFF2-40B4-BE49-F238E27FC236}">
                <a16:creationId xmlns:a16="http://schemas.microsoft.com/office/drawing/2014/main" id="{21040238-DCC8-4532-9AE6-EB7C834F336E}"/>
              </a:ext>
            </a:extLst>
          </p:cNvPr>
          <p:cNvCxnSpPr>
            <a:cxnSpLocks/>
          </p:cNvCxnSpPr>
          <p:nvPr userDrawn="1"/>
        </p:nvCxnSpPr>
        <p:spPr>
          <a:xfrm>
            <a:off x="3540125" y="3730171"/>
            <a:ext cx="0" cy="247956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75A4EBE2-41F7-48F4-B525-605699ECF92F}"/>
              </a:ext>
            </a:extLst>
          </p:cNvPr>
          <p:cNvSpPr>
            <a:spLocks noGrp="1"/>
          </p:cNvSpPr>
          <p:nvPr>
            <p:ph sz="quarter" idx="19" hasCustomPrompt="1"/>
          </p:nvPr>
        </p:nvSpPr>
        <p:spPr>
          <a:xfrm>
            <a:off x="4238625" y="404812"/>
            <a:ext cx="7545387" cy="5795961"/>
          </a:xfrm>
        </p:spPr>
        <p:txBody>
          <a:bodyPr>
            <a:noAutofit/>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792000" indent="-216000">
              <a:lnSpc>
                <a:spcPct val="100000"/>
              </a:lnSpc>
              <a:defRPr lang="en-US" sz="2000" kern="1200" dirty="0">
                <a:solidFill>
                  <a:schemeClr val="tx1"/>
                </a:solidFill>
                <a:latin typeface="+mn-lt"/>
                <a:ea typeface="+mn-ea"/>
                <a:cs typeface="+mn-cs"/>
              </a:defRPr>
            </a:lvl3pPr>
            <a:lvl4pPr marL="972000" indent="-2160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en-US"/>
              <a:t>Fourth level</a:t>
            </a:r>
          </a:p>
          <a:p>
            <a:pPr lvl="4"/>
            <a:r>
              <a:rPr lang="en-US"/>
              <a:t>Fifth level</a:t>
            </a:r>
          </a:p>
        </p:txBody>
      </p:sp>
      <p:sp>
        <p:nvSpPr>
          <p:cNvPr id="10" name="Date Placeholder 9">
            <a:extLst>
              <a:ext uri="{FF2B5EF4-FFF2-40B4-BE49-F238E27FC236}">
                <a16:creationId xmlns:a16="http://schemas.microsoft.com/office/drawing/2014/main" id="{59C580CE-4074-4379-8D68-E5118B13A13A}"/>
              </a:ext>
            </a:extLst>
          </p:cNvPr>
          <p:cNvSpPr>
            <a:spLocks noGrp="1"/>
          </p:cNvSpPr>
          <p:nvPr>
            <p:ph type="dt" sz="half" idx="20"/>
          </p:nvPr>
        </p:nvSpPr>
        <p:spPr/>
        <p:txBody>
          <a:bodyPr/>
          <a:lstStyle>
            <a:lvl1pPr>
              <a:lnSpc>
                <a:spcPct val="100000"/>
              </a:lnSpc>
              <a:defRPr/>
            </a:lvl1pPr>
          </a:lstStyle>
          <a:p>
            <a:endParaRPr lang="en-GB"/>
          </a:p>
        </p:txBody>
      </p:sp>
      <p:sp>
        <p:nvSpPr>
          <p:cNvPr id="13" name="Slide Number Placeholder 12">
            <a:extLst>
              <a:ext uri="{FF2B5EF4-FFF2-40B4-BE49-F238E27FC236}">
                <a16:creationId xmlns:a16="http://schemas.microsoft.com/office/drawing/2014/main" id="{D2C25B5D-B685-4B55-8498-3486110FDCFE}"/>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a:p>
        </p:txBody>
      </p:sp>
      <p:sp>
        <p:nvSpPr>
          <p:cNvPr id="8" name="Text Placeholder 96">
            <a:extLst>
              <a:ext uri="{FF2B5EF4-FFF2-40B4-BE49-F238E27FC236}">
                <a16:creationId xmlns:a16="http://schemas.microsoft.com/office/drawing/2014/main" id="{DFE25DB2-F58D-4AD2-B640-7A1061569FFB}"/>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solidFill>
                  <a:srgbClr val="7F7F7F"/>
                </a:solidFill>
              </a:defRPr>
            </a:lvl1pPr>
          </a:lstStyle>
          <a:p>
            <a:pPr lvl="0"/>
            <a:r>
              <a:rPr lang="en-US"/>
              <a:t>Footnotes</a:t>
            </a:r>
          </a:p>
        </p:txBody>
      </p:sp>
    </p:spTree>
    <p:custDataLst>
      <p:tags r:id="rId1"/>
    </p:custDataLst>
    <p:extLst>
      <p:ext uri="{BB962C8B-B14F-4D97-AF65-F5344CB8AC3E}">
        <p14:creationId xmlns:p14="http://schemas.microsoft.com/office/powerpoint/2010/main" val="769419154"/>
      </p:ext>
    </p:extLst>
  </p:cSld>
  <p:clrMapOvr>
    <a:masterClrMapping/>
  </p:clrMapOvr>
  <p:extLst>
    <p:ext uri="{DCECCB84-F9BA-43D5-87BE-67443E8EF086}">
      <p15:sldGuideLst xmlns:p15="http://schemas.microsoft.com/office/powerpoint/2012/main">
        <p15:guide id="1" pos="2230">
          <p15:clr>
            <a:srgbClr val="C35EA4"/>
          </p15:clr>
        </p15:guide>
        <p15:guide id="5" pos="2661">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447ADDD-920E-4BEB-819B-9759B3CF06AB}"/>
              </a:ext>
            </a:extLst>
          </p:cNvPr>
          <p:cNvSpPr>
            <a:spLocks noGrp="1"/>
          </p:cNvSpPr>
          <p:nvPr>
            <p:ph type="title" hasCustomPrompt="1"/>
          </p:nvPr>
        </p:nvSpPr>
        <p:spPr>
          <a:xfrm>
            <a:off x="1" y="0"/>
            <a:ext cx="5562601" cy="6858000"/>
          </a:xfrm>
          <a:custGeom>
            <a:avLst/>
            <a:gdLst>
              <a:gd name="connsiteX0" fmla="*/ 0 w 5562601"/>
              <a:gd name="connsiteY0" fmla="*/ 0 h 6858000"/>
              <a:gd name="connsiteX1" fmla="*/ 3124199 w 5562601"/>
              <a:gd name="connsiteY1" fmla="*/ 0 h 6858000"/>
              <a:gd name="connsiteX2" fmla="*/ 3694793 w 5562601"/>
              <a:gd name="connsiteY2" fmla="*/ 0 h 6858000"/>
              <a:gd name="connsiteX3" fmla="*/ 3762493 w 5562601"/>
              <a:gd name="connsiteY3" fmla="*/ 43402 h 6858000"/>
              <a:gd name="connsiteX4" fmla="*/ 5562601 w 5562601"/>
              <a:gd name="connsiteY4" fmla="*/ 3429000 h 6858000"/>
              <a:gd name="connsiteX5" fmla="*/ 3762493 w 5562601"/>
              <a:gd name="connsiteY5" fmla="*/ 6814598 h 6858000"/>
              <a:gd name="connsiteX6" fmla="*/ 3694792 w 5562601"/>
              <a:gd name="connsiteY6" fmla="*/ 6858000 h 6858000"/>
              <a:gd name="connsiteX7" fmla="*/ 0 w 5562601"/>
              <a:gd name="connsiteY7" fmla="*/ 6858000 h 6858000"/>
              <a:gd name="connsiteX8" fmla="*/ 0 w 5562601"/>
              <a:gd name="connsiteY8" fmla="*/ 26016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2601" h="6858000">
                <a:moveTo>
                  <a:pt x="0" y="0"/>
                </a:moveTo>
                <a:lnTo>
                  <a:pt x="3124199" y="0"/>
                </a:lnTo>
                <a:lnTo>
                  <a:pt x="3694793" y="0"/>
                </a:lnTo>
                <a:lnTo>
                  <a:pt x="3762493" y="43402"/>
                </a:lnTo>
                <a:cubicBezTo>
                  <a:pt x="4848549" y="777127"/>
                  <a:pt x="5562601" y="2019676"/>
                  <a:pt x="5562601" y="3429000"/>
                </a:cubicBezTo>
                <a:cubicBezTo>
                  <a:pt x="5562601" y="4838325"/>
                  <a:pt x="4848549" y="6080873"/>
                  <a:pt x="3762493" y="6814598"/>
                </a:cubicBezTo>
                <a:lnTo>
                  <a:pt x="3694792" y="6858000"/>
                </a:lnTo>
                <a:lnTo>
                  <a:pt x="0" y="6858000"/>
                </a:lnTo>
                <a:lnTo>
                  <a:pt x="0" y="2601686"/>
                </a:lnTo>
                <a:close/>
              </a:path>
            </a:pathLst>
          </a:custGeom>
          <a:solidFill>
            <a:schemeClr val="accent1"/>
          </a:solidFill>
        </p:spPr>
        <p:txBody>
          <a:bodyPr wrap="square" lIns="396000" tIns="2160000" bIns="2880000" anchor="b" anchorCtr="0">
            <a:normAutofit/>
          </a:bodyPr>
          <a:lstStyle>
            <a:lvl1pPr>
              <a:lnSpc>
                <a:spcPct val="100000"/>
              </a:lnSpc>
              <a:defRPr sz="4000">
                <a:solidFill>
                  <a:schemeClr val="bg1"/>
                </a:solidFill>
              </a:defRPr>
            </a:lvl1pPr>
          </a:lstStyle>
          <a:p>
            <a:r>
              <a:rPr lang="en-US"/>
              <a:t>Click to enter</a:t>
            </a:r>
            <a:br>
              <a:rPr lang="en-US"/>
            </a:br>
            <a:r>
              <a:rPr lang="en-US"/>
              <a:t>section title here</a:t>
            </a:r>
            <a:endParaRPr lang="en-GB"/>
          </a:p>
        </p:txBody>
      </p:sp>
      <p:sp>
        <p:nvSpPr>
          <p:cNvPr id="20" name="Text Placeholder 30">
            <a:extLst>
              <a:ext uri="{FF2B5EF4-FFF2-40B4-BE49-F238E27FC236}">
                <a16:creationId xmlns:a16="http://schemas.microsoft.com/office/drawing/2014/main" id="{9A77974F-FF01-4E3F-957B-CC5A44F8CE16}"/>
              </a:ext>
            </a:extLst>
          </p:cNvPr>
          <p:cNvSpPr txBox="1">
            <a:spLocks/>
          </p:cNvSpPr>
          <p:nvPr userDrawn="1"/>
        </p:nvSpPr>
        <p:spPr>
          <a:xfrm>
            <a:off x="11597151" y="6303999"/>
            <a:ext cx="294812" cy="355098"/>
          </a:xfrm>
          <a:prstGeom prst="rect">
            <a:avLst/>
          </a:pr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a:t> </a:t>
            </a:r>
          </a:p>
        </p:txBody>
      </p:sp>
      <p:sp>
        <p:nvSpPr>
          <p:cNvPr id="5" name="Text Placeholder 4">
            <a:extLst>
              <a:ext uri="{FF2B5EF4-FFF2-40B4-BE49-F238E27FC236}">
                <a16:creationId xmlns:a16="http://schemas.microsoft.com/office/drawing/2014/main" id="{D60AE4F3-AAA3-4B8D-A01A-1FF9B8F9F42A}"/>
              </a:ext>
            </a:extLst>
          </p:cNvPr>
          <p:cNvSpPr>
            <a:spLocks noGrp="1"/>
          </p:cNvSpPr>
          <p:nvPr>
            <p:ph type="body" sz="quarter" idx="33" hasCustomPrompt="1"/>
          </p:nvPr>
        </p:nvSpPr>
        <p:spPr>
          <a:xfrm>
            <a:off x="428095" y="863767"/>
            <a:ext cx="1203158" cy="1203158"/>
          </a:xfrm>
          <a:prstGeom prst="ellipse">
            <a:avLst/>
          </a:prstGeom>
          <a:solidFill>
            <a:schemeClr val="bg1"/>
          </a:solidFill>
        </p:spPr>
        <p:txBody>
          <a:bodyPr wrap="none" bIns="0" anchor="ctr" anchorCtr="0">
            <a:normAutofit/>
          </a:bodyPr>
          <a:lstStyle>
            <a:lvl1pPr marL="0" indent="0" algn="ctr">
              <a:lnSpc>
                <a:spcPct val="100000"/>
              </a:lnSpc>
              <a:buNone/>
              <a:defRPr sz="6000" b="1">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a:t>
            </a:r>
          </a:p>
        </p:txBody>
      </p:sp>
      <p:sp>
        <p:nvSpPr>
          <p:cNvPr id="8" name="Text Placeholder 7">
            <a:extLst>
              <a:ext uri="{FF2B5EF4-FFF2-40B4-BE49-F238E27FC236}">
                <a16:creationId xmlns:a16="http://schemas.microsoft.com/office/drawing/2014/main" id="{45758FA1-2B23-4C7E-97FD-FBA94AB3853B}"/>
              </a:ext>
            </a:extLst>
          </p:cNvPr>
          <p:cNvSpPr>
            <a:spLocks noGrp="1"/>
          </p:cNvSpPr>
          <p:nvPr>
            <p:ph type="body" sz="quarter" idx="34" hasCustomPrompt="1"/>
          </p:nvPr>
        </p:nvSpPr>
        <p:spPr>
          <a:xfrm>
            <a:off x="428626" y="4267200"/>
            <a:ext cx="3678918" cy="1896645"/>
          </a:xfrm>
          <a:prstGeom prst="rect">
            <a:avLst/>
          </a:prstGeom>
        </p:spPr>
        <p:txBody>
          <a:bodyPr lIns="0"/>
          <a:lstStyle>
            <a:lvl1pPr marL="0" indent="0">
              <a:lnSpc>
                <a:spcPct val="100000"/>
              </a:lnSpc>
              <a:buNone/>
              <a:defRPr>
                <a:solidFill>
                  <a:schemeClr val="bg1"/>
                </a:solidFill>
              </a:defRPr>
            </a:lvl1pPr>
            <a:lvl5pPr>
              <a:defRPr/>
            </a:lvl5pPr>
          </a:lstStyle>
          <a:p>
            <a:pPr lvl="0"/>
            <a:r>
              <a:rPr lang="en-US"/>
              <a:t>Click to add subtitle / presenter name(s)</a:t>
            </a:r>
          </a:p>
        </p:txBody>
      </p:sp>
      <p:sp>
        <p:nvSpPr>
          <p:cNvPr id="22" name="Picture Placeholder 21">
            <a:extLst>
              <a:ext uri="{FF2B5EF4-FFF2-40B4-BE49-F238E27FC236}">
                <a16:creationId xmlns:a16="http://schemas.microsoft.com/office/drawing/2014/main" id="{0486192A-3DB1-49EB-9B2C-D5E68AF24B1A}"/>
              </a:ext>
            </a:extLst>
          </p:cNvPr>
          <p:cNvSpPr>
            <a:spLocks noGrp="1"/>
          </p:cNvSpPr>
          <p:nvPr>
            <p:ph type="pic" sz="quarter" idx="36" hasCustomPrompt="1"/>
          </p:nvPr>
        </p:nvSpPr>
        <p:spPr>
          <a:xfrm>
            <a:off x="3694792" y="-1"/>
            <a:ext cx="8497208" cy="6858001"/>
          </a:xfrm>
          <a:custGeom>
            <a:avLst/>
            <a:gdLst>
              <a:gd name="connsiteX0" fmla="*/ 8001617 w 8497208"/>
              <a:gd name="connsiteY0" fmla="*/ 6414717 h 6858001"/>
              <a:gd name="connsiteX1" fmla="*/ 7980570 w 8497208"/>
              <a:gd name="connsiteY1" fmla="*/ 6439539 h 6858001"/>
              <a:gd name="connsiteX2" fmla="*/ 8034470 w 8497208"/>
              <a:gd name="connsiteY2" fmla="*/ 6517076 h 6858001"/>
              <a:gd name="connsiteX3" fmla="*/ 8090937 w 8497208"/>
              <a:gd name="connsiteY3" fmla="*/ 6510166 h 6858001"/>
              <a:gd name="connsiteX4" fmla="*/ 8091707 w 8497208"/>
              <a:gd name="connsiteY4" fmla="*/ 6506072 h 6858001"/>
              <a:gd name="connsiteX5" fmla="*/ 8095814 w 8497208"/>
              <a:gd name="connsiteY5" fmla="*/ 6478435 h 6858001"/>
              <a:gd name="connsiteX6" fmla="*/ 8062447 w 8497208"/>
              <a:gd name="connsiteY6" fmla="*/ 6464105 h 6858001"/>
              <a:gd name="connsiteX7" fmla="*/ 8064757 w 8497208"/>
              <a:gd name="connsiteY7" fmla="*/ 6499675 h 6858001"/>
              <a:gd name="connsiteX8" fmla="*/ 8064757 w 8497208"/>
              <a:gd name="connsiteY8" fmla="*/ 6504025 h 6858001"/>
              <a:gd name="connsiteX9" fmla="*/ 8048330 w 8497208"/>
              <a:gd name="connsiteY9" fmla="*/ 6515029 h 6858001"/>
              <a:gd name="connsiteX10" fmla="*/ 7993147 w 8497208"/>
              <a:gd name="connsiteY10" fmla="*/ 6433142 h 6858001"/>
              <a:gd name="connsiteX11" fmla="*/ 7994430 w 8497208"/>
              <a:gd name="connsiteY11" fmla="*/ 6431862 h 6858001"/>
              <a:gd name="connsiteX12" fmla="*/ 7995200 w 8497208"/>
              <a:gd name="connsiteY12" fmla="*/ 6432374 h 6858001"/>
              <a:gd name="connsiteX13" fmla="*/ 7995457 w 8497208"/>
              <a:gd name="connsiteY13" fmla="*/ 6432374 h 6858001"/>
              <a:gd name="connsiteX14" fmla="*/ 8062190 w 8497208"/>
              <a:gd name="connsiteY14" fmla="*/ 6459499 h 6858001"/>
              <a:gd name="connsiteX15" fmla="*/ 8096071 w 8497208"/>
              <a:gd name="connsiteY15" fmla="*/ 6474085 h 6858001"/>
              <a:gd name="connsiteX16" fmla="*/ 8122764 w 8497208"/>
              <a:gd name="connsiteY16" fmla="*/ 6486880 h 6858001"/>
              <a:gd name="connsiteX17" fmla="*/ 8134828 w 8497208"/>
              <a:gd name="connsiteY17" fmla="*/ 6503513 h 6858001"/>
              <a:gd name="connsiteX18" fmla="*/ 7984933 w 8497208"/>
              <a:gd name="connsiteY18" fmla="*/ 6615084 h 6858001"/>
              <a:gd name="connsiteX19" fmla="*/ 7984420 w 8497208"/>
              <a:gd name="connsiteY19" fmla="*/ 6615596 h 6858001"/>
              <a:gd name="connsiteX20" fmla="*/ 7983393 w 8497208"/>
              <a:gd name="connsiteY20" fmla="*/ 6617131 h 6858001"/>
              <a:gd name="connsiteX21" fmla="*/ 7983137 w 8497208"/>
              <a:gd name="connsiteY21" fmla="*/ 6617643 h 6858001"/>
              <a:gd name="connsiteX22" fmla="*/ 7978517 w 8497208"/>
              <a:gd name="connsiteY22" fmla="*/ 6631717 h 6858001"/>
              <a:gd name="connsiteX23" fmla="*/ 7997253 w 8497208"/>
              <a:gd name="connsiteY23" fmla="*/ 6655260 h 6858001"/>
              <a:gd name="connsiteX24" fmla="*/ 8009830 w 8497208"/>
              <a:gd name="connsiteY24" fmla="*/ 6657563 h 6858001"/>
              <a:gd name="connsiteX25" fmla="*/ 8012397 w 8497208"/>
              <a:gd name="connsiteY25" fmla="*/ 6657819 h 6858001"/>
              <a:gd name="connsiteX26" fmla="*/ 8136881 w 8497208"/>
              <a:gd name="connsiteY26" fmla="*/ 6633253 h 6858001"/>
              <a:gd name="connsiteX27" fmla="*/ 8146378 w 8497208"/>
              <a:gd name="connsiteY27" fmla="*/ 6607407 h 6858001"/>
              <a:gd name="connsiteX28" fmla="*/ 8103001 w 8497208"/>
              <a:gd name="connsiteY28" fmla="*/ 6582073 h 6858001"/>
              <a:gd name="connsiteX29" fmla="*/ 8093761 w 8497208"/>
              <a:gd name="connsiteY29" fmla="*/ 6588215 h 6858001"/>
              <a:gd name="connsiteX30" fmla="*/ 8128411 w 8497208"/>
              <a:gd name="connsiteY30" fmla="*/ 6611246 h 6858001"/>
              <a:gd name="connsiteX31" fmla="*/ 8126614 w 8497208"/>
              <a:gd name="connsiteY31" fmla="*/ 6614828 h 6858001"/>
              <a:gd name="connsiteX32" fmla="*/ 8124304 w 8497208"/>
              <a:gd name="connsiteY32" fmla="*/ 6614828 h 6858001"/>
              <a:gd name="connsiteX33" fmla="*/ 8047817 w 8497208"/>
              <a:gd name="connsiteY33" fmla="*/ 6619946 h 6858001"/>
              <a:gd name="connsiteX34" fmla="*/ 8040630 w 8497208"/>
              <a:gd name="connsiteY34" fmla="*/ 6620202 h 6858001"/>
              <a:gd name="connsiteX35" fmla="*/ 8052437 w 8497208"/>
              <a:gd name="connsiteY35" fmla="*/ 6610734 h 6858001"/>
              <a:gd name="connsiteX36" fmla="*/ 8173841 w 8497208"/>
              <a:gd name="connsiteY36" fmla="*/ 6529615 h 6858001"/>
              <a:gd name="connsiteX37" fmla="*/ 8144068 w 8497208"/>
              <a:gd name="connsiteY37" fmla="*/ 6452334 h 6858001"/>
              <a:gd name="connsiteX38" fmla="*/ 8001617 w 8497208"/>
              <a:gd name="connsiteY38" fmla="*/ 6414717 h 6858001"/>
              <a:gd name="connsiteX39" fmla="*/ 8063182 w 8497208"/>
              <a:gd name="connsiteY39" fmla="*/ 6306559 h 6858001"/>
              <a:gd name="connsiteX40" fmla="*/ 7947246 w 8497208"/>
              <a:gd name="connsiteY40" fmla="*/ 6409920 h 6858001"/>
              <a:gd name="connsiteX41" fmla="*/ 7903898 w 8497208"/>
              <a:gd name="connsiteY41" fmla="*/ 6477718 h 6858001"/>
              <a:gd name="connsiteX42" fmla="*/ 7922109 w 8497208"/>
              <a:gd name="connsiteY42" fmla="*/ 6498186 h 6858001"/>
              <a:gd name="connsiteX43" fmla="*/ 8041380 w 8497208"/>
              <a:gd name="connsiteY43" fmla="*/ 6559844 h 6858001"/>
              <a:gd name="connsiteX44" fmla="*/ 8050870 w 8497208"/>
              <a:gd name="connsiteY44" fmla="*/ 6553960 h 6858001"/>
              <a:gd name="connsiteX45" fmla="*/ 7945194 w 8497208"/>
              <a:gd name="connsiteY45" fmla="*/ 6495627 h 6858001"/>
              <a:gd name="connsiteX46" fmla="*/ 7928778 w 8497208"/>
              <a:gd name="connsiteY46" fmla="*/ 6480277 h 6858001"/>
              <a:gd name="connsiteX47" fmla="*/ 7958019 w 8497208"/>
              <a:gd name="connsiteY47" fmla="*/ 6449575 h 6858001"/>
              <a:gd name="connsiteX48" fmla="*/ 7974178 w 8497208"/>
              <a:gd name="connsiteY48" fmla="*/ 6433457 h 6858001"/>
              <a:gd name="connsiteX49" fmla="*/ 7976230 w 8497208"/>
              <a:gd name="connsiteY49" fmla="*/ 6416827 h 6858001"/>
              <a:gd name="connsiteX50" fmla="*/ 7997263 w 8497208"/>
              <a:gd name="connsiteY50" fmla="*/ 6410176 h 6858001"/>
              <a:gd name="connsiteX51" fmla="*/ 8024964 w 8497208"/>
              <a:gd name="connsiteY51" fmla="*/ 6382289 h 6858001"/>
              <a:gd name="connsiteX52" fmla="*/ 8047536 w 8497208"/>
              <a:gd name="connsiteY52" fmla="*/ 6364635 h 6858001"/>
              <a:gd name="connsiteX53" fmla="*/ 8053948 w 8497208"/>
              <a:gd name="connsiteY53" fmla="*/ 6376916 h 6858001"/>
              <a:gd name="connsiteX54" fmla="*/ 8058822 w 8497208"/>
              <a:gd name="connsiteY54" fmla="*/ 6421688 h 6858001"/>
              <a:gd name="connsiteX55" fmla="*/ 8097296 w 8497208"/>
              <a:gd name="connsiteY55" fmla="*/ 6432434 h 6858001"/>
              <a:gd name="connsiteX56" fmla="*/ 8063182 w 8497208"/>
              <a:gd name="connsiteY56" fmla="*/ 6306559 h 6858001"/>
              <a:gd name="connsiteX57" fmla="*/ 4802415 w 8497208"/>
              <a:gd name="connsiteY57" fmla="*/ 0 h 6858001"/>
              <a:gd name="connsiteX58" fmla="*/ 5373009 w 8497208"/>
              <a:gd name="connsiteY58" fmla="*/ 0 h 6858001"/>
              <a:gd name="connsiteX59" fmla="*/ 8497208 w 8497208"/>
              <a:gd name="connsiteY59" fmla="*/ 0 h 6858001"/>
              <a:gd name="connsiteX60" fmla="*/ 8497208 w 8497208"/>
              <a:gd name="connsiteY60" fmla="*/ 1 h 6858001"/>
              <a:gd name="connsiteX61" fmla="*/ 8497208 w 8497208"/>
              <a:gd name="connsiteY61" fmla="*/ 2601686 h 6858001"/>
              <a:gd name="connsiteX62" fmla="*/ 8497208 w 8497208"/>
              <a:gd name="connsiteY62" fmla="*/ 6858000 h 6858001"/>
              <a:gd name="connsiteX63" fmla="*/ 8497208 w 8497208"/>
              <a:gd name="connsiteY63" fmla="*/ 6858001 h 6858001"/>
              <a:gd name="connsiteX64" fmla="*/ 0 w 8497208"/>
              <a:gd name="connsiteY64" fmla="*/ 6858001 h 6858001"/>
              <a:gd name="connsiteX65" fmla="*/ 67701 w 8497208"/>
              <a:gd name="connsiteY65" fmla="*/ 6814599 h 6858001"/>
              <a:gd name="connsiteX66" fmla="*/ 1867809 w 8497208"/>
              <a:gd name="connsiteY66" fmla="*/ 3429001 h 6858001"/>
              <a:gd name="connsiteX67" fmla="*/ 67701 w 8497208"/>
              <a:gd name="connsiteY67" fmla="*/ 43403 h 6858001"/>
              <a:gd name="connsiteX68" fmla="*/ 1 w 8497208"/>
              <a:gd name="connsiteY68" fmla="*/ 1 h 6858001"/>
              <a:gd name="connsiteX69" fmla="*/ 4802413 w 8497208"/>
              <a:gd name="connsiteY69"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497208" h="6858001">
                <a:moveTo>
                  <a:pt x="8001617" y="6414717"/>
                </a:moveTo>
                <a:cubicBezTo>
                  <a:pt x="7980570" y="6411902"/>
                  <a:pt x="7972100" y="6419579"/>
                  <a:pt x="7980570" y="6439539"/>
                </a:cubicBezTo>
                <a:cubicBezTo>
                  <a:pt x="7989297" y="6459243"/>
                  <a:pt x="8011370" y="6492254"/>
                  <a:pt x="8034470" y="6517076"/>
                </a:cubicBezTo>
                <a:cubicBezTo>
                  <a:pt x="8057827" y="6541642"/>
                  <a:pt x="8082981" y="6548551"/>
                  <a:pt x="8090937" y="6510166"/>
                </a:cubicBezTo>
                <a:cubicBezTo>
                  <a:pt x="8091194" y="6508887"/>
                  <a:pt x="8091451" y="6507608"/>
                  <a:pt x="8091707" y="6506072"/>
                </a:cubicBezTo>
                <a:cubicBezTo>
                  <a:pt x="8093504" y="6496348"/>
                  <a:pt x="8095044" y="6486880"/>
                  <a:pt x="8095814" y="6478435"/>
                </a:cubicBezTo>
                <a:cubicBezTo>
                  <a:pt x="8085547" y="6473829"/>
                  <a:pt x="8073997" y="6468967"/>
                  <a:pt x="8062447" y="6464105"/>
                </a:cubicBezTo>
                <a:cubicBezTo>
                  <a:pt x="8063217" y="6472806"/>
                  <a:pt x="8064244" y="6487904"/>
                  <a:pt x="8064757" y="6499675"/>
                </a:cubicBezTo>
                <a:cubicBezTo>
                  <a:pt x="8064757" y="6500954"/>
                  <a:pt x="8064757" y="6502490"/>
                  <a:pt x="8064757" y="6504025"/>
                </a:cubicBezTo>
                <a:cubicBezTo>
                  <a:pt x="8065527" y="6522705"/>
                  <a:pt x="8059110" y="6522705"/>
                  <a:pt x="8048330" y="6515029"/>
                </a:cubicBezTo>
                <a:cubicBezTo>
                  <a:pt x="8035754" y="6506072"/>
                  <a:pt x="7997510" y="6455661"/>
                  <a:pt x="7993147" y="6433142"/>
                </a:cubicBezTo>
                <a:cubicBezTo>
                  <a:pt x="7992890" y="6431862"/>
                  <a:pt x="7993660" y="6431606"/>
                  <a:pt x="7994430" y="6431862"/>
                </a:cubicBezTo>
                <a:cubicBezTo>
                  <a:pt x="7994687" y="6432118"/>
                  <a:pt x="7994943" y="6432118"/>
                  <a:pt x="7995200" y="6432374"/>
                </a:cubicBezTo>
                <a:cubicBezTo>
                  <a:pt x="7995200" y="6432374"/>
                  <a:pt x="7995200" y="6432374"/>
                  <a:pt x="7995457" y="6432374"/>
                </a:cubicBezTo>
                <a:cubicBezTo>
                  <a:pt x="8003927" y="6435701"/>
                  <a:pt x="8032930" y="6447216"/>
                  <a:pt x="8062190" y="6459499"/>
                </a:cubicBezTo>
                <a:cubicBezTo>
                  <a:pt x="8073741" y="6464361"/>
                  <a:pt x="8085547" y="6469479"/>
                  <a:pt x="8096071" y="6474085"/>
                </a:cubicBezTo>
                <a:cubicBezTo>
                  <a:pt x="8106594" y="6478691"/>
                  <a:pt x="8115834" y="6483297"/>
                  <a:pt x="8122764" y="6486880"/>
                </a:cubicBezTo>
                <a:cubicBezTo>
                  <a:pt x="8135341" y="6493533"/>
                  <a:pt x="8140218" y="6498139"/>
                  <a:pt x="8134828" y="6503513"/>
                </a:cubicBezTo>
                <a:cubicBezTo>
                  <a:pt x="8108647" y="6530382"/>
                  <a:pt x="8016504" y="6568255"/>
                  <a:pt x="7984933" y="6615084"/>
                </a:cubicBezTo>
                <a:cubicBezTo>
                  <a:pt x="7984933" y="6615084"/>
                  <a:pt x="7984677" y="6615340"/>
                  <a:pt x="7984420" y="6615596"/>
                </a:cubicBezTo>
                <a:cubicBezTo>
                  <a:pt x="7984163" y="6616108"/>
                  <a:pt x="7983650" y="6616619"/>
                  <a:pt x="7983393" y="6617131"/>
                </a:cubicBezTo>
                <a:cubicBezTo>
                  <a:pt x="7983393" y="6617387"/>
                  <a:pt x="7983393" y="6617643"/>
                  <a:pt x="7983137" y="6617643"/>
                </a:cubicBezTo>
                <a:cubicBezTo>
                  <a:pt x="7981597" y="6620714"/>
                  <a:pt x="7979287" y="6625576"/>
                  <a:pt x="7978517" y="6631717"/>
                </a:cubicBezTo>
                <a:cubicBezTo>
                  <a:pt x="7977233" y="6641953"/>
                  <a:pt x="7982623" y="6651421"/>
                  <a:pt x="7997253" y="6655260"/>
                </a:cubicBezTo>
                <a:cubicBezTo>
                  <a:pt x="8001103" y="6656283"/>
                  <a:pt x="8005210" y="6657051"/>
                  <a:pt x="8009830" y="6657563"/>
                </a:cubicBezTo>
                <a:cubicBezTo>
                  <a:pt x="8010600" y="6657819"/>
                  <a:pt x="8011627" y="6657819"/>
                  <a:pt x="8012397" y="6657819"/>
                </a:cubicBezTo>
                <a:cubicBezTo>
                  <a:pt x="8040887" y="6659098"/>
                  <a:pt x="8114551" y="6642977"/>
                  <a:pt x="8136881" y="6633253"/>
                </a:cubicBezTo>
                <a:cubicBezTo>
                  <a:pt x="8159981" y="6623017"/>
                  <a:pt x="8153051" y="6612781"/>
                  <a:pt x="8146378" y="6607407"/>
                </a:cubicBezTo>
                <a:cubicBezTo>
                  <a:pt x="8141244" y="6603313"/>
                  <a:pt x="8115577" y="6588983"/>
                  <a:pt x="8103001" y="6582073"/>
                </a:cubicBezTo>
                <a:cubicBezTo>
                  <a:pt x="8099664" y="6584376"/>
                  <a:pt x="8097097" y="6585912"/>
                  <a:pt x="8093761" y="6588215"/>
                </a:cubicBezTo>
                <a:cubicBezTo>
                  <a:pt x="8115064" y="6601010"/>
                  <a:pt x="8123534" y="6607407"/>
                  <a:pt x="8128411" y="6611246"/>
                </a:cubicBezTo>
                <a:cubicBezTo>
                  <a:pt x="8130464" y="6612781"/>
                  <a:pt x="8129438" y="6614572"/>
                  <a:pt x="8126614" y="6614828"/>
                </a:cubicBezTo>
                <a:cubicBezTo>
                  <a:pt x="8125844" y="6614828"/>
                  <a:pt x="8125074" y="6614828"/>
                  <a:pt x="8124304" y="6614828"/>
                </a:cubicBezTo>
                <a:cubicBezTo>
                  <a:pt x="8104027" y="6616364"/>
                  <a:pt x="8065784" y="6618922"/>
                  <a:pt x="8047817" y="6619946"/>
                </a:cubicBezTo>
                <a:cubicBezTo>
                  <a:pt x="8045250" y="6620202"/>
                  <a:pt x="8042170" y="6620202"/>
                  <a:pt x="8040630" y="6620202"/>
                </a:cubicBezTo>
                <a:cubicBezTo>
                  <a:pt x="8044994" y="6616108"/>
                  <a:pt x="8049870" y="6612525"/>
                  <a:pt x="8052437" y="6610734"/>
                </a:cubicBezTo>
                <a:cubicBezTo>
                  <a:pt x="8090937" y="6583609"/>
                  <a:pt x="8154848" y="6545736"/>
                  <a:pt x="8173841" y="6529615"/>
                </a:cubicBezTo>
                <a:cubicBezTo>
                  <a:pt x="8187701" y="6517587"/>
                  <a:pt x="8225688" y="6480994"/>
                  <a:pt x="8144068" y="6452334"/>
                </a:cubicBezTo>
                <a:cubicBezTo>
                  <a:pt x="8120711" y="6444401"/>
                  <a:pt x="8062704" y="6422906"/>
                  <a:pt x="8001617" y="6414717"/>
                </a:cubicBezTo>
                <a:close/>
                <a:moveTo>
                  <a:pt x="8063182" y="6306559"/>
                </a:moveTo>
                <a:cubicBezTo>
                  <a:pt x="8043432" y="6304000"/>
                  <a:pt x="8013678" y="6328817"/>
                  <a:pt x="7947246" y="6409920"/>
                </a:cubicBezTo>
                <a:cubicBezTo>
                  <a:pt x="7934934" y="6424759"/>
                  <a:pt x="7906206" y="6461088"/>
                  <a:pt x="7903898" y="6477718"/>
                </a:cubicBezTo>
                <a:cubicBezTo>
                  <a:pt x="7902359" y="6489487"/>
                  <a:pt x="7914927" y="6494604"/>
                  <a:pt x="7922109" y="6498186"/>
                </a:cubicBezTo>
                <a:cubicBezTo>
                  <a:pt x="7928778" y="6501768"/>
                  <a:pt x="8005727" y="6539888"/>
                  <a:pt x="8041380" y="6559844"/>
                </a:cubicBezTo>
                <a:cubicBezTo>
                  <a:pt x="8044458" y="6557797"/>
                  <a:pt x="8047536" y="6555751"/>
                  <a:pt x="8050870" y="6553960"/>
                </a:cubicBezTo>
                <a:cubicBezTo>
                  <a:pt x="8029581" y="6542447"/>
                  <a:pt x="7969561" y="6510211"/>
                  <a:pt x="7945194" y="6495627"/>
                </a:cubicBezTo>
                <a:cubicBezTo>
                  <a:pt x="7935190" y="6489743"/>
                  <a:pt x="7928265" y="6484882"/>
                  <a:pt x="7928778" y="6480277"/>
                </a:cubicBezTo>
                <a:cubicBezTo>
                  <a:pt x="7929548" y="6474648"/>
                  <a:pt x="7944168" y="6463391"/>
                  <a:pt x="7958019" y="6449575"/>
                </a:cubicBezTo>
                <a:cubicBezTo>
                  <a:pt x="7961610" y="6445994"/>
                  <a:pt x="7967509" y="6440109"/>
                  <a:pt x="7974178" y="6433457"/>
                </a:cubicBezTo>
                <a:cubicBezTo>
                  <a:pt x="7972382" y="6426550"/>
                  <a:pt x="7973152" y="6420921"/>
                  <a:pt x="7976230" y="6416827"/>
                </a:cubicBezTo>
                <a:cubicBezTo>
                  <a:pt x="7980077" y="6411711"/>
                  <a:pt x="7987003" y="6409664"/>
                  <a:pt x="7997263" y="6410176"/>
                </a:cubicBezTo>
                <a:cubicBezTo>
                  <a:pt x="8009831" y="6397639"/>
                  <a:pt x="8021117" y="6386382"/>
                  <a:pt x="8024964" y="6382289"/>
                </a:cubicBezTo>
                <a:cubicBezTo>
                  <a:pt x="8033941" y="6373334"/>
                  <a:pt x="8043432" y="6364124"/>
                  <a:pt x="8047536" y="6364635"/>
                </a:cubicBezTo>
                <a:cubicBezTo>
                  <a:pt x="8050870" y="6365147"/>
                  <a:pt x="8052666" y="6368217"/>
                  <a:pt x="8053948" y="6376916"/>
                </a:cubicBezTo>
                <a:cubicBezTo>
                  <a:pt x="8054974" y="6384591"/>
                  <a:pt x="8057539" y="6406850"/>
                  <a:pt x="8058822" y="6421688"/>
                </a:cubicBezTo>
                <a:cubicBezTo>
                  <a:pt x="8072672" y="6425014"/>
                  <a:pt x="8085497" y="6428852"/>
                  <a:pt x="8097296" y="6432434"/>
                </a:cubicBezTo>
                <a:cubicBezTo>
                  <a:pt x="8095757" y="6330864"/>
                  <a:pt x="8084215" y="6309373"/>
                  <a:pt x="8063182" y="6306559"/>
                </a:cubicBezTo>
                <a:close/>
                <a:moveTo>
                  <a:pt x="4802415" y="0"/>
                </a:moveTo>
                <a:lnTo>
                  <a:pt x="5373009" y="0"/>
                </a:lnTo>
                <a:lnTo>
                  <a:pt x="8497208" y="0"/>
                </a:lnTo>
                <a:lnTo>
                  <a:pt x="8497208" y="1"/>
                </a:lnTo>
                <a:lnTo>
                  <a:pt x="8497208" y="2601686"/>
                </a:lnTo>
                <a:lnTo>
                  <a:pt x="8497208" y="6858000"/>
                </a:lnTo>
                <a:lnTo>
                  <a:pt x="8497208" y="6858001"/>
                </a:lnTo>
                <a:lnTo>
                  <a:pt x="0" y="6858001"/>
                </a:lnTo>
                <a:lnTo>
                  <a:pt x="67701" y="6814599"/>
                </a:lnTo>
                <a:cubicBezTo>
                  <a:pt x="1153758" y="6080874"/>
                  <a:pt x="1867809" y="4838326"/>
                  <a:pt x="1867809" y="3429001"/>
                </a:cubicBezTo>
                <a:cubicBezTo>
                  <a:pt x="1867809" y="2019677"/>
                  <a:pt x="1153758" y="777128"/>
                  <a:pt x="67701" y="43403"/>
                </a:cubicBezTo>
                <a:lnTo>
                  <a:pt x="1" y="1"/>
                </a:lnTo>
                <a:lnTo>
                  <a:pt x="4802413" y="1"/>
                </a:lnTo>
                <a:close/>
              </a:path>
            </a:pathLst>
          </a:custGeom>
        </p:spPr>
        <p:txBody>
          <a:bodyPr wrap="square" tIns="360000" bIns="900000" anchor="ctr" anchorCtr="0">
            <a:noAutofit/>
          </a:bodyPr>
          <a:lstStyle>
            <a:lvl1pPr marL="0" marR="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sz="1600" b="1"/>
            </a:lvl1pPr>
          </a:lstStyle>
          <a:p>
            <a:r>
              <a:rPr lang="en-US"/>
              <a:t>_______________________________</a:t>
            </a:r>
            <a:br>
              <a:rPr lang="en-US"/>
            </a:br>
            <a:br>
              <a:rPr lang="en-US"/>
            </a:br>
            <a:r>
              <a:rPr lang="en-US"/>
              <a:t>To add an image here: </a:t>
            </a:r>
            <a:br>
              <a:rPr lang="en-US"/>
            </a:br>
            <a:r>
              <a:rPr lang="en-US"/>
              <a:t>Click the icon and insert a file from your computer.</a:t>
            </a:r>
            <a:br>
              <a:rPr lang="en-US"/>
            </a:br>
            <a:r>
              <a:rPr lang="en-US"/>
              <a:t>Alternatively, you can fill this shape </a:t>
            </a:r>
            <a:br>
              <a:rPr lang="en-US"/>
            </a:br>
            <a:r>
              <a:rPr lang="en-US"/>
              <a:t>with a solid </a:t>
            </a:r>
            <a:r>
              <a:rPr lang="en-US" err="1"/>
              <a:t>colour</a:t>
            </a:r>
            <a:r>
              <a:rPr lang="en-US"/>
              <a:t>.</a:t>
            </a:r>
            <a:br>
              <a:rPr lang="en-US"/>
            </a:br>
            <a:br>
              <a:rPr lang="en-US"/>
            </a:br>
            <a:br>
              <a:rPr lang="en-US"/>
            </a:br>
            <a:br>
              <a:rPr lang="en-US"/>
            </a:br>
            <a:br>
              <a:rPr lang="en-US"/>
            </a:br>
            <a:r>
              <a:rPr lang="en-US"/>
              <a:t> Images can be scaled within this frame </a:t>
            </a:r>
            <a:br>
              <a:rPr lang="en-US"/>
            </a:br>
            <a:r>
              <a:rPr lang="en-US"/>
              <a:t>by using the Crop feature in </a:t>
            </a:r>
            <a:br>
              <a:rPr lang="en-US"/>
            </a:br>
            <a:r>
              <a:rPr lang="en-US"/>
              <a:t>the Picture Format tab of the ribbon.</a:t>
            </a:r>
            <a:br>
              <a:rPr lang="en-US"/>
            </a:br>
            <a:r>
              <a:rPr lang="en-US"/>
              <a:t>_______________________________</a:t>
            </a:r>
          </a:p>
        </p:txBody>
      </p:sp>
      <p:sp>
        <p:nvSpPr>
          <p:cNvPr id="10" name="Date Placeholder 9">
            <a:extLst>
              <a:ext uri="{FF2B5EF4-FFF2-40B4-BE49-F238E27FC236}">
                <a16:creationId xmlns:a16="http://schemas.microsoft.com/office/drawing/2014/main" id="{41CC83E6-E70E-43EE-817C-4F68FB75EFD9}"/>
              </a:ext>
            </a:extLst>
          </p:cNvPr>
          <p:cNvSpPr>
            <a:spLocks noGrp="1"/>
          </p:cNvSpPr>
          <p:nvPr>
            <p:ph type="dt" sz="half" idx="35"/>
          </p:nvPr>
        </p:nvSpPr>
        <p:spPr/>
        <p:txBody>
          <a:bodyPr/>
          <a:lstStyle>
            <a:lvl1pPr>
              <a:lnSpc>
                <a:spcPct val="100000"/>
              </a:lnSpc>
              <a:defRPr/>
            </a:lvl1pPr>
          </a:lstStyle>
          <a:p>
            <a:endParaRPr lang="en-GB"/>
          </a:p>
        </p:txBody>
      </p:sp>
      <p:pic>
        <p:nvPicPr>
          <p:cNvPr id="11" name="Picture 10" descr="msd_lg_rgb_tl_dkgry.jpg">
            <a:extLst>
              <a:ext uri="{FF2B5EF4-FFF2-40B4-BE49-F238E27FC236}">
                <a16:creationId xmlns:a16="http://schemas.microsoft.com/office/drawing/2014/main" id="{BD57762E-0941-4001-AABD-01249AFFEED7}"/>
              </a:ext>
            </a:extLst>
          </p:cNvPr>
          <p:cNvPicPr>
            <a:picLocks noChangeAspect="1"/>
          </p:cNvPicPr>
          <p:nvPr userDrawn="1"/>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31338" y="6289435"/>
            <a:ext cx="436685" cy="397931"/>
          </a:xfrm>
          <a:prstGeom prst="rect">
            <a:avLst/>
          </a:prstGeom>
        </p:spPr>
      </p:pic>
    </p:spTree>
    <p:custDataLst>
      <p:tags r:id="rId1"/>
    </p:custDataLst>
    <p:extLst>
      <p:ext uri="{BB962C8B-B14F-4D97-AF65-F5344CB8AC3E}">
        <p14:creationId xmlns:p14="http://schemas.microsoft.com/office/powerpoint/2010/main" val="4724533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447ADDD-920E-4BEB-819B-9759B3CF06AB}"/>
              </a:ext>
            </a:extLst>
          </p:cNvPr>
          <p:cNvSpPr>
            <a:spLocks noGrp="1"/>
          </p:cNvSpPr>
          <p:nvPr>
            <p:ph type="title" hasCustomPrompt="1"/>
          </p:nvPr>
        </p:nvSpPr>
        <p:spPr>
          <a:xfrm>
            <a:off x="1" y="0"/>
            <a:ext cx="5562601" cy="6858000"/>
          </a:xfrm>
          <a:custGeom>
            <a:avLst/>
            <a:gdLst>
              <a:gd name="connsiteX0" fmla="*/ 0 w 5562601"/>
              <a:gd name="connsiteY0" fmla="*/ 0 h 6858000"/>
              <a:gd name="connsiteX1" fmla="*/ 3124199 w 5562601"/>
              <a:gd name="connsiteY1" fmla="*/ 0 h 6858000"/>
              <a:gd name="connsiteX2" fmla="*/ 3694793 w 5562601"/>
              <a:gd name="connsiteY2" fmla="*/ 0 h 6858000"/>
              <a:gd name="connsiteX3" fmla="*/ 3762493 w 5562601"/>
              <a:gd name="connsiteY3" fmla="*/ 43402 h 6858000"/>
              <a:gd name="connsiteX4" fmla="*/ 5562601 w 5562601"/>
              <a:gd name="connsiteY4" fmla="*/ 3429000 h 6858000"/>
              <a:gd name="connsiteX5" fmla="*/ 3762493 w 5562601"/>
              <a:gd name="connsiteY5" fmla="*/ 6814598 h 6858000"/>
              <a:gd name="connsiteX6" fmla="*/ 3694792 w 5562601"/>
              <a:gd name="connsiteY6" fmla="*/ 6858000 h 6858000"/>
              <a:gd name="connsiteX7" fmla="*/ 0 w 5562601"/>
              <a:gd name="connsiteY7" fmla="*/ 6858000 h 6858000"/>
              <a:gd name="connsiteX8" fmla="*/ 0 w 5562601"/>
              <a:gd name="connsiteY8" fmla="*/ 26016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2601" h="6858000">
                <a:moveTo>
                  <a:pt x="0" y="0"/>
                </a:moveTo>
                <a:lnTo>
                  <a:pt x="3124199" y="0"/>
                </a:lnTo>
                <a:lnTo>
                  <a:pt x="3694793" y="0"/>
                </a:lnTo>
                <a:lnTo>
                  <a:pt x="3762493" y="43402"/>
                </a:lnTo>
                <a:cubicBezTo>
                  <a:pt x="4848549" y="777127"/>
                  <a:pt x="5562601" y="2019676"/>
                  <a:pt x="5562601" y="3429000"/>
                </a:cubicBezTo>
                <a:cubicBezTo>
                  <a:pt x="5562601" y="4838325"/>
                  <a:pt x="4848549" y="6080873"/>
                  <a:pt x="3762493" y="6814598"/>
                </a:cubicBezTo>
                <a:lnTo>
                  <a:pt x="3694792" y="6858000"/>
                </a:lnTo>
                <a:lnTo>
                  <a:pt x="0" y="6858000"/>
                </a:lnTo>
                <a:lnTo>
                  <a:pt x="0" y="2601686"/>
                </a:lnTo>
                <a:close/>
              </a:path>
            </a:pathLst>
          </a:custGeom>
          <a:solidFill>
            <a:schemeClr val="tx1"/>
          </a:solidFill>
        </p:spPr>
        <p:txBody>
          <a:bodyPr wrap="square" lIns="396000" tIns="2160000" bIns="2880000" anchor="b" anchorCtr="0">
            <a:normAutofit/>
          </a:bodyPr>
          <a:lstStyle>
            <a:lvl1pPr>
              <a:lnSpc>
                <a:spcPct val="100000"/>
              </a:lnSpc>
              <a:defRPr sz="4000">
                <a:solidFill>
                  <a:schemeClr val="bg1"/>
                </a:solidFill>
              </a:defRPr>
            </a:lvl1pPr>
          </a:lstStyle>
          <a:p>
            <a:r>
              <a:rPr lang="en-US"/>
              <a:t>Click to enter</a:t>
            </a:r>
            <a:br>
              <a:rPr lang="en-US"/>
            </a:br>
            <a:r>
              <a:rPr lang="en-US"/>
              <a:t>section title here</a:t>
            </a:r>
            <a:endParaRPr lang="en-GB"/>
          </a:p>
        </p:txBody>
      </p:sp>
      <p:sp>
        <p:nvSpPr>
          <p:cNvPr id="20" name="Text Placeholder 30">
            <a:extLst>
              <a:ext uri="{FF2B5EF4-FFF2-40B4-BE49-F238E27FC236}">
                <a16:creationId xmlns:a16="http://schemas.microsoft.com/office/drawing/2014/main" id="{9A77974F-FF01-4E3F-957B-CC5A44F8CE16}"/>
              </a:ext>
            </a:extLst>
          </p:cNvPr>
          <p:cNvSpPr txBox="1">
            <a:spLocks/>
          </p:cNvSpPr>
          <p:nvPr userDrawn="1"/>
        </p:nvSpPr>
        <p:spPr>
          <a:xfrm>
            <a:off x="11597151" y="6303999"/>
            <a:ext cx="294812" cy="355098"/>
          </a:xfrm>
          <a:prstGeom prst="rect">
            <a:avLst/>
          </a:pr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a:t> </a:t>
            </a:r>
          </a:p>
        </p:txBody>
      </p:sp>
      <p:pic>
        <p:nvPicPr>
          <p:cNvPr id="11" name="Picture 10" descr="msd_lg_rgb_tl_dkgry.jpg">
            <a:extLst>
              <a:ext uri="{FF2B5EF4-FFF2-40B4-BE49-F238E27FC236}">
                <a16:creationId xmlns:a16="http://schemas.microsoft.com/office/drawing/2014/main" id="{BD57762E-0941-4001-AABD-01249AFFEED7}"/>
              </a:ext>
            </a:extLst>
          </p:cNvPr>
          <p:cNvPicPr>
            <a:picLocks noChangeAspect="1"/>
          </p:cNvPicPr>
          <p:nvPr userDrawn="1"/>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31338" y="6289435"/>
            <a:ext cx="436685" cy="397931"/>
          </a:xfrm>
          <a:prstGeom prst="rect">
            <a:avLst/>
          </a:prstGeom>
        </p:spPr>
      </p:pic>
    </p:spTree>
    <p:custDataLst>
      <p:tags r:id="rId1"/>
    </p:custDataLst>
    <p:extLst>
      <p:ext uri="{BB962C8B-B14F-4D97-AF65-F5344CB8AC3E}">
        <p14:creationId xmlns:p14="http://schemas.microsoft.com/office/powerpoint/2010/main" val="6231571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3_Section Divider">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447ADDD-920E-4BEB-819B-9759B3CF06AB}"/>
              </a:ext>
            </a:extLst>
          </p:cNvPr>
          <p:cNvSpPr>
            <a:spLocks noGrp="1"/>
          </p:cNvSpPr>
          <p:nvPr>
            <p:ph type="title" hasCustomPrompt="1"/>
          </p:nvPr>
        </p:nvSpPr>
        <p:spPr>
          <a:xfrm>
            <a:off x="1" y="0"/>
            <a:ext cx="5562601" cy="6858000"/>
          </a:xfrm>
          <a:custGeom>
            <a:avLst/>
            <a:gdLst>
              <a:gd name="connsiteX0" fmla="*/ 0 w 5562601"/>
              <a:gd name="connsiteY0" fmla="*/ 0 h 6858000"/>
              <a:gd name="connsiteX1" fmla="*/ 3124199 w 5562601"/>
              <a:gd name="connsiteY1" fmla="*/ 0 h 6858000"/>
              <a:gd name="connsiteX2" fmla="*/ 3694793 w 5562601"/>
              <a:gd name="connsiteY2" fmla="*/ 0 h 6858000"/>
              <a:gd name="connsiteX3" fmla="*/ 3762493 w 5562601"/>
              <a:gd name="connsiteY3" fmla="*/ 43402 h 6858000"/>
              <a:gd name="connsiteX4" fmla="*/ 5562601 w 5562601"/>
              <a:gd name="connsiteY4" fmla="*/ 3429000 h 6858000"/>
              <a:gd name="connsiteX5" fmla="*/ 3762493 w 5562601"/>
              <a:gd name="connsiteY5" fmla="*/ 6814598 h 6858000"/>
              <a:gd name="connsiteX6" fmla="*/ 3694792 w 5562601"/>
              <a:gd name="connsiteY6" fmla="*/ 6858000 h 6858000"/>
              <a:gd name="connsiteX7" fmla="*/ 0 w 5562601"/>
              <a:gd name="connsiteY7" fmla="*/ 6858000 h 6858000"/>
              <a:gd name="connsiteX8" fmla="*/ 0 w 5562601"/>
              <a:gd name="connsiteY8" fmla="*/ 26016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2601" h="6858000">
                <a:moveTo>
                  <a:pt x="0" y="0"/>
                </a:moveTo>
                <a:lnTo>
                  <a:pt x="3124199" y="0"/>
                </a:lnTo>
                <a:lnTo>
                  <a:pt x="3694793" y="0"/>
                </a:lnTo>
                <a:lnTo>
                  <a:pt x="3762493" y="43402"/>
                </a:lnTo>
                <a:cubicBezTo>
                  <a:pt x="4848549" y="777127"/>
                  <a:pt x="5562601" y="2019676"/>
                  <a:pt x="5562601" y="3429000"/>
                </a:cubicBezTo>
                <a:cubicBezTo>
                  <a:pt x="5562601" y="4838325"/>
                  <a:pt x="4848549" y="6080873"/>
                  <a:pt x="3762493" y="6814598"/>
                </a:cubicBezTo>
                <a:lnTo>
                  <a:pt x="3694792" y="6858000"/>
                </a:lnTo>
                <a:lnTo>
                  <a:pt x="0" y="6858000"/>
                </a:lnTo>
                <a:lnTo>
                  <a:pt x="0" y="2601686"/>
                </a:lnTo>
                <a:close/>
              </a:path>
            </a:pathLst>
          </a:custGeom>
          <a:solidFill>
            <a:schemeClr val="accent3"/>
          </a:solidFill>
        </p:spPr>
        <p:txBody>
          <a:bodyPr wrap="square" lIns="396000" tIns="2160000" bIns="2880000" anchor="b" anchorCtr="0">
            <a:normAutofit/>
          </a:bodyPr>
          <a:lstStyle>
            <a:lvl1pPr>
              <a:lnSpc>
                <a:spcPct val="100000"/>
              </a:lnSpc>
              <a:defRPr sz="4000">
                <a:solidFill>
                  <a:schemeClr val="bg1"/>
                </a:solidFill>
              </a:defRPr>
            </a:lvl1pPr>
          </a:lstStyle>
          <a:p>
            <a:r>
              <a:rPr lang="en-US"/>
              <a:t>Click to enter</a:t>
            </a:r>
            <a:br>
              <a:rPr lang="en-US"/>
            </a:br>
            <a:r>
              <a:rPr lang="en-US"/>
              <a:t>section title here</a:t>
            </a:r>
            <a:endParaRPr lang="en-GB"/>
          </a:p>
        </p:txBody>
      </p:sp>
      <p:sp>
        <p:nvSpPr>
          <p:cNvPr id="20" name="Text Placeholder 30">
            <a:extLst>
              <a:ext uri="{FF2B5EF4-FFF2-40B4-BE49-F238E27FC236}">
                <a16:creationId xmlns:a16="http://schemas.microsoft.com/office/drawing/2014/main" id="{9A77974F-FF01-4E3F-957B-CC5A44F8CE16}"/>
              </a:ext>
            </a:extLst>
          </p:cNvPr>
          <p:cNvSpPr txBox="1">
            <a:spLocks/>
          </p:cNvSpPr>
          <p:nvPr userDrawn="1"/>
        </p:nvSpPr>
        <p:spPr>
          <a:xfrm>
            <a:off x="11597151" y="6303999"/>
            <a:ext cx="294812" cy="355098"/>
          </a:xfrm>
          <a:prstGeom prst="rect">
            <a:avLst/>
          </a:pr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a:t> </a:t>
            </a:r>
          </a:p>
        </p:txBody>
      </p:sp>
      <p:pic>
        <p:nvPicPr>
          <p:cNvPr id="11" name="Picture 10" descr="msd_lg_rgb_tl_dkgry.jpg">
            <a:extLst>
              <a:ext uri="{FF2B5EF4-FFF2-40B4-BE49-F238E27FC236}">
                <a16:creationId xmlns:a16="http://schemas.microsoft.com/office/drawing/2014/main" id="{BD57762E-0941-4001-AABD-01249AFFEED7}"/>
              </a:ext>
            </a:extLst>
          </p:cNvPr>
          <p:cNvPicPr>
            <a:picLocks noChangeAspect="1"/>
          </p:cNvPicPr>
          <p:nvPr userDrawn="1"/>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31338" y="6289435"/>
            <a:ext cx="436685" cy="397931"/>
          </a:xfrm>
          <a:prstGeom prst="rect">
            <a:avLst/>
          </a:prstGeom>
        </p:spPr>
      </p:pic>
    </p:spTree>
    <p:custDataLst>
      <p:tags r:id="rId1"/>
    </p:custDataLst>
    <p:extLst>
      <p:ext uri="{BB962C8B-B14F-4D97-AF65-F5344CB8AC3E}">
        <p14:creationId xmlns:p14="http://schemas.microsoft.com/office/powerpoint/2010/main" val="40890534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Section Divider">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447ADDD-920E-4BEB-819B-9759B3CF06AB}"/>
              </a:ext>
            </a:extLst>
          </p:cNvPr>
          <p:cNvSpPr>
            <a:spLocks noGrp="1"/>
          </p:cNvSpPr>
          <p:nvPr>
            <p:ph type="title" hasCustomPrompt="1"/>
          </p:nvPr>
        </p:nvSpPr>
        <p:spPr>
          <a:xfrm>
            <a:off x="0" y="0"/>
            <a:ext cx="5562601" cy="6858000"/>
          </a:xfrm>
          <a:custGeom>
            <a:avLst/>
            <a:gdLst>
              <a:gd name="connsiteX0" fmla="*/ 0 w 5562601"/>
              <a:gd name="connsiteY0" fmla="*/ 0 h 6858000"/>
              <a:gd name="connsiteX1" fmla="*/ 3124199 w 5562601"/>
              <a:gd name="connsiteY1" fmla="*/ 0 h 6858000"/>
              <a:gd name="connsiteX2" fmla="*/ 3694793 w 5562601"/>
              <a:gd name="connsiteY2" fmla="*/ 0 h 6858000"/>
              <a:gd name="connsiteX3" fmla="*/ 3762493 w 5562601"/>
              <a:gd name="connsiteY3" fmla="*/ 43402 h 6858000"/>
              <a:gd name="connsiteX4" fmla="*/ 5562601 w 5562601"/>
              <a:gd name="connsiteY4" fmla="*/ 3429000 h 6858000"/>
              <a:gd name="connsiteX5" fmla="*/ 3762493 w 5562601"/>
              <a:gd name="connsiteY5" fmla="*/ 6814598 h 6858000"/>
              <a:gd name="connsiteX6" fmla="*/ 3694792 w 5562601"/>
              <a:gd name="connsiteY6" fmla="*/ 6858000 h 6858000"/>
              <a:gd name="connsiteX7" fmla="*/ 0 w 5562601"/>
              <a:gd name="connsiteY7" fmla="*/ 6858000 h 6858000"/>
              <a:gd name="connsiteX8" fmla="*/ 0 w 5562601"/>
              <a:gd name="connsiteY8" fmla="*/ 26016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2601" h="6858000">
                <a:moveTo>
                  <a:pt x="0" y="0"/>
                </a:moveTo>
                <a:lnTo>
                  <a:pt x="3124199" y="0"/>
                </a:lnTo>
                <a:lnTo>
                  <a:pt x="3694793" y="0"/>
                </a:lnTo>
                <a:lnTo>
                  <a:pt x="3762493" y="43402"/>
                </a:lnTo>
                <a:cubicBezTo>
                  <a:pt x="4848549" y="777127"/>
                  <a:pt x="5562601" y="2019676"/>
                  <a:pt x="5562601" y="3429000"/>
                </a:cubicBezTo>
                <a:cubicBezTo>
                  <a:pt x="5562601" y="4838325"/>
                  <a:pt x="4848549" y="6080873"/>
                  <a:pt x="3762493" y="6814598"/>
                </a:cubicBezTo>
                <a:lnTo>
                  <a:pt x="3694792" y="6858000"/>
                </a:lnTo>
                <a:lnTo>
                  <a:pt x="0" y="6858000"/>
                </a:lnTo>
                <a:lnTo>
                  <a:pt x="0" y="2601686"/>
                </a:lnTo>
                <a:close/>
              </a:path>
            </a:pathLst>
          </a:custGeom>
          <a:solidFill>
            <a:schemeClr val="accent2"/>
          </a:solidFill>
        </p:spPr>
        <p:txBody>
          <a:bodyPr wrap="square" lIns="396000" tIns="2160000" bIns="2880000" anchor="b" anchorCtr="0">
            <a:normAutofit/>
          </a:bodyPr>
          <a:lstStyle>
            <a:lvl1pPr>
              <a:lnSpc>
                <a:spcPct val="100000"/>
              </a:lnSpc>
              <a:defRPr sz="4000">
                <a:solidFill>
                  <a:schemeClr val="bg1"/>
                </a:solidFill>
              </a:defRPr>
            </a:lvl1pPr>
          </a:lstStyle>
          <a:p>
            <a:r>
              <a:rPr lang="en-US"/>
              <a:t>Click to enter</a:t>
            </a:r>
            <a:br>
              <a:rPr lang="en-US"/>
            </a:br>
            <a:r>
              <a:rPr lang="en-US"/>
              <a:t>section title here</a:t>
            </a:r>
            <a:endParaRPr lang="en-GB"/>
          </a:p>
        </p:txBody>
      </p:sp>
      <p:sp>
        <p:nvSpPr>
          <p:cNvPr id="20" name="Text Placeholder 30">
            <a:extLst>
              <a:ext uri="{FF2B5EF4-FFF2-40B4-BE49-F238E27FC236}">
                <a16:creationId xmlns:a16="http://schemas.microsoft.com/office/drawing/2014/main" id="{9A77974F-FF01-4E3F-957B-CC5A44F8CE16}"/>
              </a:ext>
            </a:extLst>
          </p:cNvPr>
          <p:cNvSpPr txBox="1">
            <a:spLocks/>
          </p:cNvSpPr>
          <p:nvPr userDrawn="1"/>
        </p:nvSpPr>
        <p:spPr>
          <a:xfrm>
            <a:off x="11597151" y="6303999"/>
            <a:ext cx="294812" cy="355098"/>
          </a:xfrm>
          <a:prstGeom prst="rect">
            <a:avLst/>
          </a:pr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a:t> </a:t>
            </a:r>
          </a:p>
        </p:txBody>
      </p:sp>
      <p:pic>
        <p:nvPicPr>
          <p:cNvPr id="11" name="Picture 10" descr="msd_lg_rgb_tl_dkgry.jpg">
            <a:extLst>
              <a:ext uri="{FF2B5EF4-FFF2-40B4-BE49-F238E27FC236}">
                <a16:creationId xmlns:a16="http://schemas.microsoft.com/office/drawing/2014/main" id="{BD57762E-0941-4001-AABD-01249AFFEED7}"/>
              </a:ext>
            </a:extLst>
          </p:cNvPr>
          <p:cNvPicPr>
            <a:picLocks noChangeAspect="1"/>
          </p:cNvPicPr>
          <p:nvPr userDrawn="1"/>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31338" y="6289435"/>
            <a:ext cx="436685" cy="397931"/>
          </a:xfrm>
          <a:prstGeom prst="rect">
            <a:avLst/>
          </a:prstGeom>
        </p:spPr>
      </p:pic>
    </p:spTree>
    <p:custDataLst>
      <p:tags r:id="rId1"/>
    </p:custDataLst>
    <p:extLst>
      <p:ext uri="{BB962C8B-B14F-4D97-AF65-F5344CB8AC3E}">
        <p14:creationId xmlns:p14="http://schemas.microsoft.com/office/powerpoint/2010/main" val="37934339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ey Statem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CFFF0-7218-4B33-8DFC-E37157D920C0}"/>
              </a:ext>
            </a:extLst>
          </p:cNvPr>
          <p:cNvSpPr>
            <a:spLocks noGrp="1"/>
          </p:cNvSpPr>
          <p:nvPr>
            <p:ph type="title" hasCustomPrompt="1"/>
          </p:nvPr>
        </p:nvSpPr>
        <p:spPr>
          <a:xfrm>
            <a:off x="3288323" y="555585"/>
            <a:ext cx="5615354" cy="5614274"/>
          </a:xfrm>
          <a:prstGeom prst="ellipse">
            <a:avLst/>
          </a:prstGeom>
          <a:solidFill>
            <a:schemeClr val="bg1"/>
          </a:solidFill>
        </p:spPr>
        <p:txBody>
          <a:bodyPr anchor="ctr" anchorCtr="0">
            <a:normAutofit/>
          </a:bodyPr>
          <a:lstStyle>
            <a:lvl1pPr algn="ctr">
              <a:defRPr sz="4000">
                <a:solidFill>
                  <a:schemeClr val="accent1"/>
                </a:solidFill>
              </a:defRPr>
            </a:lvl1pPr>
          </a:lstStyle>
          <a:p>
            <a:r>
              <a:rPr lang="en-US"/>
              <a:t>Click to add key statement</a:t>
            </a:r>
          </a:p>
        </p:txBody>
      </p:sp>
      <p:sp>
        <p:nvSpPr>
          <p:cNvPr id="3" name="Date Placeholder 2">
            <a:extLst>
              <a:ext uri="{FF2B5EF4-FFF2-40B4-BE49-F238E27FC236}">
                <a16:creationId xmlns:a16="http://schemas.microsoft.com/office/drawing/2014/main" id="{BA8931D2-AD7B-454A-86A6-EA48B20C0CCA}"/>
              </a:ext>
            </a:extLst>
          </p:cNvPr>
          <p:cNvSpPr>
            <a:spLocks noGrp="1"/>
          </p:cNvSpPr>
          <p:nvPr>
            <p:ph type="dt" sz="half" idx="10"/>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5C0FD97D-3F39-4649-B10A-ECD97F370F22}"/>
              </a:ext>
            </a:extLst>
          </p:cNvPr>
          <p:cNvSpPr>
            <a:spLocks noGrp="1"/>
          </p:cNvSpPr>
          <p:nvPr>
            <p:ph type="sldNum" sz="quarter" idx="12"/>
          </p:nvPr>
        </p:nvSpPr>
        <p:spPr/>
        <p:txBody>
          <a:bodyPr/>
          <a:lstStyle>
            <a:lvl1pPr>
              <a:defRPr>
                <a:solidFill>
                  <a:schemeClr val="bg1"/>
                </a:solidFill>
              </a:defRPr>
            </a:lvl1pPr>
          </a:lstStyle>
          <a:p>
            <a:fld id="{F8E47D07-9D1E-4FE9-B31A-2F5863681021}" type="slidenum">
              <a:rPr lang="en-GB" smtClean="0"/>
              <a:pPr/>
              <a:t>‹#›</a:t>
            </a:fld>
            <a:endParaRPr lang="en-GB"/>
          </a:p>
        </p:txBody>
      </p:sp>
    </p:spTree>
    <p:custDataLst>
      <p:tags r:id="rId1"/>
    </p:custDataLst>
    <p:extLst>
      <p:ext uri="{BB962C8B-B14F-4D97-AF65-F5344CB8AC3E}">
        <p14:creationId xmlns:p14="http://schemas.microsoft.com/office/powerpoint/2010/main" val="14937321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ents_Lake">
    <p:bg>
      <p:bgPr>
        <a:solidFill>
          <a:schemeClr val="bg1"/>
        </a:solidFill>
        <a:effectLst/>
      </p:bgPr>
    </p:bg>
    <p:spTree>
      <p:nvGrpSpPr>
        <p:cNvPr id="1" name=""/>
        <p:cNvGrpSpPr/>
        <p:nvPr/>
      </p:nvGrpSpPr>
      <p:grpSpPr>
        <a:xfrm>
          <a:off x="0" y="0"/>
          <a:ext cx="0" cy="0"/>
          <a:chOff x="0" y="0"/>
          <a:chExt cx="0" cy="0"/>
        </a:xfrm>
      </p:grpSpPr>
      <p:pic>
        <p:nvPicPr>
          <p:cNvPr id="3" name="Hero Image">
            <a:extLst>
              <a:ext uri="{FF2B5EF4-FFF2-40B4-BE49-F238E27FC236}">
                <a16:creationId xmlns:a16="http://schemas.microsoft.com/office/drawing/2014/main" id="{6E164A72-BD2F-B193-586D-6323F93E5370}"/>
              </a:ext>
            </a:extLst>
          </p:cNvPr>
          <p:cNvPicPr>
            <a:picLocks noChangeAspect="1"/>
          </p:cNvPicPr>
          <p:nvPr userDrawn="1"/>
        </p:nvPicPr>
        <p:blipFill rotWithShape="1">
          <a:blip r:embed="rId2"/>
          <a:srcRect l="37876" t="8367" r="30333" b="14200"/>
          <a:stretch/>
        </p:blipFill>
        <p:spPr>
          <a:xfrm>
            <a:off x="7433" y="0"/>
            <a:ext cx="6011086" cy="6832780"/>
          </a:xfrm>
          <a:prstGeom prst="rect">
            <a:avLst/>
          </a:prstGeom>
        </p:spPr>
      </p:pic>
      <p:sp>
        <p:nvSpPr>
          <p:cNvPr id="26" name="Freeform 25">
            <a:extLst>
              <a:ext uri="{FF2B5EF4-FFF2-40B4-BE49-F238E27FC236}">
                <a16:creationId xmlns:a16="http://schemas.microsoft.com/office/drawing/2014/main" id="{BCFF43F5-04C3-C44D-9098-94D3B58E2493}"/>
              </a:ext>
            </a:extLst>
          </p:cNvPr>
          <p:cNvSpPr/>
          <p:nvPr userDrawn="1"/>
        </p:nvSpPr>
        <p:spPr>
          <a:xfrm>
            <a:off x="-5674" y="188870"/>
            <a:ext cx="3112918" cy="935235"/>
          </a:xfrm>
          <a:custGeom>
            <a:avLst/>
            <a:gdLst>
              <a:gd name="connsiteX0" fmla="*/ 0 w 7743533"/>
              <a:gd name="connsiteY0" fmla="*/ 0 h 946539"/>
              <a:gd name="connsiteX1" fmla="*/ 7743533 w 7743533"/>
              <a:gd name="connsiteY1" fmla="*/ 7185 h 946539"/>
              <a:gd name="connsiteX2" fmla="*/ 7513570 w 7743533"/>
              <a:gd name="connsiteY2" fmla="*/ 942420 h 946539"/>
              <a:gd name="connsiteX3" fmla="*/ 0 w 7743533"/>
              <a:gd name="connsiteY3" fmla="*/ 946539 h 946539"/>
              <a:gd name="connsiteX0" fmla="*/ 0 w 7743533"/>
              <a:gd name="connsiteY0" fmla="*/ 0 h 946539"/>
              <a:gd name="connsiteX1" fmla="*/ 7743533 w 7743533"/>
              <a:gd name="connsiteY1" fmla="*/ 7185 h 946539"/>
              <a:gd name="connsiteX2" fmla="*/ 7513570 w 7743533"/>
              <a:gd name="connsiteY2" fmla="*/ 942420 h 946539"/>
              <a:gd name="connsiteX3" fmla="*/ 4343400 w 7743533"/>
              <a:gd name="connsiteY3" fmla="*/ 946539 h 946539"/>
              <a:gd name="connsiteX4" fmla="*/ 0 w 7743533"/>
              <a:gd name="connsiteY4" fmla="*/ 0 h 946539"/>
              <a:gd name="connsiteX0" fmla="*/ 0 w 3405994"/>
              <a:gd name="connsiteY0" fmla="*/ 22123 h 939354"/>
              <a:gd name="connsiteX1" fmla="*/ 3405994 w 3405994"/>
              <a:gd name="connsiteY1" fmla="*/ 0 h 939354"/>
              <a:gd name="connsiteX2" fmla="*/ 3176031 w 3405994"/>
              <a:gd name="connsiteY2" fmla="*/ 935235 h 939354"/>
              <a:gd name="connsiteX3" fmla="*/ 5861 w 3405994"/>
              <a:gd name="connsiteY3" fmla="*/ 939354 h 939354"/>
              <a:gd name="connsiteX4" fmla="*/ 0 w 3405994"/>
              <a:gd name="connsiteY4" fmla="*/ 22123 h 939354"/>
              <a:gd name="connsiteX0" fmla="*/ 0 w 3405994"/>
              <a:gd name="connsiteY0" fmla="*/ 22123 h 935235"/>
              <a:gd name="connsiteX1" fmla="*/ 3405994 w 3405994"/>
              <a:gd name="connsiteY1" fmla="*/ 0 h 935235"/>
              <a:gd name="connsiteX2" fmla="*/ 3176031 w 3405994"/>
              <a:gd name="connsiteY2" fmla="*/ 935235 h 935235"/>
              <a:gd name="connsiteX3" fmla="*/ 293076 w 3405994"/>
              <a:gd name="connsiteY3" fmla="*/ 933493 h 935235"/>
              <a:gd name="connsiteX4" fmla="*/ 0 w 3405994"/>
              <a:gd name="connsiteY4" fmla="*/ 22123 h 935235"/>
              <a:gd name="connsiteX0" fmla="*/ 5863 w 3112918"/>
              <a:gd name="connsiteY0" fmla="*/ 22123 h 935235"/>
              <a:gd name="connsiteX1" fmla="*/ 3112918 w 3112918"/>
              <a:gd name="connsiteY1" fmla="*/ 0 h 935235"/>
              <a:gd name="connsiteX2" fmla="*/ 2882955 w 3112918"/>
              <a:gd name="connsiteY2" fmla="*/ 935235 h 935235"/>
              <a:gd name="connsiteX3" fmla="*/ 0 w 3112918"/>
              <a:gd name="connsiteY3" fmla="*/ 933493 h 935235"/>
              <a:gd name="connsiteX4" fmla="*/ 5863 w 3112918"/>
              <a:gd name="connsiteY4" fmla="*/ 22123 h 935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2918" h="935235">
                <a:moveTo>
                  <a:pt x="5863" y="22123"/>
                </a:moveTo>
                <a:lnTo>
                  <a:pt x="3112918" y="0"/>
                </a:lnTo>
                <a:lnTo>
                  <a:pt x="2882955" y="935235"/>
                </a:lnTo>
                <a:lnTo>
                  <a:pt x="0" y="933493"/>
                </a:lnTo>
                <a:cubicBezTo>
                  <a:pt x="0" y="617980"/>
                  <a:pt x="5863" y="337636"/>
                  <a:pt x="5863" y="22123"/>
                </a:cubicBezTo>
                <a:close/>
              </a:path>
            </a:pathLst>
          </a:custGeom>
          <a:solidFill>
            <a:srgbClr val="960064">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6" name="Freeform 5">
            <a:extLst>
              <a:ext uri="{FF2B5EF4-FFF2-40B4-BE49-F238E27FC236}">
                <a16:creationId xmlns:a16="http://schemas.microsoft.com/office/drawing/2014/main" id="{133B66CA-C255-37A2-EDA3-1A02CD9F2DAD}"/>
              </a:ext>
            </a:extLst>
          </p:cNvPr>
          <p:cNvSpPr/>
          <p:nvPr userDrawn="1"/>
        </p:nvSpPr>
        <p:spPr>
          <a:xfrm>
            <a:off x="2" y="1"/>
            <a:ext cx="2935432" cy="968374"/>
          </a:xfrm>
          <a:custGeom>
            <a:avLst/>
            <a:gdLst>
              <a:gd name="connsiteX0" fmla="*/ 0 w 7519155"/>
              <a:gd name="connsiteY0" fmla="*/ 0 h 966668"/>
              <a:gd name="connsiteX1" fmla="*/ 7519155 w 7519155"/>
              <a:gd name="connsiteY1" fmla="*/ 0 h 966668"/>
              <a:gd name="connsiteX2" fmla="*/ 7290187 w 7519155"/>
              <a:gd name="connsiteY2" fmla="*/ 966668 h 966668"/>
              <a:gd name="connsiteX3" fmla="*/ 0 w 7519155"/>
              <a:gd name="connsiteY3" fmla="*/ 956651 h 966668"/>
              <a:gd name="connsiteX0" fmla="*/ 0 w 7519155"/>
              <a:gd name="connsiteY0" fmla="*/ 0 h 968374"/>
              <a:gd name="connsiteX1" fmla="*/ 7519155 w 7519155"/>
              <a:gd name="connsiteY1" fmla="*/ 0 h 968374"/>
              <a:gd name="connsiteX2" fmla="*/ 7290187 w 7519155"/>
              <a:gd name="connsiteY2" fmla="*/ 966668 h 968374"/>
              <a:gd name="connsiteX3" fmla="*/ 4589585 w 7519155"/>
              <a:gd name="connsiteY3" fmla="*/ 968374 h 968374"/>
              <a:gd name="connsiteX4" fmla="*/ 0 w 7519155"/>
              <a:gd name="connsiteY4" fmla="*/ 0 h 968374"/>
              <a:gd name="connsiteX0" fmla="*/ 0 w 2935432"/>
              <a:gd name="connsiteY0" fmla="*/ 11723 h 968374"/>
              <a:gd name="connsiteX1" fmla="*/ 2935432 w 2935432"/>
              <a:gd name="connsiteY1" fmla="*/ 0 h 968374"/>
              <a:gd name="connsiteX2" fmla="*/ 2706464 w 2935432"/>
              <a:gd name="connsiteY2" fmla="*/ 966668 h 968374"/>
              <a:gd name="connsiteX3" fmla="*/ 5862 w 2935432"/>
              <a:gd name="connsiteY3" fmla="*/ 968374 h 968374"/>
              <a:gd name="connsiteX4" fmla="*/ 0 w 2935432"/>
              <a:gd name="connsiteY4" fmla="*/ 11723 h 968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432" h="968374">
                <a:moveTo>
                  <a:pt x="0" y="11723"/>
                </a:moveTo>
                <a:lnTo>
                  <a:pt x="2935432" y="0"/>
                </a:lnTo>
                <a:lnTo>
                  <a:pt x="2706464" y="966668"/>
                </a:lnTo>
                <a:lnTo>
                  <a:pt x="5862" y="968374"/>
                </a:lnTo>
                <a:cubicBezTo>
                  <a:pt x="5862" y="649490"/>
                  <a:pt x="0" y="330607"/>
                  <a:pt x="0" y="11723"/>
                </a:cubicBezTo>
                <a:close/>
              </a:path>
            </a:pathLst>
          </a:custGeom>
          <a:solidFill>
            <a:srgbClr val="960064">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351" dirty="0"/>
          </a:p>
        </p:txBody>
      </p:sp>
      <p:sp>
        <p:nvSpPr>
          <p:cNvPr id="4" name="Angled Panel">
            <a:extLst>
              <a:ext uri="{FF2B5EF4-FFF2-40B4-BE49-F238E27FC236}">
                <a16:creationId xmlns:a16="http://schemas.microsoft.com/office/drawing/2014/main" id="{2231B2CC-D08B-FBA5-DA2A-B293A16490EB}"/>
              </a:ext>
            </a:extLst>
          </p:cNvPr>
          <p:cNvSpPr/>
          <p:nvPr userDrawn="1"/>
        </p:nvSpPr>
        <p:spPr>
          <a:xfrm>
            <a:off x="4929045" y="0"/>
            <a:ext cx="7255522" cy="6832780"/>
          </a:xfrm>
          <a:custGeom>
            <a:avLst/>
            <a:gdLst>
              <a:gd name="connsiteX0" fmla="*/ 0 w 6370983"/>
              <a:gd name="connsiteY0" fmla="*/ 0 h 6817912"/>
              <a:gd name="connsiteX1" fmla="*/ 6370983 w 6370983"/>
              <a:gd name="connsiteY1" fmla="*/ 0 h 6817912"/>
              <a:gd name="connsiteX2" fmla="*/ 6370983 w 6370983"/>
              <a:gd name="connsiteY2" fmla="*/ 1 h 6817912"/>
              <a:gd name="connsiteX3" fmla="*/ 5978149 w 6370983"/>
              <a:gd name="connsiteY3" fmla="*/ 1 h 6817912"/>
              <a:gd name="connsiteX4" fmla="*/ 4929044 w 6370983"/>
              <a:gd name="connsiteY4" fmla="*/ 6817912 h 6817912"/>
              <a:gd name="connsiteX5" fmla="*/ 0 w 6370983"/>
              <a:gd name="connsiteY5" fmla="*/ 6817912 h 6817912"/>
              <a:gd name="connsiteX0" fmla="*/ 12184566 w 12184566"/>
              <a:gd name="connsiteY0" fmla="*/ 7434 h 6817912"/>
              <a:gd name="connsiteX1" fmla="*/ 6370983 w 12184566"/>
              <a:gd name="connsiteY1" fmla="*/ 0 h 6817912"/>
              <a:gd name="connsiteX2" fmla="*/ 6370983 w 12184566"/>
              <a:gd name="connsiteY2" fmla="*/ 1 h 6817912"/>
              <a:gd name="connsiteX3" fmla="*/ 5978149 w 12184566"/>
              <a:gd name="connsiteY3" fmla="*/ 1 h 6817912"/>
              <a:gd name="connsiteX4" fmla="*/ 4929044 w 12184566"/>
              <a:gd name="connsiteY4" fmla="*/ 6817912 h 6817912"/>
              <a:gd name="connsiteX5" fmla="*/ 0 w 12184566"/>
              <a:gd name="connsiteY5" fmla="*/ 6817912 h 6817912"/>
              <a:gd name="connsiteX6" fmla="*/ 12184566 w 12184566"/>
              <a:gd name="connsiteY6" fmla="*/ 7434 h 6817912"/>
              <a:gd name="connsiteX0" fmla="*/ 7255522 w 7255522"/>
              <a:gd name="connsiteY0" fmla="*/ 7434 h 6832780"/>
              <a:gd name="connsiteX1" fmla="*/ 1441939 w 7255522"/>
              <a:gd name="connsiteY1" fmla="*/ 0 h 6832780"/>
              <a:gd name="connsiteX2" fmla="*/ 1441939 w 7255522"/>
              <a:gd name="connsiteY2" fmla="*/ 1 h 6832780"/>
              <a:gd name="connsiteX3" fmla="*/ 1049105 w 7255522"/>
              <a:gd name="connsiteY3" fmla="*/ 1 h 6832780"/>
              <a:gd name="connsiteX4" fmla="*/ 0 w 7255522"/>
              <a:gd name="connsiteY4" fmla="*/ 6817912 h 6832780"/>
              <a:gd name="connsiteX5" fmla="*/ 7255522 w 7255522"/>
              <a:gd name="connsiteY5" fmla="*/ 6832780 h 6832780"/>
              <a:gd name="connsiteX6" fmla="*/ 7255522 w 7255522"/>
              <a:gd name="connsiteY6" fmla="*/ 7434 h 683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55522" h="6832780">
                <a:moveTo>
                  <a:pt x="7255522" y="7434"/>
                </a:moveTo>
                <a:lnTo>
                  <a:pt x="1441939" y="0"/>
                </a:lnTo>
                <a:lnTo>
                  <a:pt x="1441939" y="1"/>
                </a:lnTo>
                <a:lnTo>
                  <a:pt x="1049105" y="1"/>
                </a:lnTo>
                <a:lnTo>
                  <a:pt x="0" y="6817912"/>
                </a:lnTo>
                <a:lnTo>
                  <a:pt x="7255522" y="6832780"/>
                </a:lnTo>
                <a:lnTo>
                  <a:pt x="7255522" y="743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5" name="Base Rule">
            <a:extLst>
              <a:ext uri="{FF2B5EF4-FFF2-40B4-BE49-F238E27FC236}">
                <a16:creationId xmlns:a16="http://schemas.microsoft.com/office/drawing/2014/main" id="{9C556E32-4266-0944-9D59-FFCE8BA9C33D}"/>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8" name="Copy">
            <a:extLst>
              <a:ext uri="{FF2B5EF4-FFF2-40B4-BE49-F238E27FC236}">
                <a16:creationId xmlns:a16="http://schemas.microsoft.com/office/drawing/2014/main" id="{7F04475A-3F47-744E-863A-2C31801325C2}"/>
              </a:ext>
            </a:extLst>
          </p:cNvPr>
          <p:cNvSpPr/>
          <p:nvPr userDrawn="1"/>
        </p:nvSpPr>
        <p:spPr>
          <a:xfrm>
            <a:off x="5014250" y="6392557"/>
            <a:ext cx="3461536" cy="261610"/>
          </a:xfrm>
          <a:prstGeom prst="rect">
            <a:avLst/>
          </a:prstGeom>
        </p:spPr>
        <p:txBody>
          <a:bodyPr wrap="square"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pic>
        <p:nvPicPr>
          <p:cNvPr id="14" name="Lynparza Logo">
            <a:extLst>
              <a:ext uri="{FF2B5EF4-FFF2-40B4-BE49-F238E27FC236}">
                <a16:creationId xmlns:a16="http://schemas.microsoft.com/office/drawing/2014/main" id="{BDC31F5D-1439-F246-95C0-3359A6F3D84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sp>
        <p:nvSpPr>
          <p:cNvPr id="13" name="Text Placeholder 12">
            <a:extLst>
              <a:ext uri="{FF2B5EF4-FFF2-40B4-BE49-F238E27FC236}">
                <a16:creationId xmlns:a16="http://schemas.microsoft.com/office/drawing/2014/main" id="{1EDA0A41-D542-AE4D-9DFE-4F286B3F70C8}"/>
              </a:ext>
            </a:extLst>
          </p:cNvPr>
          <p:cNvSpPr>
            <a:spLocks noGrp="1"/>
          </p:cNvSpPr>
          <p:nvPr userDrawn="1">
            <p:ph type="body" sz="quarter" idx="12" hasCustomPrompt="1"/>
          </p:nvPr>
        </p:nvSpPr>
        <p:spPr>
          <a:xfrm>
            <a:off x="5946931" y="1020228"/>
            <a:ext cx="9986400" cy="4147200"/>
          </a:xfrm>
          <a:prstGeom prst="rect">
            <a:avLst/>
          </a:prstGeom>
        </p:spPr>
        <p:txBody>
          <a:bodyPr lIns="0" tIns="0" rIns="0" bIns="0">
            <a:normAutofit/>
          </a:bodyPr>
          <a:lstStyle>
            <a:lvl1pPr marL="0" indent="0">
              <a:buClr>
                <a:schemeClr val="accent1"/>
              </a:buClr>
              <a:buFontTx/>
              <a:buNone/>
              <a:defRPr sz="1400" b="1">
                <a:solidFill>
                  <a:srgbClr val="960064"/>
                </a:solidFill>
              </a:defRPr>
            </a:lvl1pPr>
            <a:lvl2pPr marL="457189" indent="0">
              <a:buClr>
                <a:schemeClr val="accent1"/>
              </a:buClr>
              <a:buFontTx/>
              <a:buNone/>
              <a:defRPr sz="1200" b="1">
                <a:solidFill>
                  <a:srgbClr val="960064"/>
                </a:solidFill>
              </a:defRPr>
            </a:lvl2pPr>
            <a:lvl3pPr marL="914377" indent="0">
              <a:buClr>
                <a:schemeClr val="accent1"/>
              </a:buClr>
              <a:buFontTx/>
              <a:buNone/>
              <a:defRPr sz="1100" b="1">
                <a:solidFill>
                  <a:srgbClr val="960064"/>
                </a:solidFill>
              </a:defRPr>
            </a:lvl3pPr>
            <a:lvl4pPr marL="1371566" indent="0">
              <a:buClr>
                <a:schemeClr val="accent1"/>
              </a:buClr>
              <a:buFontTx/>
              <a:buNone/>
              <a:defRPr sz="1051" b="1">
                <a:solidFill>
                  <a:srgbClr val="960064"/>
                </a:solidFill>
              </a:defRPr>
            </a:lvl4pPr>
            <a:lvl5pPr marL="1828755" indent="0">
              <a:buClr>
                <a:schemeClr val="accent1"/>
              </a:buClr>
              <a:buFontTx/>
              <a:buNone/>
              <a:defRPr sz="1000" b="1">
                <a:solidFill>
                  <a:srgbClr val="96006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Header">
            <a:extLst>
              <a:ext uri="{FF2B5EF4-FFF2-40B4-BE49-F238E27FC236}">
                <a16:creationId xmlns:a16="http://schemas.microsoft.com/office/drawing/2014/main" id="{83C9C947-5B46-4041-9416-D36AEA0A291D}"/>
              </a:ext>
            </a:extLst>
          </p:cNvPr>
          <p:cNvSpPr>
            <a:spLocks noGrp="1"/>
          </p:cNvSpPr>
          <p:nvPr userDrawn="1">
            <p:ph type="body" sz="quarter" idx="11" hasCustomPrompt="1"/>
          </p:nvPr>
        </p:nvSpPr>
        <p:spPr>
          <a:xfrm>
            <a:off x="838800" y="169200"/>
            <a:ext cx="1857508" cy="784800"/>
          </a:xfrm>
          <a:prstGeom prst="rect">
            <a:avLst/>
          </a:prstGeom>
        </p:spPr>
        <p:txBody>
          <a:bodyPr lIns="0" tIns="90000" rIns="46800" bIns="0">
            <a:normAutofit/>
          </a:bodyPr>
          <a:lstStyle>
            <a:lvl1pPr marL="0" indent="0">
              <a:lnSpc>
                <a:spcPct val="100000"/>
              </a:lnSpc>
              <a:spcAft>
                <a:spcPts val="200"/>
              </a:spcAft>
              <a:buFontTx/>
              <a:buNone/>
              <a:defRPr sz="2200" b="1" i="1">
                <a:solidFill>
                  <a:schemeClr val="bg1"/>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CONTENTS</a:t>
            </a:r>
          </a:p>
        </p:txBody>
      </p:sp>
    </p:spTree>
    <p:extLst>
      <p:ext uri="{BB962C8B-B14F-4D97-AF65-F5344CB8AC3E}">
        <p14:creationId xmlns:p14="http://schemas.microsoft.com/office/powerpoint/2010/main" val="4148546136"/>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guide id="3" orient="horz" pos="2160" userDrawn="1">
          <p15:clr>
            <a:srgbClr val="FBAE40"/>
          </p15:clr>
        </p15:guide>
        <p15:guide id="4" orient="horz" pos="3997"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Date Placeholder 7">
            <a:extLst>
              <a:ext uri="{FF2B5EF4-FFF2-40B4-BE49-F238E27FC236}">
                <a16:creationId xmlns:a16="http://schemas.microsoft.com/office/drawing/2014/main" id="{11075AA4-1FA9-4704-A587-D8E88C1D1EF9}"/>
              </a:ext>
            </a:extLst>
          </p:cNvPr>
          <p:cNvSpPr>
            <a:spLocks noGrp="1"/>
          </p:cNvSpPr>
          <p:nvPr>
            <p:ph type="dt" sz="half" idx="10"/>
          </p:nvPr>
        </p:nvSpPr>
        <p:spPr/>
        <p:txBody>
          <a:bodyPr/>
          <a:lstStyle/>
          <a:p>
            <a:endParaRPr lang="en-GB"/>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a:lstStyle/>
          <a:p>
            <a:fld id="{F8E47D07-9D1E-4FE9-B31A-2F5863681021}" type="slidenum">
              <a:rPr lang="en-GB" smtClean="0"/>
              <a:pPr/>
              <a:t>‹#›</a:t>
            </a:fld>
            <a:endParaRPr lang="en-GB"/>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solidFill>
                  <a:srgbClr val="7F7F7F"/>
                </a:solidFill>
              </a:defRPr>
            </a:lvl1pPr>
          </a:lstStyle>
          <a:p>
            <a:pPr lvl="0"/>
            <a:r>
              <a:rPr lang="en-US"/>
              <a:t>Footnotes</a:t>
            </a:r>
          </a:p>
        </p:txBody>
      </p:sp>
      <p:pic>
        <p:nvPicPr>
          <p:cNvPr id="7" name="Picture 6" descr="msd_lg_rgb_tl_dkgry.jpg">
            <a:extLst>
              <a:ext uri="{FF2B5EF4-FFF2-40B4-BE49-F238E27FC236}">
                <a16:creationId xmlns:a16="http://schemas.microsoft.com/office/drawing/2014/main" id="{775E8429-CF06-41CB-BCA4-917B8E8ECBD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338" y="6289435"/>
            <a:ext cx="436685" cy="397931"/>
          </a:xfrm>
          <a:prstGeom prst="rect">
            <a:avLst/>
          </a:prstGeom>
        </p:spPr>
      </p:pic>
    </p:spTree>
    <p:custDataLst>
      <p:tags r:id="rId1"/>
    </p:custDataLst>
    <p:extLst>
      <p:ext uri="{BB962C8B-B14F-4D97-AF65-F5344CB8AC3E}">
        <p14:creationId xmlns:p14="http://schemas.microsoft.com/office/powerpoint/2010/main" val="4150103656"/>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Date Placeholder 7">
            <a:extLst>
              <a:ext uri="{FF2B5EF4-FFF2-40B4-BE49-F238E27FC236}">
                <a16:creationId xmlns:a16="http://schemas.microsoft.com/office/drawing/2014/main" id="{11075AA4-1FA9-4704-A587-D8E88C1D1EF9}"/>
              </a:ext>
            </a:extLst>
          </p:cNvPr>
          <p:cNvSpPr>
            <a:spLocks noGrp="1"/>
          </p:cNvSpPr>
          <p:nvPr>
            <p:ph type="dt" sz="half" idx="10"/>
          </p:nvPr>
        </p:nvSpPr>
        <p:spPr/>
        <p:txBody>
          <a:bodyPr/>
          <a:lstStyle/>
          <a:p>
            <a:endParaRPr lang="en-GB"/>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a:lstStyle/>
          <a:p>
            <a:fld id="{F8E47D07-9D1E-4FE9-B31A-2F5863681021}" type="slidenum">
              <a:rPr lang="en-GB" smtClean="0"/>
              <a:pPr/>
              <a:t>‹#›</a:t>
            </a:fld>
            <a:endParaRPr lang="en-GB"/>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solidFill>
                  <a:srgbClr val="7F7F7F"/>
                </a:solidFill>
              </a:defRPr>
            </a:lvl1pPr>
          </a:lstStyle>
          <a:p>
            <a:pPr lvl="0"/>
            <a:r>
              <a:rPr lang="en-US"/>
              <a:t>Footnotes</a:t>
            </a:r>
          </a:p>
        </p:txBody>
      </p:sp>
      <p:pic>
        <p:nvPicPr>
          <p:cNvPr id="7" name="Picture 6" descr="msd_lg_rgb_tl_dkgry.jpg">
            <a:extLst>
              <a:ext uri="{FF2B5EF4-FFF2-40B4-BE49-F238E27FC236}">
                <a16:creationId xmlns:a16="http://schemas.microsoft.com/office/drawing/2014/main" id="{775E8429-CF06-41CB-BCA4-917B8E8ECBD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338" y="6306061"/>
            <a:ext cx="436685" cy="397931"/>
          </a:xfrm>
          <a:prstGeom prst="rect">
            <a:avLst/>
          </a:prstGeom>
        </p:spPr>
      </p:pic>
      <p:graphicFrame>
        <p:nvGraphicFramePr>
          <p:cNvPr id="119" name="Table 56">
            <a:extLst>
              <a:ext uri="{FF2B5EF4-FFF2-40B4-BE49-F238E27FC236}">
                <a16:creationId xmlns:a16="http://schemas.microsoft.com/office/drawing/2014/main" id="{AAB25B58-B778-493E-982C-1E0206D6829A}"/>
              </a:ext>
            </a:extLst>
          </p:cNvPr>
          <p:cNvGraphicFramePr>
            <a:graphicFrameLocks noGrp="1"/>
          </p:cNvGraphicFramePr>
          <p:nvPr userDrawn="1">
            <p:extLst>
              <p:ext uri="{D42A27DB-BD31-4B8C-83A1-F6EECF244321}">
                <p14:modId xmlns:p14="http://schemas.microsoft.com/office/powerpoint/2010/main" val="68659216"/>
              </p:ext>
            </p:extLst>
          </p:nvPr>
        </p:nvGraphicFramePr>
        <p:xfrm>
          <a:off x="399024" y="1463971"/>
          <a:ext cx="11184565" cy="4682358"/>
        </p:xfrm>
        <a:graphic>
          <a:graphicData uri="http://schemas.openxmlformats.org/drawingml/2006/table">
            <a:tbl>
              <a:tblPr firstRow="1" bandRow="1"/>
              <a:tblGrid>
                <a:gridCol w="1177405">
                  <a:extLst>
                    <a:ext uri="{9D8B030D-6E8A-4147-A177-3AD203B41FA5}">
                      <a16:colId xmlns:a16="http://schemas.microsoft.com/office/drawing/2014/main" val="3588416118"/>
                    </a:ext>
                  </a:extLst>
                </a:gridCol>
                <a:gridCol w="10007160">
                  <a:extLst>
                    <a:ext uri="{9D8B030D-6E8A-4147-A177-3AD203B41FA5}">
                      <a16:colId xmlns:a16="http://schemas.microsoft.com/office/drawing/2014/main" val="3304543107"/>
                    </a:ext>
                  </a:extLst>
                </a:gridCol>
              </a:tblGrid>
              <a:tr h="61695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a:r>
                        <a:rPr lang="en-GB" sz="1000" b="1">
                          <a:solidFill>
                            <a:schemeClr val="tx1"/>
                          </a:solidFill>
                          <a:latin typeface="+mn-lt"/>
                          <a:cs typeface="Arial" panose="020B0604020202020204" pitchFamily="34" charset="0"/>
                        </a:rPr>
                        <a:t>Trial design</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a:endParaRPr lang="en-GB" sz="1000" b="1">
                        <a:solidFill>
                          <a:schemeClr val="tx1"/>
                        </a:solidFill>
                        <a:latin typeface="+mn-lt"/>
                        <a:cs typeface="Arial" panose="020B0604020202020204" pitchFamily="34" charset="0"/>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6890114"/>
                  </a:ext>
                </a:extLst>
              </a:tr>
              <a:tr h="57508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GB" sz="1000" b="1">
                          <a:solidFill>
                            <a:schemeClr val="tx1"/>
                          </a:solidFill>
                          <a:latin typeface="+mn-lt"/>
                          <a:cs typeface="Arial" panose="020B0604020202020204" pitchFamily="34" charset="0"/>
                        </a:rPr>
                        <a:t>Treatment</a:t>
                      </a:r>
                      <a:br>
                        <a:rPr lang="en-GB" sz="1000" b="1">
                          <a:solidFill>
                            <a:schemeClr val="tx1"/>
                          </a:solidFill>
                          <a:latin typeface="+mn-lt"/>
                          <a:cs typeface="Arial" panose="020B0604020202020204" pitchFamily="34" charset="0"/>
                        </a:rPr>
                      </a:br>
                      <a:r>
                        <a:rPr lang="en-GB" sz="1000" b="1">
                          <a:solidFill>
                            <a:schemeClr val="tx1"/>
                          </a:solidFill>
                          <a:latin typeface="+mn-lt"/>
                          <a:cs typeface="Arial" panose="020B0604020202020204" pitchFamily="34" charset="0"/>
                        </a:rPr>
                        <a:t>and dosing</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endParaRPr lang="en-GB" sz="1000" b="1">
                        <a:solidFill>
                          <a:schemeClr val="tx1"/>
                        </a:solidFill>
                        <a:latin typeface="+mn-lt"/>
                        <a:cs typeface="Arial" panose="020B0604020202020204" pitchFamily="34" charset="0"/>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2009073"/>
                  </a:ext>
                </a:extLst>
              </a:tr>
              <a:tr h="360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GB" sz="1000" b="1">
                          <a:solidFill>
                            <a:schemeClr val="tx1"/>
                          </a:solidFill>
                          <a:latin typeface="+mn-lt"/>
                          <a:cs typeface="Arial" panose="020B0604020202020204" pitchFamily="34" charset="0"/>
                        </a:rPr>
                        <a:t>Primary population</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endParaRPr lang="en-GB" sz="1000" b="1">
                        <a:solidFill>
                          <a:schemeClr val="tx1"/>
                        </a:solidFill>
                        <a:latin typeface="+mn-lt"/>
                        <a:cs typeface="Arial" panose="020B0604020202020204" pitchFamily="34" charset="0"/>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6848735"/>
                  </a:ext>
                </a:extLst>
              </a:tr>
              <a:tr h="74986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GB" sz="1000" b="1">
                          <a:solidFill>
                            <a:schemeClr val="tx1"/>
                          </a:solidFill>
                          <a:latin typeface="+mn-lt"/>
                          <a:cs typeface="Arial" panose="020B0604020202020204" pitchFamily="34" charset="0"/>
                        </a:rPr>
                        <a:t>Stratification</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endParaRPr lang="en-GB" sz="1000" b="1">
                        <a:solidFill>
                          <a:schemeClr val="tx1"/>
                        </a:solidFill>
                        <a:latin typeface="+mn-lt"/>
                        <a:cs typeface="Arial" panose="020B0604020202020204" pitchFamily="34" charset="0"/>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1801425"/>
                  </a:ext>
                </a:extLst>
              </a:tr>
              <a:tr h="78457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GB" sz="1000" b="1" err="1">
                          <a:solidFill>
                            <a:schemeClr val="tx1"/>
                          </a:solidFill>
                          <a:latin typeface="+mn-lt"/>
                          <a:cs typeface="Arial" panose="020B0604020202020204" pitchFamily="34" charset="0"/>
                        </a:rPr>
                        <a:t>HRRm</a:t>
                      </a:r>
                      <a:r>
                        <a:rPr lang="en-GB" sz="1000" b="1">
                          <a:solidFill>
                            <a:schemeClr val="tx1"/>
                          </a:solidFill>
                          <a:latin typeface="+mn-lt"/>
                          <a:cs typeface="Arial" panose="020B0604020202020204" pitchFamily="34" charset="0"/>
                        </a:rPr>
                        <a:t> gene </a:t>
                      </a:r>
                      <a:br>
                        <a:rPr lang="en-GB" sz="1000" b="1">
                          <a:solidFill>
                            <a:schemeClr val="tx1"/>
                          </a:solidFill>
                          <a:latin typeface="+mn-lt"/>
                          <a:cs typeface="Arial" panose="020B0604020202020204" pitchFamily="34" charset="0"/>
                        </a:rPr>
                      </a:br>
                      <a:r>
                        <a:rPr lang="en-GB" sz="1000" b="1">
                          <a:solidFill>
                            <a:schemeClr val="tx1"/>
                          </a:solidFill>
                          <a:latin typeface="+mn-lt"/>
                          <a:cs typeface="Arial" panose="020B0604020202020204" pitchFamily="34" charset="0"/>
                        </a:rPr>
                        <a:t>panel</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endParaRPr lang="en-GB" sz="1000" b="1">
                        <a:solidFill>
                          <a:schemeClr val="tx1"/>
                        </a:solidFill>
                        <a:latin typeface="+mn-lt"/>
                        <a:cs typeface="Arial" panose="020B0604020202020204" pitchFamily="34" charset="0"/>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842752"/>
                  </a:ext>
                </a:extLst>
              </a:tr>
              <a:tr h="56896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GB" sz="1000" b="1">
                          <a:solidFill>
                            <a:schemeClr val="tx1"/>
                          </a:solidFill>
                          <a:latin typeface="+mn-lt"/>
                          <a:cs typeface="Arial" panose="020B0604020202020204" pitchFamily="34" charset="0"/>
                        </a:rPr>
                        <a:t>Primary </a:t>
                      </a:r>
                      <a:br>
                        <a:rPr lang="en-GB" sz="1000" b="1">
                          <a:solidFill>
                            <a:schemeClr val="tx1"/>
                          </a:solidFill>
                          <a:latin typeface="+mn-lt"/>
                          <a:cs typeface="Arial" panose="020B0604020202020204" pitchFamily="34" charset="0"/>
                        </a:rPr>
                      </a:br>
                      <a:r>
                        <a:rPr lang="en-GB" sz="1000" b="1">
                          <a:solidFill>
                            <a:schemeClr val="tx1"/>
                          </a:solidFill>
                          <a:latin typeface="+mn-lt"/>
                          <a:cs typeface="Arial" panose="020B0604020202020204" pitchFamily="34" charset="0"/>
                        </a:rPr>
                        <a:t>endpoint</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endParaRPr lang="en-GB" sz="1000" b="1">
                        <a:solidFill>
                          <a:schemeClr val="tx1"/>
                        </a:solidFill>
                        <a:latin typeface="+mn-lt"/>
                        <a:cs typeface="Arial" panose="020B0604020202020204" pitchFamily="34" charset="0"/>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2424578"/>
                  </a:ext>
                </a:extLst>
              </a:tr>
              <a:tr h="4921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n-GB" sz="1000" b="1">
                          <a:solidFill>
                            <a:schemeClr val="tx1"/>
                          </a:solidFill>
                          <a:latin typeface="+mn-lt"/>
                          <a:cs typeface="Arial" panose="020B0604020202020204" pitchFamily="34" charset="0"/>
                        </a:rPr>
                        <a:t>Patient </a:t>
                      </a:r>
                      <a:br>
                        <a:rPr lang="en-GB" sz="1000" b="1">
                          <a:solidFill>
                            <a:schemeClr val="tx1"/>
                          </a:solidFill>
                          <a:latin typeface="+mn-lt"/>
                          <a:cs typeface="Arial" panose="020B0604020202020204" pitchFamily="34" charset="0"/>
                        </a:rPr>
                      </a:br>
                      <a:r>
                        <a:rPr lang="en-GB" sz="1000" b="1">
                          <a:solidFill>
                            <a:schemeClr val="tx1"/>
                          </a:solidFill>
                          <a:latin typeface="+mn-lt"/>
                          <a:cs typeface="Arial" panose="020B0604020202020204" pitchFamily="34" charset="0"/>
                        </a:rPr>
                        <a:t>numbers</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endParaRPr lang="en-GB" sz="1000" b="1">
                        <a:solidFill>
                          <a:schemeClr val="tx1"/>
                        </a:solidFill>
                        <a:latin typeface="+mn-lt"/>
                        <a:cs typeface="Arial" panose="020B0604020202020204" pitchFamily="34" charset="0"/>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932048"/>
                  </a:ext>
                </a:extLst>
              </a:tr>
              <a:tr h="468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a:solidFill>
                            <a:schemeClr val="tx1"/>
                          </a:solidFill>
                          <a:latin typeface="+mn-lt"/>
                          <a:cs typeface="Arial" panose="020B0604020202020204" pitchFamily="34" charset="0"/>
                        </a:rPr>
                        <a:t>Primary completion</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endParaRPr lang="en-GB" sz="1000" b="1">
                        <a:solidFill>
                          <a:schemeClr val="tx1"/>
                        </a:solidFill>
                        <a:latin typeface="+mn-lt"/>
                        <a:cs typeface="Arial" panose="020B0604020202020204" pitchFamily="34" charset="0"/>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9132678"/>
                  </a:ext>
                </a:extLst>
              </a:tr>
            </a:tbl>
          </a:graphicData>
        </a:graphic>
      </p:graphicFrame>
      <p:sp>
        <p:nvSpPr>
          <p:cNvPr id="120" name="Rectangle 119">
            <a:extLst>
              <a:ext uri="{FF2B5EF4-FFF2-40B4-BE49-F238E27FC236}">
                <a16:creationId xmlns:a16="http://schemas.microsoft.com/office/drawing/2014/main" id="{A3F1597A-0473-4940-882B-347DB1746F43}"/>
              </a:ext>
            </a:extLst>
          </p:cNvPr>
          <p:cNvSpPr/>
          <p:nvPr userDrawn="1"/>
        </p:nvSpPr>
        <p:spPr>
          <a:xfrm>
            <a:off x="3102869" y="1047908"/>
            <a:ext cx="1585192" cy="341405"/>
          </a:xfrm>
          <a:prstGeom prst="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lIns="128000" rIns="128000"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1" i="0" u="none" strike="noStrike" kern="0" cap="none" spc="0" normalizeH="0" baseline="30000" noProof="0">
              <a:ln>
                <a:noFill/>
              </a:ln>
              <a:solidFill>
                <a:prstClr val="black"/>
              </a:solidFill>
              <a:effectLst/>
              <a:highlight>
                <a:srgbClr val="0000FF"/>
              </a:highlight>
              <a:uLnTx/>
              <a:uFillTx/>
              <a:latin typeface="Arial"/>
            </a:endParaRPr>
          </a:p>
        </p:txBody>
      </p:sp>
      <p:sp>
        <p:nvSpPr>
          <p:cNvPr id="121" name="Rectangle 120">
            <a:extLst>
              <a:ext uri="{FF2B5EF4-FFF2-40B4-BE49-F238E27FC236}">
                <a16:creationId xmlns:a16="http://schemas.microsoft.com/office/drawing/2014/main" id="{369D7871-30EC-413A-8615-21BDCDE7F649}"/>
              </a:ext>
            </a:extLst>
          </p:cNvPr>
          <p:cNvSpPr/>
          <p:nvPr userDrawn="1"/>
        </p:nvSpPr>
        <p:spPr>
          <a:xfrm>
            <a:off x="1390781" y="1047908"/>
            <a:ext cx="1585191" cy="341405"/>
          </a:xfrm>
          <a:prstGeom prst="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lIns="128000" rIns="128000"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1" i="0" u="none" strike="noStrike" kern="0" cap="none" spc="0" normalizeH="0" baseline="30000" noProof="0">
              <a:ln>
                <a:noFill/>
              </a:ln>
              <a:solidFill>
                <a:prstClr val="black"/>
              </a:solidFill>
              <a:effectLst/>
              <a:uLnTx/>
              <a:uFillTx/>
              <a:latin typeface="Arial"/>
            </a:endParaRPr>
          </a:p>
        </p:txBody>
      </p:sp>
      <p:sp>
        <p:nvSpPr>
          <p:cNvPr id="122" name="Rectangle: Rounded Corners 121">
            <a:extLst>
              <a:ext uri="{FF2B5EF4-FFF2-40B4-BE49-F238E27FC236}">
                <a16:creationId xmlns:a16="http://schemas.microsoft.com/office/drawing/2014/main" id="{210B65D1-5B3B-47AC-8F88-D478C523388B}"/>
              </a:ext>
            </a:extLst>
          </p:cNvPr>
          <p:cNvSpPr/>
          <p:nvPr userDrawn="1"/>
        </p:nvSpPr>
        <p:spPr>
          <a:xfrm>
            <a:off x="1390781" y="1554434"/>
            <a:ext cx="1585191" cy="446745"/>
          </a:xfrm>
          <a:prstGeom prst="round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23" name="Rectangle: Rounded Corners 122">
            <a:extLst>
              <a:ext uri="{FF2B5EF4-FFF2-40B4-BE49-F238E27FC236}">
                <a16:creationId xmlns:a16="http://schemas.microsoft.com/office/drawing/2014/main" id="{BF722268-F1A6-4C37-8D96-C3E275B6475F}"/>
              </a:ext>
            </a:extLst>
          </p:cNvPr>
          <p:cNvSpPr/>
          <p:nvPr userDrawn="1"/>
        </p:nvSpPr>
        <p:spPr>
          <a:xfrm>
            <a:off x="3102871" y="1554434"/>
            <a:ext cx="1585192" cy="446745"/>
          </a:xfrm>
          <a:prstGeom prst="round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24" name="Rectangle: Rounded Corners 123">
            <a:extLst>
              <a:ext uri="{FF2B5EF4-FFF2-40B4-BE49-F238E27FC236}">
                <a16:creationId xmlns:a16="http://schemas.microsoft.com/office/drawing/2014/main" id="{CE593B16-5F67-4F86-B9FC-E49AB34B2D5C}"/>
              </a:ext>
            </a:extLst>
          </p:cNvPr>
          <p:cNvSpPr/>
          <p:nvPr userDrawn="1"/>
        </p:nvSpPr>
        <p:spPr>
          <a:xfrm>
            <a:off x="1390781" y="2141407"/>
            <a:ext cx="1585191" cy="438049"/>
          </a:xfrm>
          <a:prstGeom prst="round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25" name="Rectangle: Rounded Corners 124">
            <a:extLst>
              <a:ext uri="{FF2B5EF4-FFF2-40B4-BE49-F238E27FC236}">
                <a16:creationId xmlns:a16="http://schemas.microsoft.com/office/drawing/2014/main" id="{16F226EF-60C0-40CD-8DA3-FFEE9C01EA19}"/>
              </a:ext>
            </a:extLst>
          </p:cNvPr>
          <p:cNvSpPr/>
          <p:nvPr userDrawn="1"/>
        </p:nvSpPr>
        <p:spPr>
          <a:xfrm>
            <a:off x="3102871" y="2141407"/>
            <a:ext cx="1585192" cy="438049"/>
          </a:xfrm>
          <a:prstGeom prst="round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26" name="Rectangle: Rounded Corners 125">
            <a:extLst>
              <a:ext uri="{FF2B5EF4-FFF2-40B4-BE49-F238E27FC236}">
                <a16:creationId xmlns:a16="http://schemas.microsoft.com/office/drawing/2014/main" id="{C2A1AE7C-4E11-4B98-85F1-226DF8603E95}"/>
              </a:ext>
            </a:extLst>
          </p:cNvPr>
          <p:cNvSpPr/>
          <p:nvPr userDrawn="1"/>
        </p:nvSpPr>
        <p:spPr>
          <a:xfrm>
            <a:off x="1390781" y="3106650"/>
            <a:ext cx="1585191" cy="629736"/>
          </a:xfrm>
          <a:prstGeom prst="round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27" name="Rectangle: Rounded Corners 126">
            <a:extLst>
              <a:ext uri="{FF2B5EF4-FFF2-40B4-BE49-F238E27FC236}">
                <a16:creationId xmlns:a16="http://schemas.microsoft.com/office/drawing/2014/main" id="{32092923-D34B-4BF2-8D48-C0F0517C5351}"/>
              </a:ext>
            </a:extLst>
          </p:cNvPr>
          <p:cNvSpPr/>
          <p:nvPr userDrawn="1"/>
        </p:nvSpPr>
        <p:spPr>
          <a:xfrm>
            <a:off x="3102871" y="3106650"/>
            <a:ext cx="1585192" cy="629736"/>
          </a:xfrm>
          <a:prstGeom prst="round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28" name="Rectangle: Rounded Corners 127">
            <a:extLst>
              <a:ext uri="{FF2B5EF4-FFF2-40B4-BE49-F238E27FC236}">
                <a16:creationId xmlns:a16="http://schemas.microsoft.com/office/drawing/2014/main" id="{A5C3C432-75A4-480C-827E-EEA0657AE697}"/>
              </a:ext>
            </a:extLst>
          </p:cNvPr>
          <p:cNvSpPr/>
          <p:nvPr userDrawn="1"/>
        </p:nvSpPr>
        <p:spPr>
          <a:xfrm>
            <a:off x="1390781" y="3855781"/>
            <a:ext cx="1585191" cy="642239"/>
          </a:xfrm>
          <a:prstGeom prst="round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29" name="Rectangle: Rounded Corners 128">
            <a:extLst>
              <a:ext uri="{FF2B5EF4-FFF2-40B4-BE49-F238E27FC236}">
                <a16:creationId xmlns:a16="http://schemas.microsoft.com/office/drawing/2014/main" id="{C90CF7F1-46FA-4F16-BB15-6352614EF009}"/>
              </a:ext>
            </a:extLst>
          </p:cNvPr>
          <p:cNvSpPr/>
          <p:nvPr userDrawn="1"/>
        </p:nvSpPr>
        <p:spPr>
          <a:xfrm>
            <a:off x="3102871" y="3855781"/>
            <a:ext cx="1585192" cy="642239"/>
          </a:xfrm>
          <a:prstGeom prst="round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30" name="Rectangle: Rounded Corners 129">
            <a:extLst>
              <a:ext uri="{FF2B5EF4-FFF2-40B4-BE49-F238E27FC236}">
                <a16:creationId xmlns:a16="http://schemas.microsoft.com/office/drawing/2014/main" id="{6F83B621-5F1D-4358-86C4-9806D679B9B7}"/>
              </a:ext>
            </a:extLst>
          </p:cNvPr>
          <p:cNvSpPr/>
          <p:nvPr userDrawn="1"/>
        </p:nvSpPr>
        <p:spPr>
          <a:xfrm>
            <a:off x="1390781" y="4641987"/>
            <a:ext cx="1585191" cy="432000"/>
          </a:xfrm>
          <a:prstGeom prst="round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31" name="Rectangle: Rounded Corners 130">
            <a:extLst>
              <a:ext uri="{FF2B5EF4-FFF2-40B4-BE49-F238E27FC236}">
                <a16:creationId xmlns:a16="http://schemas.microsoft.com/office/drawing/2014/main" id="{53A1F887-3908-452A-AA83-87899CA5382B}"/>
              </a:ext>
            </a:extLst>
          </p:cNvPr>
          <p:cNvSpPr/>
          <p:nvPr userDrawn="1"/>
        </p:nvSpPr>
        <p:spPr>
          <a:xfrm>
            <a:off x="3102871" y="4641987"/>
            <a:ext cx="1585192" cy="432000"/>
          </a:xfrm>
          <a:prstGeom prst="round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32" name="Rectangle: Rounded Corners 131">
            <a:extLst>
              <a:ext uri="{FF2B5EF4-FFF2-40B4-BE49-F238E27FC236}">
                <a16:creationId xmlns:a16="http://schemas.microsoft.com/office/drawing/2014/main" id="{EF66A242-1CC1-41BC-A8A0-96C90A5E8CED}"/>
              </a:ext>
            </a:extLst>
          </p:cNvPr>
          <p:cNvSpPr/>
          <p:nvPr userDrawn="1"/>
        </p:nvSpPr>
        <p:spPr>
          <a:xfrm>
            <a:off x="1390781" y="5214720"/>
            <a:ext cx="1585191" cy="341537"/>
          </a:xfrm>
          <a:prstGeom prst="round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33" name="Rectangle: Rounded Corners 132">
            <a:extLst>
              <a:ext uri="{FF2B5EF4-FFF2-40B4-BE49-F238E27FC236}">
                <a16:creationId xmlns:a16="http://schemas.microsoft.com/office/drawing/2014/main" id="{B986D426-0763-4CA5-A036-276B3BBF45FF}"/>
              </a:ext>
            </a:extLst>
          </p:cNvPr>
          <p:cNvSpPr/>
          <p:nvPr userDrawn="1"/>
        </p:nvSpPr>
        <p:spPr>
          <a:xfrm>
            <a:off x="3102871" y="5214720"/>
            <a:ext cx="1585192" cy="341537"/>
          </a:xfrm>
          <a:prstGeom prst="round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34" name="Rectangle: Rounded Corners 133">
            <a:extLst>
              <a:ext uri="{FF2B5EF4-FFF2-40B4-BE49-F238E27FC236}">
                <a16:creationId xmlns:a16="http://schemas.microsoft.com/office/drawing/2014/main" id="{A1BCD61E-0A9E-4CA6-BEF3-BA2FEBB0630A}"/>
              </a:ext>
            </a:extLst>
          </p:cNvPr>
          <p:cNvSpPr/>
          <p:nvPr userDrawn="1"/>
        </p:nvSpPr>
        <p:spPr>
          <a:xfrm>
            <a:off x="1390781" y="5725952"/>
            <a:ext cx="1585191" cy="341537"/>
          </a:xfrm>
          <a:prstGeom prst="round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35" name="Rectangle: Rounded Corners 134">
            <a:extLst>
              <a:ext uri="{FF2B5EF4-FFF2-40B4-BE49-F238E27FC236}">
                <a16:creationId xmlns:a16="http://schemas.microsoft.com/office/drawing/2014/main" id="{F09FCAEA-2D45-4048-B447-615B6E31CE7E}"/>
              </a:ext>
            </a:extLst>
          </p:cNvPr>
          <p:cNvSpPr/>
          <p:nvPr userDrawn="1"/>
        </p:nvSpPr>
        <p:spPr>
          <a:xfrm>
            <a:off x="3102871" y="5725952"/>
            <a:ext cx="1585192" cy="341537"/>
          </a:xfrm>
          <a:prstGeom prst="round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37" name="Text Placeholder 6">
            <a:extLst>
              <a:ext uri="{FF2B5EF4-FFF2-40B4-BE49-F238E27FC236}">
                <a16:creationId xmlns:a16="http://schemas.microsoft.com/office/drawing/2014/main" id="{D4C21DCB-884C-4970-96C9-13DE89FBD884}"/>
              </a:ext>
            </a:extLst>
          </p:cNvPr>
          <p:cNvSpPr txBox="1">
            <a:spLocks/>
          </p:cNvSpPr>
          <p:nvPr userDrawn="1"/>
        </p:nvSpPr>
        <p:spPr>
          <a:xfrm>
            <a:off x="3104126" y="1051213"/>
            <a:ext cx="1587500" cy="334795"/>
          </a:xfrm>
          <a:prstGeom prst="rect">
            <a:avLst/>
          </a:prstGeo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1200" b="1"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1200" b="1"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0" name="Text Placeholder 6">
            <a:extLst>
              <a:ext uri="{FF2B5EF4-FFF2-40B4-BE49-F238E27FC236}">
                <a16:creationId xmlns:a16="http://schemas.microsoft.com/office/drawing/2014/main" id="{8D74AF0A-86F0-40D8-8C3C-ADA79D58CC2F}"/>
              </a:ext>
            </a:extLst>
          </p:cNvPr>
          <p:cNvSpPr txBox="1">
            <a:spLocks/>
          </p:cNvSpPr>
          <p:nvPr userDrawn="1"/>
        </p:nvSpPr>
        <p:spPr>
          <a:xfrm>
            <a:off x="3104126" y="2138737"/>
            <a:ext cx="1587500" cy="446745"/>
          </a:xfrm>
          <a:prstGeom prst="rect">
            <a:avLst/>
          </a:prstGeo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1" name="Text Placeholder 6">
            <a:extLst>
              <a:ext uri="{FF2B5EF4-FFF2-40B4-BE49-F238E27FC236}">
                <a16:creationId xmlns:a16="http://schemas.microsoft.com/office/drawing/2014/main" id="{251B8A90-923E-4C36-BD08-CBB6AD63F19A}"/>
              </a:ext>
            </a:extLst>
          </p:cNvPr>
          <p:cNvSpPr txBox="1">
            <a:spLocks/>
          </p:cNvSpPr>
          <p:nvPr userDrawn="1"/>
        </p:nvSpPr>
        <p:spPr>
          <a:xfrm>
            <a:off x="1400402" y="2138737"/>
            <a:ext cx="1587500" cy="446745"/>
          </a:xfrm>
          <a:prstGeom prst="rect">
            <a:avLst/>
          </a:prstGeo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2" name="Text Placeholder 6">
            <a:extLst>
              <a:ext uri="{FF2B5EF4-FFF2-40B4-BE49-F238E27FC236}">
                <a16:creationId xmlns:a16="http://schemas.microsoft.com/office/drawing/2014/main" id="{DE653DC8-B0AE-488F-8D0F-C99353895F42}"/>
              </a:ext>
            </a:extLst>
          </p:cNvPr>
          <p:cNvSpPr txBox="1">
            <a:spLocks/>
          </p:cNvSpPr>
          <p:nvPr userDrawn="1"/>
        </p:nvSpPr>
        <p:spPr>
          <a:xfrm>
            <a:off x="1400402" y="3100399"/>
            <a:ext cx="1587500" cy="642239"/>
          </a:xfrm>
          <a:prstGeom prst="rect">
            <a:avLst/>
          </a:prstGeo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3" name="Text Placeholder 6">
            <a:extLst>
              <a:ext uri="{FF2B5EF4-FFF2-40B4-BE49-F238E27FC236}">
                <a16:creationId xmlns:a16="http://schemas.microsoft.com/office/drawing/2014/main" id="{6E29090E-5954-422A-A130-87AE91C90ECF}"/>
              </a:ext>
            </a:extLst>
          </p:cNvPr>
          <p:cNvSpPr txBox="1">
            <a:spLocks/>
          </p:cNvSpPr>
          <p:nvPr userDrawn="1"/>
        </p:nvSpPr>
        <p:spPr>
          <a:xfrm>
            <a:off x="3104126" y="3100399"/>
            <a:ext cx="1587500" cy="642239"/>
          </a:xfrm>
          <a:prstGeom prst="rect">
            <a:avLst/>
          </a:prstGeo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4" name="Text Placeholder 6">
            <a:extLst>
              <a:ext uri="{FF2B5EF4-FFF2-40B4-BE49-F238E27FC236}">
                <a16:creationId xmlns:a16="http://schemas.microsoft.com/office/drawing/2014/main" id="{0DAE46F1-6B90-4623-A1D8-8A211E7851F0}"/>
              </a:ext>
            </a:extLst>
          </p:cNvPr>
          <p:cNvSpPr txBox="1">
            <a:spLocks/>
          </p:cNvSpPr>
          <p:nvPr userDrawn="1"/>
        </p:nvSpPr>
        <p:spPr>
          <a:xfrm>
            <a:off x="1400402" y="3859285"/>
            <a:ext cx="1587500" cy="665976"/>
          </a:xfrm>
          <a:prstGeom prst="rect">
            <a:avLst/>
          </a:prstGeo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6" name="Text Placeholder 6">
            <a:extLst>
              <a:ext uri="{FF2B5EF4-FFF2-40B4-BE49-F238E27FC236}">
                <a16:creationId xmlns:a16="http://schemas.microsoft.com/office/drawing/2014/main" id="{87F8DA29-BE2B-4CFC-AF51-70FA0C9797F4}"/>
              </a:ext>
            </a:extLst>
          </p:cNvPr>
          <p:cNvSpPr txBox="1">
            <a:spLocks/>
          </p:cNvSpPr>
          <p:nvPr userDrawn="1"/>
        </p:nvSpPr>
        <p:spPr>
          <a:xfrm>
            <a:off x="1400402" y="4647585"/>
            <a:ext cx="1587500" cy="447967"/>
          </a:xfrm>
          <a:prstGeom prst="rect">
            <a:avLst/>
          </a:prstGeo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7" name="Text Placeholder 6">
            <a:extLst>
              <a:ext uri="{FF2B5EF4-FFF2-40B4-BE49-F238E27FC236}">
                <a16:creationId xmlns:a16="http://schemas.microsoft.com/office/drawing/2014/main" id="{C5D0E37A-1372-4ED3-92F9-9FCC74834F2A}"/>
              </a:ext>
            </a:extLst>
          </p:cNvPr>
          <p:cNvSpPr txBox="1">
            <a:spLocks/>
          </p:cNvSpPr>
          <p:nvPr userDrawn="1"/>
        </p:nvSpPr>
        <p:spPr>
          <a:xfrm>
            <a:off x="3104126" y="4647585"/>
            <a:ext cx="1587500" cy="447967"/>
          </a:xfrm>
          <a:prstGeom prst="rect">
            <a:avLst/>
          </a:prstGeo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8" name="Text Placeholder 6">
            <a:extLst>
              <a:ext uri="{FF2B5EF4-FFF2-40B4-BE49-F238E27FC236}">
                <a16:creationId xmlns:a16="http://schemas.microsoft.com/office/drawing/2014/main" id="{54A51D3D-3D49-42E9-BA9E-46039CB63FDA}"/>
              </a:ext>
            </a:extLst>
          </p:cNvPr>
          <p:cNvSpPr txBox="1">
            <a:spLocks/>
          </p:cNvSpPr>
          <p:nvPr userDrawn="1"/>
        </p:nvSpPr>
        <p:spPr>
          <a:xfrm>
            <a:off x="1400402" y="5222773"/>
            <a:ext cx="1587500" cy="354160"/>
          </a:xfrm>
          <a:prstGeom prst="rect">
            <a:avLst/>
          </a:prstGeo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9" name="Text Placeholder 6">
            <a:extLst>
              <a:ext uri="{FF2B5EF4-FFF2-40B4-BE49-F238E27FC236}">
                <a16:creationId xmlns:a16="http://schemas.microsoft.com/office/drawing/2014/main" id="{C606F5A4-0C2F-46F3-8564-73B1D227FF99}"/>
              </a:ext>
            </a:extLst>
          </p:cNvPr>
          <p:cNvSpPr txBox="1">
            <a:spLocks/>
          </p:cNvSpPr>
          <p:nvPr userDrawn="1"/>
        </p:nvSpPr>
        <p:spPr>
          <a:xfrm>
            <a:off x="3104126" y="5222773"/>
            <a:ext cx="1587500" cy="354160"/>
          </a:xfrm>
          <a:prstGeom prst="rect">
            <a:avLst/>
          </a:prstGeo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50" name="Text Placeholder 6">
            <a:extLst>
              <a:ext uri="{FF2B5EF4-FFF2-40B4-BE49-F238E27FC236}">
                <a16:creationId xmlns:a16="http://schemas.microsoft.com/office/drawing/2014/main" id="{9AC28F23-6DEF-4E31-B040-4A495F1C7671}"/>
              </a:ext>
            </a:extLst>
          </p:cNvPr>
          <p:cNvSpPr txBox="1">
            <a:spLocks/>
          </p:cNvSpPr>
          <p:nvPr userDrawn="1"/>
        </p:nvSpPr>
        <p:spPr>
          <a:xfrm>
            <a:off x="1400402" y="5719640"/>
            <a:ext cx="1587500" cy="354160"/>
          </a:xfrm>
          <a:prstGeom prst="rect">
            <a:avLst/>
          </a:prstGeo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51" name="Text Placeholder 6">
            <a:extLst>
              <a:ext uri="{FF2B5EF4-FFF2-40B4-BE49-F238E27FC236}">
                <a16:creationId xmlns:a16="http://schemas.microsoft.com/office/drawing/2014/main" id="{EA2D14F1-E69D-4E7B-A18C-33912ACA7C9A}"/>
              </a:ext>
            </a:extLst>
          </p:cNvPr>
          <p:cNvSpPr txBox="1">
            <a:spLocks/>
          </p:cNvSpPr>
          <p:nvPr userDrawn="1"/>
        </p:nvSpPr>
        <p:spPr>
          <a:xfrm>
            <a:off x="3104126" y="5719640"/>
            <a:ext cx="1587500" cy="354160"/>
          </a:xfrm>
          <a:prstGeom prst="rect">
            <a:avLst/>
          </a:prstGeo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52" name="Rectangle: Rounded Corners 151">
            <a:extLst>
              <a:ext uri="{FF2B5EF4-FFF2-40B4-BE49-F238E27FC236}">
                <a16:creationId xmlns:a16="http://schemas.microsoft.com/office/drawing/2014/main" id="{EB272B5F-FF0C-415A-ABCE-F1B06D9E7CF2}"/>
              </a:ext>
            </a:extLst>
          </p:cNvPr>
          <p:cNvSpPr/>
          <p:nvPr userDrawn="1"/>
        </p:nvSpPr>
        <p:spPr>
          <a:xfrm>
            <a:off x="1387218" y="2705354"/>
            <a:ext cx="1585191" cy="281412"/>
          </a:xfrm>
          <a:prstGeom prst="round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53" name="Rectangle: Rounded Corners 152">
            <a:extLst>
              <a:ext uri="{FF2B5EF4-FFF2-40B4-BE49-F238E27FC236}">
                <a16:creationId xmlns:a16="http://schemas.microsoft.com/office/drawing/2014/main" id="{2F3ADFCF-DBA1-45DB-8BF8-9D3663472EA0}"/>
              </a:ext>
            </a:extLst>
          </p:cNvPr>
          <p:cNvSpPr/>
          <p:nvPr userDrawn="1"/>
        </p:nvSpPr>
        <p:spPr>
          <a:xfrm>
            <a:off x="3099308" y="2694903"/>
            <a:ext cx="1585192" cy="291863"/>
          </a:xfrm>
          <a:prstGeom prst="round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54" name="Text Placeholder 6">
            <a:extLst>
              <a:ext uri="{FF2B5EF4-FFF2-40B4-BE49-F238E27FC236}">
                <a16:creationId xmlns:a16="http://schemas.microsoft.com/office/drawing/2014/main" id="{6E9675CC-E125-4DFC-96DE-38C7A40FDE79}"/>
              </a:ext>
            </a:extLst>
          </p:cNvPr>
          <p:cNvSpPr txBox="1">
            <a:spLocks/>
          </p:cNvSpPr>
          <p:nvPr userDrawn="1"/>
        </p:nvSpPr>
        <p:spPr>
          <a:xfrm>
            <a:off x="1396839" y="2522296"/>
            <a:ext cx="1587500" cy="489529"/>
          </a:xfrm>
          <a:prstGeom prst="rect">
            <a:avLst/>
          </a:prstGeo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55" name="Text Placeholder 6">
            <a:extLst>
              <a:ext uri="{FF2B5EF4-FFF2-40B4-BE49-F238E27FC236}">
                <a16:creationId xmlns:a16="http://schemas.microsoft.com/office/drawing/2014/main" id="{7998AE61-C223-4C11-AD84-32D678B9EC19}"/>
              </a:ext>
            </a:extLst>
          </p:cNvPr>
          <p:cNvSpPr txBox="1">
            <a:spLocks/>
          </p:cNvSpPr>
          <p:nvPr userDrawn="1"/>
        </p:nvSpPr>
        <p:spPr>
          <a:xfrm>
            <a:off x="3100563" y="2522296"/>
            <a:ext cx="1587500" cy="489529"/>
          </a:xfrm>
          <a:prstGeom prst="rect">
            <a:avLst/>
          </a:prstGeom>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56" name="Rectangle 155">
            <a:extLst>
              <a:ext uri="{FF2B5EF4-FFF2-40B4-BE49-F238E27FC236}">
                <a16:creationId xmlns:a16="http://schemas.microsoft.com/office/drawing/2014/main" id="{BAB65EAC-D4C9-4D39-952B-05708DB8FD44}"/>
              </a:ext>
            </a:extLst>
          </p:cNvPr>
          <p:cNvSpPr/>
          <p:nvPr userDrawn="1"/>
        </p:nvSpPr>
        <p:spPr>
          <a:xfrm>
            <a:off x="6524745" y="1047908"/>
            <a:ext cx="1585192" cy="341405"/>
          </a:xfrm>
          <a:prstGeom prst="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lIns="128000" rIns="128000"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1" i="0" u="none" strike="noStrike" kern="0" cap="none" spc="0" normalizeH="0" baseline="30000" noProof="0">
              <a:ln>
                <a:noFill/>
              </a:ln>
              <a:solidFill>
                <a:prstClr val="black"/>
              </a:solidFill>
              <a:effectLst/>
              <a:highlight>
                <a:srgbClr val="0000FF"/>
              </a:highlight>
              <a:uLnTx/>
              <a:uFillTx/>
              <a:latin typeface="Arial"/>
            </a:endParaRPr>
          </a:p>
        </p:txBody>
      </p:sp>
      <p:sp>
        <p:nvSpPr>
          <p:cNvPr id="157" name="Rectangle 156">
            <a:extLst>
              <a:ext uri="{FF2B5EF4-FFF2-40B4-BE49-F238E27FC236}">
                <a16:creationId xmlns:a16="http://schemas.microsoft.com/office/drawing/2014/main" id="{235CD588-26A2-47A3-B02A-DC1DF5238478}"/>
              </a:ext>
            </a:extLst>
          </p:cNvPr>
          <p:cNvSpPr/>
          <p:nvPr userDrawn="1"/>
        </p:nvSpPr>
        <p:spPr>
          <a:xfrm>
            <a:off x="4812657" y="1047908"/>
            <a:ext cx="1585191" cy="341405"/>
          </a:xfrm>
          <a:prstGeom prst="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lIns="128000" rIns="128000"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1" i="0" u="none" strike="noStrike" kern="0" cap="none" spc="0" normalizeH="0" baseline="30000" noProof="0">
              <a:ln>
                <a:noFill/>
              </a:ln>
              <a:solidFill>
                <a:prstClr val="black"/>
              </a:solidFill>
              <a:effectLst/>
              <a:uLnTx/>
              <a:uFillTx/>
              <a:latin typeface="Arial"/>
            </a:endParaRPr>
          </a:p>
        </p:txBody>
      </p:sp>
      <p:sp>
        <p:nvSpPr>
          <p:cNvPr id="158" name="Rectangle: Rounded Corners 157">
            <a:extLst>
              <a:ext uri="{FF2B5EF4-FFF2-40B4-BE49-F238E27FC236}">
                <a16:creationId xmlns:a16="http://schemas.microsoft.com/office/drawing/2014/main" id="{54A8271A-87A5-451E-BC79-E2804DDADEF8}"/>
              </a:ext>
            </a:extLst>
          </p:cNvPr>
          <p:cNvSpPr/>
          <p:nvPr userDrawn="1"/>
        </p:nvSpPr>
        <p:spPr>
          <a:xfrm>
            <a:off x="4812657" y="1554434"/>
            <a:ext cx="1585191" cy="446745"/>
          </a:xfrm>
          <a:prstGeom prst="round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59" name="Rectangle: Rounded Corners 158">
            <a:extLst>
              <a:ext uri="{FF2B5EF4-FFF2-40B4-BE49-F238E27FC236}">
                <a16:creationId xmlns:a16="http://schemas.microsoft.com/office/drawing/2014/main" id="{D46DFFA6-CFDD-4E1A-AE68-D0F64343A78F}"/>
              </a:ext>
            </a:extLst>
          </p:cNvPr>
          <p:cNvSpPr/>
          <p:nvPr userDrawn="1"/>
        </p:nvSpPr>
        <p:spPr>
          <a:xfrm>
            <a:off x="6524747" y="1554434"/>
            <a:ext cx="1585192" cy="446745"/>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60" name="Rectangle: Rounded Corners 159">
            <a:extLst>
              <a:ext uri="{FF2B5EF4-FFF2-40B4-BE49-F238E27FC236}">
                <a16:creationId xmlns:a16="http://schemas.microsoft.com/office/drawing/2014/main" id="{76589F03-A2AE-445F-8097-90EA45FBBAF3}"/>
              </a:ext>
            </a:extLst>
          </p:cNvPr>
          <p:cNvSpPr/>
          <p:nvPr userDrawn="1"/>
        </p:nvSpPr>
        <p:spPr>
          <a:xfrm>
            <a:off x="4812657" y="2133493"/>
            <a:ext cx="1585191" cy="438049"/>
          </a:xfrm>
          <a:prstGeom prst="round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61" name="Rectangle: Rounded Corners 160">
            <a:extLst>
              <a:ext uri="{FF2B5EF4-FFF2-40B4-BE49-F238E27FC236}">
                <a16:creationId xmlns:a16="http://schemas.microsoft.com/office/drawing/2014/main" id="{F536DF5D-C124-452A-8942-8AC73F7CD08B}"/>
              </a:ext>
            </a:extLst>
          </p:cNvPr>
          <p:cNvSpPr/>
          <p:nvPr userDrawn="1"/>
        </p:nvSpPr>
        <p:spPr>
          <a:xfrm>
            <a:off x="6524747" y="2133493"/>
            <a:ext cx="1585192" cy="438049"/>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62" name="Rectangle: Rounded Corners 161">
            <a:extLst>
              <a:ext uri="{FF2B5EF4-FFF2-40B4-BE49-F238E27FC236}">
                <a16:creationId xmlns:a16="http://schemas.microsoft.com/office/drawing/2014/main" id="{DC2B0296-5D0C-4EE6-A151-4376B1396F23}"/>
              </a:ext>
            </a:extLst>
          </p:cNvPr>
          <p:cNvSpPr/>
          <p:nvPr userDrawn="1"/>
        </p:nvSpPr>
        <p:spPr>
          <a:xfrm>
            <a:off x="4812657" y="3106650"/>
            <a:ext cx="1585191" cy="629736"/>
          </a:xfrm>
          <a:prstGeom prst="round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63" name="Rectangle: Rounded Corners 162">
            <a:extLst>
              <a:ext uri="{FF2B5EF4-FFF2-40B4-BE49-F238E27FC236}">
                <a16:creationId xmlns:a16="http://schemas.microsoft.com/office/drawing/2014/main" id="{418D0857-4B7D-4D81-AF88-EB86BA0128A3}"/>
              </a:ext>
            </a:extLst>
          </p:cNvPr>
          <p:cNvSpPr/>
          <p:nvPr userDrawn="1"/>
        </p:nvSpPr>
        <p:spPr>
          <a:xfrm>
            <a:off x="6524747" y="3106650"/>
            <a:ext cx="1585192" cy="629736"/>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64" name="Rectangle: Rounded Corners 163">
            <a:extLst>
              <a:ext uri="{FF2B5EF4-FFF2-40B4-BE49-F238E27FC236}">
                <a16:creationId xmlns:a16="http://schemas.microsoft.com/office/drawing/2014/main" id="{3F45DBFD-FE0C-474F-AC73-24AB28DA2E23}"/>
              </a:ext>
            </a:extLst>
          </p:cNvPr>
          <p:cNvSpPr/>
          <p:nvPr userDrawn="1"/>
        </p:nvSpPr>
        <p:spPr>
          <a:xfrm>
            <a:off x="4812657" y="3847867"/>
            <a:ext cx="1585191" cy="642239"/>
          </a:xfrm>
          <a:prstGeom prst="round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65" name="Rectangle: Rounded Corners 164">
            <a:extLst>
              <a:ext uri="{FF2B5EF4-FFF2-40B4-BE49-F238E27FC236}">
                <a16:creationId xmlns:a16="http://schemas.microsoft.com/office/drawing/2014/main" id="{852DF971-1321-44D0-A352-CD61AB0762B4}"/>
              </a:ext>
            </a:extLst>
          </p:cNvPr>
          <p:cNvSpPr/>
          <p:nvPr userDrawn="1"/>
        </p:nvSpPr>
        <p:spPr>
          <a:xfrm>
            <a:off x="6524747" y="3847867"/>
            <a:ext cx="1585192" cy="642239"/>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66" name="Rectangle: Rounded Corners 165">
            <a:extLst>
              <a:ext uri="{FF2B5EF4-FFF2-40B4-BE49-F238E27FC236}">
                <a16:creationId xmlns:a16="http://schemas.microsoft.com/office/drawing/2014/main" id="{1A3B068C-36BD-4041-9941-5DFB8B8272A9}"/>
              </a:ext>
            </a:extLst>
          </p:cNvPr>
          <p:cNvSpPr/>
          <p:nvPr userDrawn="1"/>
        </p:nvSpPr>
        <p:spPr>
          <a:xfrm>
            <a:off x="4812657" y="4634073"/>
            <a:ext cx="1585191" cy="432000"/>
          </a:xfrm>
          <a:prstGeom prst="round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67" name="Rectangle: Rounded Corners 166">
            <a:extLst>
              <a:ext uri="{FF2B5EF4-FFF2-40B4-BE49-F238E27FC236}">
                <a16:creationId xmlns:a16="http://schemas.microsoft.com/office/drawing/2014/main" id="{E411233E-21AB-4369-939F-8C62AE479E29}"/>
              </a:ext>
            </a:extLst>
          </p:cNvPr>
          <p:cNvSpPr/>
          <p:nvPr userDrawn="1"/>
        </p:nvSpPr>
        <p:spPr>
          <a:xfrm>
            <a:off x="6524747" y="4634073"/>
            <a:ext cx="1585192" cy="432000"/>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68" name="Rectangle: Rounded Corners 167">
            <a:extLst>
              <a:ext uri="{FF2B5EF4-FFF2-40B4-BE49-F238E27FC236}">
                <a16:creationId xmlns:a16="http://schemas.microsoft.com/office/drawing/2014/main" id="{DA19B572-8D8C-4FFF-93B7-6ED9E1C881E3}"/>
              </a:ext>
            </a:extLst>
          </p:cNvPr>
          <p:cNvSpPr/>
          <p:nvPr userDrawn="1"/>
        </p:nvSpPr>
        <p:spPr>
          <a:xfrm>
            <a:off x="4812657" y="5206806"/>
            <a:ext cx="1585191" cy="341537"/>
          </a:xfrm>
          <a:prstGeom prst="round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69" name="Rectangle: Rounded Corners 168">
            <a:extLst>
              <a:ext uri="{FF2B5EF4-FFF2-40B4-BE49-F238E27FC236}">
                <a16:creationId xmlns:a16="http://schemas.microsoft.com/office/drawing/2014/main" id="{A03D1CF3-5B98-4E88-A7DD-32ED27F07508}"/>
              </a:ext>
            </a:extLst>
          </p:cNvPr>
          <p:cNvSpPr/>
          <p:nvPr userDrawn="1"/>
        </p:nvSpPr>
        <p:spPr>
          <a:xfrm>
            <a:off x="6524747" y="5206806"/>
            <a:ext cx="1585192" cy="341537"/>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70" name="Rectangle: Rounded Corners 169">
            <a:extLst>
              <a:ext uri="{FF2B5EF4-FFF2-40B4-BE49-F238E27FC236}">
                <a16:creationId xmlns:a16="http://schemas.microsoft.com/office/drawing/2014/main" id="{0AEBABE8-5AC1-4731-B659-6B42A899DEE8}"/>
              </a:ext>
            </a:extLst>
          </p:cNvPr>
          <p:cNvSpPr/>
          <p:nvPr userDrawn="1"/>
        </p:nvSpPr>
        <p:spPr>
          <a:xfrm>
            <a:off x="4812657" y="5725952"/>
            <a:ext cx="1585191" cy="341537"/>
          </a:xfrm>
          <a:prstGeom prst="round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71" name="Rectangle: Rounded Corners 170">
            <a:extLst>
              <a:ext uri="{FF2B5EF4-FFF2-40B4-BE49-F238E27FC236}">
                <a16:creationId xmlns:a16="http://schemas.microsoft.com/office/drawing/2014/main" id="{3D479919-0EC9-432D-9217-179995C4CF7E}"/>
              </a:ext>
            </a:extLst>
          </p:cNvPr>
          <p:cNvSpPr/>
          <p:nvPr userDrawn="1"/>
        </p:nvSpPr>
        <p:spPr>
          <a:xfrm>
            <a:off x="6524747" y="5725952"/>
            <a:ext cx="1585192" cy="341537"/>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82" name="Text Placeholder 6">
            <a:extLst>
              <a:ext uri="{FF2B5EF4-FFF2-40B4-BE49-F238E27FC236}">
                <a16:creationId xmlns:a16="http://schemas.microsoft.com/office/drawing/2014/main" id="{8E078F2F-BA86-40C8-97FF-39B8A5CBE23F}"/>
              </a:ext>
            </a:extLst>
          </p:cNvPr>
          <p:cNvSpPr txBox="1">
            <a:spLocks/>
          </p:cNvSpPr>
          <p:nvPr userDrawn="1"/>
        </p:nvSpPr>
        <p:spPr>
          <a:xfrm>
            <a:off x="4822278" y="4639671"/>
            <a:ext cx="1587500" cy="447967"/>
          </a:xfrm>
          <a:prstGeom prst="rect">
            <a:avLst/>
          </a:prstGeom>
          <a:solidFill>
            <a:srgbClr val="70AD47">
              <a:lumMod val="20000"/>
              <a:lumOff val="80000"/>
            </a:srgbClr>
          </a:solidFill>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84" name="Text Placeholder 6">
            <a:extLst>
              <a:ext uri="{FF2B5EF4-FFF2-40B4-BE49-F238E27FC236}">
                <a16:creationId xmlns:a16="http://schemas.microsoft.com/office/drawing/2014/main" id="{D09BD0F6-C705-45E4-94BE-AA6224200D93}"/>
              </a:ext>
            </a:extLst>
          </p:cNvPr>
          <p:cNvSpPr txBox="1">
            <a:spLocks/>
          </p:cNvSpPr>
          <p:nvPr userDrawn="1"/>
        </p:nvSpPr>
        <p:spPr>
          <a:xfrm>
            <a:off x="4822278" y="5214860"/>
            <a:ext cx="1587500" cy="354160"/>
          </a:xfrm>
          <a:prstGeom prst="rect">
            <a:avLst/>
          </a:prstGeom>
          <a:solidFill>
            <a:srgbClr val="70AD47">
              <a:lumMod val="20000"/>
              <a:lumOff val="80000"/>
            </a:srgbClr>
          </a:solidFill>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86" name="Text Placeholder 6">
            <a:extLst>
              <a:ext uri="{FF2B5EF4-FFF2-40B4-BE49-F238E27FC236}">
                <a16:creationId xmlns:a16="http://schemas.microsoft.com/office/drawing/2014/main" id="{ED33C132-9C8D-49BB-B791-BDE9B94A8321}"/>
              </a:ext>
            </a:extLst>
          </p:cNvPr>
          <p:cNvSpPr txBox="1">
            <a:spLocks/>
          </p:cNvSpPr>
          <p:nvPr userDrawn="1"/>
        </p:nvSpPr>
        <p:spPr>
          <a:xfrm>
            <a:off x="4822278" y="5719640"/>
            <a:ext cx="1587500" cy="354160"/>
          </a:xfrm>
          <a:prstGeom prst="rect">
            <a:avLst/>
          </a:prstGeom>
          <a:solidFill>
            <a:srgbClr val="70AD47">
              <a:lumMod val="20000"/>
              <a:lumOff val="80000"/>
            </a:srgbClr>
          </a:solidFill>
        </p:spPr>
        <p:txBody>
          <a:bodyPr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88" name="Rectangle: Rounded Corners 187">
            <a:extLst>
              <a:ext uri="{FF2B5EF4-FFF2-40B4-BE49-F238E27FC236}">
                <a16:creationId xmlns:a16="http://schemas.microsoft.com/office/drawing/2014/main" id="{50AC598B-4B33-4901-B95B-D11E6C4A682A}"/>
              </a:ext>
            </a:extLst>
          </p:cNvPr>
          <p:cNvSpPr/>
          <p:nvPr userDrawn="1"/>
        </p:nvSpPr>
        <p:spPr>
          <a:xfrm>
            <a:off x="4809094" y="2673671"/>
            <a:ext cx="1585191" cy="305181"/>
          </a:xfrm>
          <a:prstGeom prst="round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89" name="Rectangle: Rounded Corners 188">
            <a:extLst>
              <a:ext uri="{FF2B5EF4-FFF2-40B4-BE49-F238E27FC236}">
                <a16:creationId xmlns:a16="http://schemas.microsoft.com/office/drawing/2014/main" id="{D07EF106-1328-4584-94D8-F4D50DB9D13A}"/>
              </a:ext>
            </a:extLst>
          </p:cNvPr>
          <p:cNvSpPr/>
          <p:nvPr userDrawn="1"/>
        </p:nvSpPr>
        <p:spPr>
          <a:xfrm>
            <a:off x="6521184" y="2673671"/>
            <a:ext cx="1585192" cy="305182"/>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92" name="Rectangle 191">
            <a:extLst>
              <a:ext uri="{FF2B5EF4-FFF2-40B4-BE49-F238E27FC236}">
                <a16:creationId xmlns:a16="http://schemas.microsoft.com/office/drawing/2014/main" id="{538F4A46-D310-46A7-948C-E0786DCAA702}"/>
              </a:ext>
            </a:extLst>
          </p:cNvPr>
          <p:cNvSpPr/>
          <p:nvPr userDrawn="1"/>
        </p:nvSpPr>
        <p:spPr>
          <a:xfrm>
            <a:off x="8234531" y="1047908"/>
            <a:ext cx="1585191" cy="341405"/>
          </a:xfrm>
          <a:prstGeom prst="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lIns="128000" rIns="128000"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1" i="0" u="none" strike="noStrike" kern="0" cap="none" spc="0" normalizeH="0" baseline="30000" noProof="0">
              <a:ln>
                <a:noFill/>
              </a:ln>
              <a:solidFill>
                <a:prstClr val="black"/>
              </a:solidFill>
              <a:effectLst/>
              <a:uLnTx/>
              <a:uFillTx/>
              <a:latin typeface="Arial"/>
            </a:endParaRPr>
          </a:p>
        </p:txBody>
      </p:sp>
      <p:sp>
        <p:nvSpPr>
          <p:cNvPr id="193" name="Rectangle: Rounded Corners 192">
            <a:extLst>
              <a:ext uri="{FF2B5EF4-FFF2-40B4-BE49-F238E27FC236}">
                <a16:creationId xmlns:a16="http://schemas.microsoft.com/office/drawing/2014/main" id="{91099929-9199-4DCA-81B6-C610F93E7960}"/>
              </a:ext>
            </a:extLst>
          </p:cNvPr>
          <p:cNvSpPr/>
          <p:nvPr userDrawn="1"/>
        </p:nvSpPr>
        <p:spPr>
          <a:xfrm>
            <a:off x="8234531" y="1554434"/>
            <a:ext cx="1585191" cy="446745"/>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94" name="Rectangle: Rounded Corners 193">
            <a:extLst>
              <a:ext uri="{FF2B5EF4-FFF2-40B4-BE49-F238E27FC236}">
                <a16:creationId xmlns:a16="http://schemas.microsoft.com/office/drawing/2014/main" id="{41B2FF21-AD8D-4D05-9879-404E8FE97708}"/>
              </a:ext>
            </a:extLst>
          </p:cNvPr>
          <p:cNvSpPr/>
          <p:nvPr userDrawn="1"/>
        </p:nvSpPr>
        <p:spPr>
          <a:xfrm>
            <a:off x="8234531" y="2133493"/>
            <a:ext cx="1585191" cy="438049"/>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95" name="Rectangle: Rounded Corners 194">
            <a:extLst>
              <a:ext uri="{FF2B5EF4-FFF2-40B4-BE49-F238E27FC236}">
                <a16:creationId xmlns:a16="http://schemas.microsoft.com/office/drawing/2014/main" id="{4D9C41DA-CE28-4956-A7E8-F5C7C11AA90E}"/>
              </a:ext>
            </a:extLst>
          </p:cNvPr>
          <p:cNvSpPr/>
          <p:nvPr userDrawn="1"/>
        </p:nvSpPr>
        <p:spPr>
          <a:xfrm>
            <a:off x="8234531" y="3106650"/>
            <a:ext cx="1585191" cy="629736"/>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96" name="Rectangle: Rounded Corners 195">
            <a:extLst>
              <a:ext uri="{FF2B5EF4-FFF2-40B4-BE49-F238E27FC236}">
                <a16:creationId xmlns:a16="http://schemas.microsoft.com/office/drawing/2014/main" id="{6C3051B7-49AE-4764-A2AE-CB5979E4DED5}"/>
              </a:ext>
            </a:extLst>
          </p:cNvPr>
          <p:cNvSpPr/>
          <p:nvPr userDrawn="1"/>
        </p:nvSpPr>
        <p:spPr>
          <a:xfrm>
            <a:off x="8234531" y="3847867"/>
            <a:ext cx="1585191" cy="642239"/>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97" name="Rectangle: Rounded Corners 196">
            <a:extLst>
              <a:ext uri="{FF2B5EF4-FFF2-40B4-BE49-F238E27FC236}">
                <a16:creationId xmlns:a16="http://schemas.microsoft.com/office/drawing/2014/main" id="{B222962C-E61F-4504-A6BE-C7E4205D73F9}"/>
              </a:ext>
            </a:extLst>
          </p:cNvPr>
          <p:cNvSpPr/>
          <p:nvPr userDrawn="1"/>
        </p:nvSpPr>
        <p:spPr>
          <a:xfrm>
            <a:off x="8234531" y="4634073"/>
            <a:ext cx="1585191" cy="432000"/>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98" name="Rectangle: Rounded Corners 197">
            <a:extLst>
              <a:ext uri="{FF2B5EF4-FFF2-40B4-BE49-F238E27FC236}">
                <a16:creationId xmlns:a16="http://schemas.microsoft.com/office/drawing/2014/main" id="{EE26855D-A9C3-46ED-8771-E00DB2FBDDC0}"/>
              </a:ext>
            </a:extLst>
          </p:cNvPr>
          <p:cNvSpPr/>
          <p:nvPr userDrawn="1"/>
        </p:nvSpPr>
        <p:spPr>
          <a:xfrm>
            <a:off x="8234531" y="5206806"/>
            <a:ext cx="1585191" cy="341537"/>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199" name="Rectangle: Rounded Corners 198">
            <a:extLst>
              <a:ext uri="{FF2B5EF4-FFF2-40B4-BE49-F238E27FC236}">
                <a16:creationId xmlns:a16="http://schemas.microsoft.com/office/drawing/2014/main" id="{ACAB9066-66E5-432D-B10F-1C0164B09188}"/>
              </a:ext>
            </a:extLst>
          </p:cNvPr>
          <p:cNvSpPr/>
          <p:nvPr userDrawn="1"/>
        </p:nvSpPr>
        <p:spPr>
          <a:xfrm>
            <a:off x="8234531" y="5725952"/>
            <a:ext cx="1585191" cy="341537"/>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208" name="Rectangle: Rounded Corners 207">
            <a:extLst>
              <a:ext uri="{FF2B5EF4-FFF2-40B4-BE49-F238E27FC236}">
                <a16:creationId xmlns:a16="http://schemas.microsoft.com/office/drawing/2014/main" id="{5EB91675-04D2-4069-AAC8-325283122434}"/>
              </a:ext>
            </a:extLst>
          </p:cNvPr>
          <p:cNvSpPr/>
          <p:nvPr userDrawn="1"/>
        </p:nvSpPr>
        <p:spPr>
          <a:xfrm>
            <a:off x="8230969" y="2673671"/>
            <a:ext cx="1585191" cy="305182"/>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210" name="Rectangle 209">
            <a:extLst>
              <a:ext uri="{FF2B5EF4-FFF2-40B4-BE49-F238E27FC236}">
                <a16:creationId xmlns:a16="http://schemas.microsoft.com/office/drawing/2014/main" id="{E0E5D895-792B-4EF4-977F-E6CC70675D31}"/>
              </a:ext>
            </a:extLst>
          </p:cNvPr>
          <p:cNvSpPr/>
          <p:nvPr userDrawn="1"/>
        </p:nvSpPr>
        <p:spPr>
          <a:xfrm>
            <a:off x="9927567" y="1055974"/>
            <a:ext cx="1585191" cy="325272"/>
          </a:xfrm>
          <a:prstGeom prst="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lIns="128000" rIns="128000"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1" i="0" u="none" strike="noStrike" kern="0" cap="none" spc="0" normalizeH="0" baseline="30000" noProof="0">
              <a:ln>
                <a:noFill/>
              </a:ln>
              <a:solidFill>
                <a:prstClr val="black"/>
              </a:solidFill>
              <a:effectLst/>
              <a:uLnTx/>
              <a:uFillTx/>
              <a:latin typeface="Arial"/>
            </a:endParaRPr>
          </a:p>
        </p:txBody>
      </p:sp>
      <p:sp>
        <p:nvSpPr>
          <p:cNvPr id="211" name="Rectangle: Rounded Corners 210">
            <a:extLst>
              <a:ext uri="{FF2B5EF4-FFF2-40B4-BE49-F238E27FC236}">
                <a16:creationId xmlns:a16="http://schemas.microsoft.com/office/drawing/2014/main" id="{A46A7DCC-D47A-4E86-9E0A-16E24F6E2CBF}"/>
              </a:ext>
            </a:extLst>
          </p:cNvPr>
          <p:cNvSpPr/>
          <p:nvPr userDrawn="1"/>
        </p:nvSpPr>
        <p:spPr>
          <a:xfrm>
            <a:off x="9927567" y="1554434"/>
            <a:ext cx="1585191" cy="446745"/>
          </a:xfrm>
          <a:prstGeom prst="round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212" name="Rectangle: Rounded Corners 211">
            <a:extLst>
              <a:ext uri="{FF2B5EF4-FFF2-40B4-BE49-F238E27FC236}">
                <a16:creationId xmlns:a16="http://schemas.microsoft.com/office/drawing/2014/main" id="{C50A70E2-6238-4C37-8210-3BCAB251EAE2}"/>
              </a:ext>
            </a:extLst>
          </p:cNvPr>
          <p:cNvSpPr/>
          <p:nvPr userDrawn="1"/>
        </p:nvSpPr>
        <p:spPr>
          <a:xfrm>
            <a:off x="9927567" y="2147787"/>
            <a:ext cx="1585191" cy="438049"/>
          </a:xfrm>
          <a:prstGeom prst="round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213" name="Rectangle: Rounded Corners 212">
            <a:extLst>
              <a:ext uri="{FF2B5EF4-FFF2-40B4-BE49-F238E27FC236}">
                <a16:creationId xmlns:a16="http://schemas.microsoft.com/office/drawing/2014/main" id="{61819D75-522A-410B-94CE-4C75BA04C41B}"/>
              </a:ext>
            </a:extLst>
          </p:cNvPr>
          <p:cNvSpPr/>
          <p:nvPr userDrawn="1"/>
        </p:nvSpPr>
        <p:spPr>
          <a:xfrm>
            <a:off x="9927567" y="3106650"/>
            <a:ext cx="1585191" cy="629736"/>
          </a:xfrm>
          <a:prstGeom prst="round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214" name="Rectangle: Rounded Corners 213">
            <a:extLst>
              <a:ext uri="{FF2B5EF4-FFF2-40B4-BE49-F238E27FC236}">
                <a16:creationId xmlns:a16="http://schemas.microsoft.com/office/drawing/2014/main" id="{14B8B956-FAE7-40B8-BF0D-474CE95B799B}"/>
              </a:ext>
            </a:extLst>
          </p:cNvPr>
          <p:cNvSpPr/>
          <p:nvPr userDrawn="1"/>
        </p:nvSpPr>
        <p:spPr>
          <a:xfrm>
            <a:off x="9927567" y="3862161"/>
            <a:ext cx="1585191" cy="642239"/>
          </a:xfrm>
          <a:prstGeom prst="round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215" name="Rectangle: Rounded Corners 214">
            <a:extLst>
              <a:ext uri="{FF2B5EF4-FFF2-40B4-BE49-F238E27FC236}">
                <a16:creationId xmlns:a16="http://schemas.microsoft.com/office/drawing/2014/main" id="{3628DFD0-11D0-4871-BF7F-EAA28804D778}"/>
              </a:ext>
            </a:extLst>
          </p:cNvPr>
          <p:cNvSpPr/>
          <p:nvPr userDrawn="1"/>
        </p:nvSpPr>
        <p:spPr>
          <a:xfrm>
            <a:off x="9927567" y="4648367"/>
            <a:ext cx="1585191" cy="432000"/>
          </a:xfrm>
          <a:prstGeom prst="round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216" name="Rectangle: Rounded Corners 215">
            <a:extLst>
              <a:ext uri="{FF2B5EF4-FFF2-40B4-BE49-F238E27FC236}">
                <a16:creationId xmlns:a16="http://schemas.microsoft.com/office/drawing/2014/main" id="{1168E6CE-276D-4EED-9155-ECBAD5C077E1}"/>
              </a:ext>
            </a:extLst>
          </p:cNvPr>
          <p:cNvSpPr/>
          <p:nvPr userDrawn="1"/>
        </p:nvSpPr>
        <p:spPr>
          <a:xfrm>
            <a:off x="9927567" y="5210940"/>
            <a:ext cx="1585191" cy="341537"/>
          </a:xfrm>
          <a:prstGeom prst="round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217" name="Rectangle: Rounded Corners 216">
            <a:extLst>
              <a:ext uri="{FF2B5EF4-FFF2-40B4-BE49-F238E27FC236}">
                <a16:creationId xmlns:a16="http://schemas.microsoft.com/office/drawing/2014/main" id="{3C5C2E93-66D9-426F-901F-9842900EF1BC}"/>
              </a:ext>
            </a:extLst>
          </p:cNvPr>
          <p:cNvSpPr/>
          <p:nvPr userDrawn="1"/>
        </p:nvSpPr>
        <p:spPr>
          <a:xfrm>
            <a:off x="9927567" y="5725952"/>
            <a:ext cx="1585191" cy="341537"/>
          </a:xfrm>
          <a:prstGeom prst="round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
        <p:nvSpPr>
          <p:cNvPr id="226" name="Rectangle: Rounded Corners 225">
            <a:extLst>
              <a:ext uri="{FF2B5EF4-FFF2-40B4-BE49-F238E27FC236}">
                <a16:creationId xmlns:a16="http://schemas.microsoft.com/office/drawing/2014/main" id="{3868CF18-5606-43CA-B642-90256C41F71B}"/>
              </a:ext>
            </a:extLst>
          </p:cNvPr>
          <p:cNvSpPr/>
          <p:nvPr userDrawn="1"/>
        </p:nvSpPr>
        <p:spPr>
          <a:xfrm>
            <a:off x="9924005" y="2673671"/>
            <a:ext cx="1585191" cy="319476"/>
          </a:xfrm>
          <a:prstGeom prst="round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a:ln>
                <a:noFill/>
              </a:ln>
              <a:solidFill>
                <a:prstClr val="black"/>
              </a:solidFill>
              <a:effectLst/>
              <a:uLnTx/>
              <a:uFillTx/>
              <a:latin typeface="Arial"/>
            </a:endParaRPr>
          </a:p>
        </p:txBody>
      </p:sp>
    </p:spTree>
    <p:custDataLst>
      <p:tags r:id="rId1"/>
    </p:custDataLst>
    <p:extLst>
      <p:ext uri="{BB962C8B-B14F-4D97-AF65-F5344CB8AC3E}">
        <p14:creationId xmlns:p14="http://schemas.microsoft.com/office/powerpoint/2010/main" val="2462054285"/>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fidentiality Notic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848B27A-10B7-4200-88E7-16263562F97B}"/>
              </a:ext>
            </a:extLst>
          </p:cNvPr>
          <p:cNvSpPr txBox="1"/>
          <p:nvPr userDrawn="1"/>
        </p:nvSpPr>
        <p:spPr>
          <a:xfrm>
            <a:off x="419100" y="4864100"/>
            <a:ext cx="9156700" cy="1028700"/>
          </a:xfrm>
          <a:prstGeom prst="rect">
            <a:avLst/>
          </a:prstGeom>
          <a:noFill/>
        </p:spPr>
        <p:txBody>
          <a:bodyPr wrap="square" rtlCol="0">
            <a:noAutofit/>
          </a:bodyPr>
          <a:lstStyle/>
          <a:p>
            <a:pPr marL="12700">
              <a:lnSpc>
                <a:spcPct val="100000"/>
              </a:lnSpc>
              <a:spcBef>
                <a:spcPts val="100"/>
              </a:spcBef>
            </a:pPr>
            <a:r>
              <a:rPr lang="en-US" sz="1200" b="1" spc="-5">
                <a:solidFill>
                  <a:schemeClr val="tx1"/>
                </a:solidFill>
                <a:latin typeface="+mn-lt"/>
                <a:cs typeface="Arial"/>
              </a:rPr>
              <a:t>Confidentiality</a:t>
            </a:r>
            <a:r>
              <a:rPr lang="en-US" sz="1200" b="1" spc="-10">
                <a:solidFill>
                  <a:schemeClr val="tx1"/>
                </a:solidFill>
                <a:latin typeface="+mn-lt"/>
                <a:cs typeface="Arial"/>
              </a:rPr>
              <a:t> </a:t>
            </a:r>
            <a:r>
              <a:rPr lang="en-US" sz="1200" b="1" spc="-5">
                <a:solidFill>
                  <a:schemeClr val="tx1"/>
                </a:solidFill>
                <a:latin typeface="+mn-lt"/>
                <a:cs typeface="Arial"/>
              </a:rPr>
              <a:t>Notice</a:t>
            </a:r>
            <a:endParaRPr lang="en-US" sz="1200">
              <a:solidFill>
                <a:schemeClr val="tx1"/>
              </a:solidFill>
              <a:latin typeface="+mn-lt"/>
              <a:cs typeface="Arial"/>
            </a:endParaRPr>
          </a:p>
          <a:p>
            <a:pPr marL="26670" marR="5080">
              <a:lnSpc>
                <a:spcPct val="102699"/>
              </a:lnSpc>
              <a:spcBef>
                <a:spcPts val="780"/>
              </a:spcBef>
            </a:pPr>
            <a:r>
              <a:rPr lang="en-US" sz="1200" spc="5">
                <a:solidFill>
                  <a:schemeClr val="tx1"/>
                </a:solidFill>
                <a:latin typeface="+mn-lt"/>
                <a:cs typeface="Arial"/>
              </a:rPr>
              <a:t>This </a:t>
            </a:r>
            <a:r>
              <a:rPr lang="en-US" sz="1200">
                <a:solidFill>
                  <a:schemeClr val="tx1"/>
                </a:solidFill>
                <a:latin typeface="+mn-lt"/>
                <a:cs typeface="Arial"/>
              </a:rPr>
              <a:t>file is </a:t>
            </a:r>
            <a:r>
              <a:rPr lang="en-US" sz="1200" spc="5">
                <a:solidFill>
                  <a:schemeClr val="tx1"/>
                </a:solidFill>
                <a:latin typeface="+mn-lt"/>
                <a:cs typeface="Arial"/>
              </a:rPr>
              <a:t>private </a:t>
            </a:r>
            <a:r>
              <a:rPr lang="en-US" sz="1200" spc="10">
                <a:solidFill>
                  <a:schemeClr val="tx1"/>
                </a:solidFill>
                <a:latin typeface="+mn-lt"/>
                <a:cs typeface="Arial"/>
              </a:rPr>
              <a:t>and may contain confidential and proprietary information. </a:t>
            </a:r>
            <a:r>
              <a:rPr lang="en-US" sz="1200">
                <a:solidFill>
                  <a:schemeClr val="tx1"/>
                </a:solidFill>
                <a:latin typeface="+mn-lt"/>
                <a:cs typeface="Arial"/>
              </a:rPr>
              <a:t>If </a:t>
            </a:r>
            <a:r>
              <a:rPr lang="en-US" sz="1200" spc="10">
                <a:solidFill>
                  <a:schemeClr val="tx1"/>
                </a:solidFill>
                <a:latin typeface="+mn-lt"/>
                <a:cs typeface="Arial"/>
              </a:rPr>
              <a:t>you have received </a:t>
            </a:r>
            <a:r>
              <a:rPr lang="en-US" sz="1200" spc="5">
                <a:solidFill>
                  <a:schemeClr val="tx1"/>
                </a:solidFill>
                <a:latin typeface="+mn-lt"/>
                <a:cs typeface="Arial"/>
              </a:rPr>
              <a:t>this </a:t>
            </a:r>
            <a:r>
              <a:rPr lang="en-US" sz="1200">
                <a:solidFill>
                  <a:schemeClr val="tx1"/>
                </a:solidFill>
                <a:latin typeface="+mn-lt"/>
                <a:cs typeface="Arial"/>
              </a:rPr>
              <a:t>file in </a:t>
            </a:r>
            <a:r>
              <a:rPr lang="en-US" sz="1200" spc="10">
                <a:solidFill>
                  <a:schemeClr val="tx1"/>
                </a:solidFill>
                <a:latin typeface="+mn-lt"/>
                <a:cs typeface="Arial"/>
              </a:rPr>
              <a:t>error, please </a:t>
            </a:r>
            <a:r>
              <a:rPr lang="en-US" sz="1200" spc="5">
                <a:solidFill>
                  <a:schemeClr val="tx1"/>
                </a:solidFill>
                <a:latin typeface="+mn-lt"/>
                <a:cs typeface="Arial"/>
              </a:rPr>
              <a:t>notify us </a:t>
            </a:r>
            <a:r>
              <a:rPr lang="en-US" sz="1200" spc="10">
                <a:solidFill>
                  <a:schemeClr val="tx1"/>
                </a:solidFill>
                <a:latin typeface="+mn-lt"/>
                <a:cs typeface="Arial"/>
              </a:rPr>
              <a:t>and remove  </a:t>
            </a:r>
            <a:r>
              <a:rPr lang="en-US" sz="1200">
                <a:solidFill>
                  <a:schemeClr val="tx1"/>
                </a:solidFill>
                <a:latin typeface="+mn-lt"/>
                <a:cs typeface="Arial"/>
              </a:rPr>
              <a:t>it </a:t>
            </a:r>
            <a:r>
              <a:rPr lang="en-US" sz="1200" spc="5">
                <a:solidFill>
                  <a:schemeClr val="tx1"/>
                </a:solidFill>
                <a:latin typeface="+mn-lt"/>
                <a:cs typeface="Arial"/>
              </a:rPr>
              <a:t>from </a:t>
            </a:r>
            <a:r>
              <a:rPr lang="en-US" sz="1200" spc="10">
                <a:solidFill>
                  <a:schemeClr val="tx1"/>
                </a:solidFill>
                <a:latin typeface="+mn-lt"/>
                <a:cs typeface="Arial"/>
              </a:rPr>
              <a:t>your system and </a:t>
            </a:r>
            <a:r>
              <a:rPr lang="en-US" sz="1200" spc="5">
                <a:solidFill>
                  <a:schemeClr val="tx1"/>
                </a:solidFill>
                <a:latin typeface="+mn-lt"/>
                <a:cs typeface="Arial"/>
              </a:rPr>
              <a:t>note that </a:t>
            </a:r>
            <a:r>
              <a:rPr lang="en-US" sz="1200" spc="10">
                <a:solidFill>
                  <a:schemeClr val="tx1"/>
                </a:solidFill>
                <a:latin typeface="+mn-lt"/>
                <a:cs typeface="Arial"/>
              </a:rPr>
              <a:t>you must not copy, </a:t>
            </a:r>
            <a:r>
              <a:rPr lang="en-US" sz="1200" spc="5">
                <a:solidFill>
                  <a:schemeClr val="tx1"/>
                </a:solidFill>
                <a:latin typeface="+mn-lt"/>
                <a:cs typeface="Arial"/>
              </a:rPr>
              <a:t>distribute or take </a:t>
            </a:r>
            <a:r>
              <a:rPr lang="en-US" sz="1200" spc="10">
                <a:solidFill>
                  <a:schemeClr val="tx1"/>
                </a:solidFill>
                <a:latin typeface="+mn-lt"/>
                <a:cs typeface="Arial"/>
              </a:rPr>
              <a:t>any </a:t>
            </a:r>
            <a:r>
              <a:rPr lang="en-US" sz="1200" spc="5">
                <a:solidFill>
                  <a:schemeClr val="tx1"/>
                </a:solidFill>
                <a:latin typeface="+mn-lt"/>
                <a:cs typeface="Arial"/>
              </a:rPr>
              <a:t>action </a:t>
            </a:r>
            <a:r>
              <a:rPr lang="en-US" sz="1200">
                <a:solidFill>
                  <a:schemeClr val="tx1"/>
                </a:solidFill>
                <a:latin typeface="+mn-lt"/>
                <a:cs typeface="Arial"/>
              </a:rPr>
              <a:t>in </a:t>
            </a:r>
            <a:r>
              <a:rPr lang="en-US" sz="1200" spc="10">
                <a:solidFill>
                  <a:schemeClr val="tx1"/>
                </a:solidFill>
                <a:latin typeface="+mn-lt"/>
                <a:cs typeface="Arial"/>
              </a:rPr>
              <a:t>reliance </a:t>
            </a:r>
            <a:r>
              <a:rPr lang="en-US" sz="1200" spc="5">
                <a:solidFill>
                  <a:schemeClr val="tx1"/>
                </a:solidFill>
                <a:latin typeface="+mn-lt"/>
                <a:cs typeface="Arial"/>
              </a:rPr>
              <a:t>on </a:t>
            </a:r>
            <a:r>
              <a:rPr lang="en-US" sz="1200">
                <a:solidFill>
                  <a:schemeClr val="tx1"/>
                </a:solidFill>
                <a:latin typeface="+mn-lt"/>
                <a:cs typeface="Arial"/>
              </a:rPr>
              <a:t>it. </a:t>
            </a:r>
            <a:r>
              <a:rPr lang="en-US" sz="1200" spc="10">
                <a:solidFill>
                  <a:schemeClr val="tx1"/>
                </a:solidFill>
                <a:latin typeface="+mn-lt"/>
                <a:cs typeface="Arial"/>
              </a:rPr>
              <a:t>Any unauthorized use </a:t>
            </a:r>
            <a:r>
              <a:rPr lang="en-US" sz="1200" spc="5">
                <a:solidFill>
                  <a:schemeClr val="tx1"/>
                </a:solidFill>
                <a:latin typeface="+mn-lt"/>
                <a:cs typeface="Arial"/>
              </a:rPr>
              <a:t>or </a:t>
            </a:r>
            <a:r>
              <a:rPr lang="en-US" sz="1200" spc="10">
                <a:solidFill>
                  <a:schemeClr val="tx1"/>
                </a:solidFill>
                <a:latin typeface="+mn-lt"/>
                <a:cs typeface="Arial"/>
              </a:rPr>
              <a:t>disclosure </a:t>
            </a:r>
            <a:r>
              <a:rPr lang="en-US" sz="1200" spc="5">
                <a:solidFill>
                  <a:schemeClr val="tx1"/>
                </a:solidFill>
                <a:latin typeface="+mn-lt"/>
                <a:cs typeface="Arial"/>
              </a:rPr>
              <a:t>of the  </a:t>
            </a:r>
            <a:r>
              <a:rPr lang="en-US" sz="1200" spc="10">
                <a:solidFill>
                  <a:schemeClr val="tx1"/>
                </a:solidFill>
                <a:latin typeface="+mn-lt"/>
                <a:cs typeface="Arial"/>
              </a:rPr>
              <a:t>contents </a:t>
            </a:r>
            <a:r>
              <a:rPr lang="en-US" sz="1200" spc="5">
                <a:solidFill>
                  <a:schemeClr val="tx1"/>
                </a:solidFill>
                <a:latin typeface="+mn-lt"/>
                <a:cs typeface="Arial"/>
              </a:rPr>
              <a:t>of this </a:t>
            </a:r>
            <a:r>
              <a:rPr lang="en-US" sz="1200">
                <a:solidFill>
                  <a:schemeClr val="tx1"/>
                </a:solidFill>
                <a:latin typeface="+mn-lt"/>
                <a:cs typeface="Arial"/>
              </a:rPr>
              <a:t>file is </a:t>
            </a:r>
            <a:r>
              <a:rPr lang="en-US" sz="1200" spc="10">
                <a:solidFill>
                  <a:schemeClr val="tx1"/>
                </a:solidFill>
                <a:latin typeface="+mn-lt"/>
                <a:cs typeface="Arial"/>
              </a:rPr>
              <a:t>not permitted and may </a:t>
            </a:r>
            <a:r>
              <a:rPr lang="en-US" sz="1200" spc="5">
                <a:solidFill>
                  <a:schemeClr val="tx1"/>
                </a:solidFill>
                <a:latin typeface="+mn-lt"/>
                <a:cs typeface="Arial"/>
              </a:rPr>
              <a:t>be </a:t>
            </a:r>
            <a:r>
              <a:rPr lang="en-US" sz="1200" spc="10">
                <a:solidFill>
                  <a:schemeClr val="tx1"/>
                </a:solidFill>
                <a:latin typeface="+mn-lt"/>
                <a:cs typeface="Arial"/>
              </a:rPr>
              <a:t>unlawful. AstraZeneca PLC, </a:t>
            </a:r>
            <a:r>
              <a:rPr lang="en-US" sz="1200">
                <a:solidFill>
                  <a:schemeClr val="tx1"/>
                </a:solidFill>
                <a:latin typeface="+mn-lt"/>
                <a:cs typeface="Arial"/>
              </a:rPr>
              <a:t>1 </a:t>
            </a:r>
            <a:r>
              <a:rPr lang="en-US" sz="1200" spc="10">
                <a:solidFill>
                  <a:schemeClr val="tx1"/>
                </a:solidFill>
                <a:latin typeface="+mn-lt"/>
                <a:cs typeface="Arial"/>
              </a:rPr>
              <a:t>Francis Crick Avenue, Cambridge Biomedical </a:t>
            </a:r>
            <a:r>
              <a:rPr lang="en-US" sz="1200" spc="15">
                <a:solidFill>
                  <a:schemeClr val="tx1"/>
                </a:solidFill>
                <a:latin typeface="+mn-lt"/>
                <a:cs typeface="Arial"/>
              </a:rPr>
              <a:t>Campus,  </a:t>
            </a:r>
            <a:r>
              <a:rPr lang="en-US" sz="1200" spc="10">
                <a:solidFill>
                  <a:schemeClr val="tx1"/>
                </a:solidFill>
                <a:latin typeface="+mn-lt"/>
                <a:cs typeface="Arial"/>
              </a:rPr>
              <a:t>Cambridge, CB2 0AA, UK, </a:t>
            </a:r>
            <a:r>
              <a:rPr lang="en-US" sz="1200" spc="5">
                <a:solidFill>
                  <a:schemeClr val="tx1"/>
                </a:solidFill>
                <a:latin typeface="+mn-lt"/>
                <a:cs typeface="Arial"/>
              </a:rPr>
              <a:t>T: </a:t>
            </a:r>
            <a:r>
              <a:rPr lang="en-US" sz="1200" spc="10">
                <a:solidFill>
                  <a:schemeClr val="tx1"/>
                </a:solidFill>
                <a:latin typeface="+mn-lt"/>
                <a:cs typeface="Arial"/>
              </a:rPr>
              <a:t>+44(0)203 749 5000,</a:t>
            </a:r>
            <a:r>
              <a:rPr lang="en-US" sz="1200" spc="85">
                <a:solidFill>
                  <a:schemeClr val="tx1"/>
                </a:solidFill>
                <a:latin typeface="+mn-lt"/>
                <a:cs typeface="Arial"/>
              </a:rPr>
              <a:t> </a:t>
            </a:r>
            <a:r>
              <a:rPr lang="en-US" sz="1200" u="none" spc="10">
                <a:solidFill>
                  <a:schemeClr val="tx1"/>
                </a:solidFill>
                <a:latin typeface="+mn-lt"/>
                <a:cs typeface="Arial"/>
              </a:rPr>
              <a:t>www.astrazeneca.com</a:t>
            </a:r>
            <a:endParaRPr lang="en-US" sz="1200">
              <a:solidFill>
                <a:schemeClr val="tx1"/>
              </a:solidFill>
            </a:endParaRPr>
          </a:p>
        </p:txBody>
      </p:sp>
      <p:sp>
        <p:nvSpPr>
          <p:cNvPr id="4" name="Date Placeholder 3">
            <a:extLst>
              <a:ext uri="{FF2B5EF4-FFF2-40B4-BE49-F238E27FC236}">
                <a16:creationId xmlns:a16="http://schemas.microsoft.com/office/drawing/2014/main" id="{2AB750B5-01B2-430D-BF92-6E5CD93388D3}"/>
              </a:ext>
            </a:extLst>
          </p:cNvPr>
          <p:cNvSpPr>
            <a:spLocks noGrp="1"/>
          </p:cNvSpPr>
          <p:nvPr>
            <p:ph type="dt" sz="half" idx="10"/>
          </p:nvPr>
        </p:nvSpPr>
        <p:spPr/>
        <p:txBody>
          <a:bodyPr/>
          <a:lstStyle/>
          <a:p>
            <a:endParaRPr lang="en-GB"/>
          </a:p>
        </p:txBody>
      </p:sp>
      <p:sp>
        <p:nvSpPr>
          <p:cNvPr id="8" name="Slide Number Placeholder 7">
            <a:extLst>
              <a:ext uri="{FF2B5EF4-FFF2-40B4-BE49-F238E27FC236}">
                <a16:creationId xmlns:a16="http://schemas.microsoft.com/office/drawing/2014/main" id="{25C10CA0-7F28-40CE-9633-59C6800E7665}"/>
              </a:ext>
            </a:extLst>
          </p:cNvPr>
          <p:cNvSpPr>
            <a:spLocks noGrp="1"/>
          </p:cNvSpPr>
          <p:nvPr>
            <p:ph type="sldNum" sz="quarter" idx="12"/>
          </p:nvPr>
        </p:nvSpPr>
        <p:spPr/>
        <p:txBody>
          <a:bodyPr/>
          <a:lstStyle/>
          <a:p>
            <a:fld id="{F8E47D07-9D1E-4FE9-B31A-2F5863681021}" type="slidenum">
              <a:rPr lang="en-GB" smtClean="0"/>
              <a:pPr/>
              <a:t>‹#›</a:t>
            </a:fld>
            <a:endParaRPr lang="en-GB"/>
          </a:p>
        </p:txBody>
      </p:sp>
    </p:spTree>
    <p:custDataLst>
      <p:tags r:id="rId1"/>
    </p:custDataLst>
    <p:extLst>
      <p:ext uri="{BB962C8B-B14F-4D97-AF65-F5344CB8AC3E}">
        <p14:creationId xmlns:p14="http://schemas.microsoft.com/office/powerpoint/2010/main" val="37446306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z="9600"/>
              <a:t>Do not use layouts</a:t>
            </a:r>
            <a:br>
              <a:rPr lang="en-US" sz="9600"/>
            </a:br>
            <a:r>
              <a:rPr lang="en-US" sz="9600"/>
              <a:t>in this section appearing after this point. </a:t>
            </a:r>
          </a:p>
        </p:txBody>
      </p:sp>
      <p:sp>
        <p:nvSpPr>
          <p:cNvPr id="4" name="DO NOT DELETE (BRANDIN)">
            <a:extLst>
              <a:ext uri="{FF2B5EF4-FFF2-40B4-BE49-F238E27FC236}">
                <a16:creationId xmlns:a16="http://schemas.microsoft.com/office/drawing/2014/main" id="{F1299135-0714-4CF7-A974-069E1C738F33}"/>
              </a:ext>
            </a:extLst>
          </p:cNvPr>
          <p:cNvSpPr/>
          <p:nvPr userDrawn="1"/>
        </p:nvSpPr>
        <p:spPr>
          <a:xfrm>
            <a:off x="0" y="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90000"/>
              </a:lnSpc>
              <a:spcAft>
                <a:spcPts val="600"/>
              </a:spcAft>
            </a:pPr>
            <a:endParaRPr lang="en-US" err="1"/>
          </a:p>
        </p:txBody>
      </p:sp>
    </p:spTree>
    <p:custDataLst>
      <p:tags r:id="rId1"/>
    </p:custDataLst>
    <p:extLst>
      <p:ext uri="{BB962C8B-B14F-4D97-AF65-F5344CB8AC3E}">
        <p14:creationId xmlns:p14="http://schemas.microsoft.com/office/powerpoint/2010/main" val="42693234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Global Cover Sheet">
    <p:spTree>
      <p:nvGrpSpPr>
        <p:cNvPr id="1" name=""/>
        <p:cNvGrpSpPr/>
        <p:nvPr/>
      </p:nvGrpSpPr>
      <p:grpSpPr>
        <a:xfrm>
          <a:off x="0" y="0"/>
          <a:ext cx="0" cy="0"/>
          <a:chOff x="0" y="0"/>
          <a:chExt cx="0" cy="0"/>
        </a:xfrm>
      </p:grpSpPr>
      <p:sp>
        <p:nvSpPr>
          <p:cNvPr id="79" name="TextBox 78">
            <a:extLst>
              <a:ext uri="{FF2B5EF4-FFF2-40B4-BE49-F238E27FC236}">
                <a16:creationId xmlns:a16="http://schemas.microsoft.com/office/drawing/2014/main" id="{86D12817-4053-40BC-82BB-7AF5EE51AEBA}"/>
              </a:ext>
            </a:extLst>
          </p:cNvPr>
          <p:cNvSpPr txBox="1"/>
          <p:nvPr userDrawn="1"/>
        </p:nvSpPr>
        <p:spPr>
          <a:xfrm>
            <a:off x="526473" y="6034668"/>
            <a:ext cx="11208327" cy="830997"/>
          </a:xfrm>
          <a:prstGeom prst="rect">
            <a:avLst/>
          </a:prstGeom>
          <a:noFill/>
          <a:ln>
            <a:noFill/>
          </a:ln>
        </p:spPr>
        <p:txBody>
          <a:bodyPr wrap="square" rtlCol="0" anchor="b">
            <a:spAutoFit/>
          </a:bodyPr>
          <a:lstStyle/>
          <a:p>
            <a:pPr marL="0" indent="0" algn="ctr">
              <a:buClr>
                <a:schemeClr val="accent1"/>
              </a:buClr>
              <a:buFont typeface="Arial" panose="020B0604020202020204" pitchFamily="34" charset="0"/>
              <a:buNone/>
            </a:pPr>
            <a:r>
              <a:rPr lang="en-US" sz="1400" b="1" dirty="0">
                <a:solidFill>
                  <a:schemeClr val="tx1"/>
                </a:solidFill>
              </a:rPr>
              <a:t>External use of any of the content must be approved for release </a:t>
            </a:r>
            <a:br>
              <a:rPr lang="en-US" sz="1400" b="1" dirty="0">
                <a:solidFill>
                  <a:schemeClr val="tx1"/>
                </a:solidFill>
              </a:rPr>
            </a:br>
            <a:r>
              <a:rPr lang="en-US" sz="1400" b="1" dirty="0">
                <a:solidFill>
                  <a:schemeClr val="tx1"/>
                </a:solidFill>
              </a:rPr>
              <a:t>by your local nominated signatory/local medical process to ensure compliance with local regulations. </a:t>
            </a:r>
          </a:p>
          <a:p>
            <a:pPr marL="0" indent="0" algn="ctr">
              <a:buClr>
                <a:schemeClr val="accent1"/>
              </a:buClr>
              <a:buFont typeface="Arial" panose="020B0604020202020204" pitchFamily="34" charset="0"/>
              <a:buNone/>
            </a:pPr>
            <a:r>
              <a:rPr lang="en-US" sz="1000" b="0" dirty="0">
                <a:solidFill>
                  <a:schemeClr val="tx1"/>
                </a:solidFill>
              </a:rPr>
              <a:t>Refer to the General Properties for this asset in GMIP Content (Veeva Vault </a:t>
            </a:r>
            <a:r>
              <a:rPr lang="en-US" sz="1000" b="0" dirty="0" err="1">
                <a:solidFill>
                  <a:schemeClr val="tx1"/>
                </a:solidFill>
              </a:rPr>
              <a:t>MedComms</a:t>
            </a:r>
            <a:r>
              <a:rPr lang="en-US" sz="1000" b="0" dirty="0">
                <a:solidFill>
                  <a:schemeClr val="tx1"/>
                </a:solidFill>
              </a:rPr>
              <a:t>) for additional details. </a:t>
            </a:r>
          </a:p>
          <a:p>
            <a:pPr marL="0" indent="0" algn="ctr">
              <a:buClr>
                <a:schemeClr val="accent1"/>
              </a:buClr>
              <a:buFont typeface="Arial" panose="020B0604020202020204" pitchFamily="34" charset="0"/>
              <a:buNone/>
            </a:pPr>
            <a:r>
              <a:rPr lang="en-US" sz="1000" b="0" dirty="0">
                <a:solidFill>
                  <a:schemeClr val="tx1"/>
                </a:solidFill>
              </a:rPr>
              <a:t>Questions on this asset should be directed to asset owners.</a:t>
            </a:r>
          </a:p>
        </p:txBody>
      </p:sp>
      <p:graphicFrame>
        <p:nvGraphicFramePr>
          <p:cNvPr id="50" name="Table 49">
            <a:extLst>
              <a:ext uri="{FF2B5EF4-FFF2-40B4-BE49-F238E27FC236}">
                <a16:creationId xmlns:a16="http://schemas.microsoft.com/office/drawing/2014/main" id="{83D05D04-05CE-47AA-8F7B-B08C33B32C3F}"/>
              </a:ext>
            </a:extLst>
          </p:cNvPr>
          <p:cNvGraphicFramePr>
            <a:graphicFrameLocks noGrp="1"/>
          </p:cNvGraphicFramePr>
          <p:nvPr userDrawn="1">
            <p:extLst>
              <p:ext uri="{D42A27DB-BD31-4B8C-83A1-F6EECF244321}">
                <p14:modId xmlns:p14="http://schemas.microsoft.com/office/powerpoint/2010/main" val="429134625"/>
              </p:ext>
            </p:extLst>
          </p:nvPr>
        </p:nvGraphicFramePr>
        <p:xfrm>
          <a:off x="1128801" y="2274791"/>
          <a:ext cx="9949787" cy="1529404"/>
        </p:xfrm>
        <a:graphic>
          <a:graphicData uri="http://schemas.openxmlformats.org/drawingml/2006/table">
            <a:tbl>
              <a:tblPr>
                <a:tableStyleId>{21E4AEA4-8DFA-4A89-87EB-49C32662AFE0}</a:tableStyleId>
              </a:tblPr>
              <a:tblGrid>
                <a:gridCol w="2931948">
                  <a:extLst>
                    <a:ext uri="{9D8B030D-6E8A-4147-A177-3AD203B41FA5}">
                      <a16:colId xmlns:a16="http://schemas.microsoft.com/office/drawing/2014/main" val="3458750997"/>
                    </a:ext>
                  </a:extLst>
                </a:gridCol>
                <a:gridCol w="3701243">
                  <a:extLst>
                    <a:ext uri="{9D8B030D-6E8A-4147-A177-3AD203B41FA5}">
                      <a16:colId xmlns:a16="http://schemas.microsoft.com/office/drawing/2014/main" val="4071395440"/>
                    </a:ext>
                  </a:extLst>
                </a:gridCol>
                <a:gridCol w="3316596">
                  <a:extLst>
                    <a:ext uri="{9D8B030D-6E8A-4147-A177-3AD203B41FA5}">
                      <a16:colId xmlns:a16="http://schemas.microsoft.com/office/drawing/2014/main" val="668771908"/>
                    </a:ext>
                  </a:extLst>
                </a:gridCol>
              </a:tblGrid>
              <a:tr h="382351">
                <a:tc>
                  <a:txBody>
                    <a:bodyPr/>
                    <a:lstStyle/>
                    <a:p>
                      <a:endParaRPr lang="en-US" sz="1800" dirty="0"/>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8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800" dirty="0"/>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989134820"/>
                  </a:ext>
                </a:extLst>
              </a:tr>
              <a:tr h="382351">
                <a:tc>
                  <a:txBody>
                    <a:bodyPr/>
                    <a:lstStyle/>
                    <a:p>
                      <a:endParaRPr lang="en-US" sz="1800"/>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8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800" dirty="0"/>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89025149"/>
                  </a:ext>
                </a:extLst>
              </a:tr>
              <a:tr h="382351">
                <a:tc>
                  <a:txBody>
                    <a:bodyPr/>
                    <a:lstStyle/>
                    <a:p>
                      <a:endParaRPr lang="en-US" sz="1800"/>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8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800" dirty="0"/>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532524754"/>
                  </a:ext>
                </a:extLst>
              </a:tr>
              <a:tr h="382351">
                <a:tc>
                  <a:txBody>
                    <a:bodyPr/>
                    <a:lstStyle/>
                    <a:p>
                      <a:endParaRPr lang="en-US" sz="1800"/>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8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800" dirty="0"/>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152630277"/>
                  </a:ext>
                </a:extLst>
              </a:tr>
            </a:tbl>
          </a:graphicData>
        </a:graphic>
      </p:graphicFrame>
      <p:graphicFrame>
        <p:nvGraphicFramePr>
          <p:cNvPr id="5" name="Table 4">
            <a:extLst>
              <a:ext uri="{FF2B5EF4-FFF2-40B4-BE49-F238E27FC236}">
                <a16:creationId xmlns:a16="http://schemas.microsoft.com/office/drawing/2014/main" id="{3C8DCB22-4BDC-4256-9886-290008A41E58}"/>
              </a:ext>
            </a:extLst>
          </p:cNvPr>
          <p:cNvGraphicFramePr>
            <a:graphicFrameLocks noGrp="1"/>
          </p:cNvGraphicFramePr>
          <p:nvPr userDrawn="1">
            <p:extLst>
              <p:ext uri="{D42A27DB-BD31-4B8C-83A1-F6EECF244321}">
                <p14:modId xmlns:p14="http://schemas.microsoft.com/office/powerpoint/2010/main" val="4120293828"/>
              </p:ext>
            </p:extLst>
          </p:nvPr>
        </p:nvGraphicFramePr>
        <p:xfrm>
          <a:off x="1128801" y="1039471"/>
          <a:ext cx="9949787" cy="1147053"/>
        </p:xfrm>
        <a:graphic>
          <a:graphicData uri="http://schemas.openxmlformats.org/drawingml/2006/table">
            <a:tbl>
              <a:tblPr>
                <a:tableStyleId>{21E4AEA4-8DFA-4A89-87EB-49C32662AFE0}</a:tableStyleId>
              </a:tblPr>
              <a:tblGrid>
                <a:gridCol w="2931948">
                  <a:extLst>
                    <a:ext uri="{9D8B030D-6E8A-4147-A177-3AD203B41FA5}">
                      <a16:colId xmlns:a16="http://schemas.microsoft.com/office/drawing/2014/main" val="3458750997"/>
                    </a:ext>
                  </a:extLst>
                </a:gridCol>
                <a:gridCol w="3701243">
                  <a:extLst>
                    <a:ext uri="{9D8B030D-6E8A-4147-A177-3AD203B41FA5}">
                      <a16:colId xmlns:a16="http://schemas.microsoft.com/office/drawing/2014/main" val="4071395440"/>
                    </a:ext>
                  </a:extLst>
                </a:gridCol>
                <a:gridCol w="3316596">
                  <a:extLst>
                    <a:ext uri="{9D8B030D-6E8A-4147-A177-3AD203B41FA5}">
                      <a16:colId xmlns:a16="http://schemas.microsoft.com/office/drawing/2014/main" val="668771908"/>
                    </a:ext>
                  </a:extLst>
                </a:gridCol>
              </a:tblGrid>
              <a:tr h="382351">
                <a:tc>
                  <a:txBody>
                    <a:bodyPr/>
                    <a:lstStyle/>
                    <a:p>
                      <a:endParaRPr lang="en-US" sz="1800" dirty="0"/>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8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800"/>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23421394"/>
                  </a:ext>
                </a:extLst>
              </a:tr>
              <a:tr h="382351">
                <a:tc>
                  <a:txBody>
                    <a:bodyPr/>
                    <a:lstStyle/>
                    <a:p>
                      <a:endParaRPr lang="en-US" sz="1800"/>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8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800"/>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68834974"/>
                  </a:ext>
                </a:extLst>
              </a:tr>
              <a:tr h="382351">
                <a:tc>
                  <a:txBody>
                    <a:bodyPr/>
                    <a:lstStyle/>
                    <a:p>
                      <a:endParaRPr lang="en-US" sz="1800"/>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8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lang="en-US" sz="1800" dirty="0"/>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051146587"/>
                  </a:ext>
                </a:extLst>
              </a:tr>
            </a:tbl>
          </a:graphicData>
        </a:graphic>
      </p:graphicFrame>
      <p:sp>
        <p:nvSpPr>
          <p:cNvPr id="2" name="Date Placeholder 1"/>
          <p:cNvSpPr>
            <a:spLocks noGrp="1"/>
          </p:cNvSpPr>
          <p:nvPr>
            <p:ph type="dt" sz="half" idx="10"/>
          </p:nvPr>
        </p:nvSpPr>
        <p:spPr/>
        <p:txBody>
          <a:bodyPr/>
          <a:lstStyle/>
          <a:p>
            <a:fld id="{4B959C31-8071-4657-BA84-2004C5131029}" type="datetime1">
              <a:rPr lang="en-US" smtClean="0"/>
              <a:t>4/1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C7432E5-F8E0-41AE-9A6B-AD730338B005}" type="slidenum">
              <a:rPr lang="en-US" smtClean="0"/>
              <a:pPr/>
              <a:t>‹#›</a:t>
            </a:fld>
            <a:endParaRPr lang="en-US" dirty="0"/>
          </a:p>
        </p:txBody>
      </p:sp>
      <p:sp>
        <p:nvSpPr>
          <p:cNvPr id="8" name="TextBox 7">
            <a:extLst>
              <a:ext uri="{FF2B5EF4-FFF2-40B4-BE49-F238E27FC236}">
                <a16:creationId xmlns:a16="http://schemas.microsoft.com/office/drawing/2014/main" id="{FF897A55-CB79-4D07-BEF1-54B1E974D126}"/>
              </a:ext>
            </a:extLst>
          </p:cNvPr>
          <p:cNvSpPr txBox="1"/>
          <p:nvPr userDrawn="1"/>
        </p:nvSpPr>
        <p:spPr>
          <a:xfrm>
            <a:off x="10160000" y="6611780"/>
            <a:ext cx="2032000" cy="246221"/>
          </a:xfrm>
          <a:prstGeom prst="rect">
            <a:avLst/>
          </a:prstGeom>
          <a:noFill/>
        </p:spPr>
        <p:txBody>
          <a:bodyPr wrap="square" rtlCol="0" anchor="b" anchorCtr="0">
            <a:spAutoFit/>
          </a:bodyPr>
          <a:lstStyle/>
          <a:p>
            <a:pPr algn="r"/>
            <a:r>
              <a:rPr lang="en-US" sz="1000" b="0" baseline="0" dirty="0">
                <a:solidFill>
                  <a:schemeClr val="tx1"/>
                </a:solidFill>
                <a:latin typeface="Arial" pitchFamily="34" charset="0"/>
                <a:cs typeface="Arial" pitchFamily="34" charset="0"/>
              </a:rPr>
              <a:t>© AstraZeneca </a:t>
            </a:r>
            <a:fld id="{E86B8DE1-4020-4A49-9267-F9ACDA6D789A}" type="datetimeyyyy">
              <a:rPr lang="en-US" sz="1000" b="0" baseline="0" smtClean="0">
                <a:solidFill>
                  <a:schemeClr val="tx1"/>
                </a:solidFill>
                <a:latin typeface="Arial" pitchFamily="34" charset="0"/>
                <a:cs typeface="Arial" pitchFamily="34" charset="0"/>
              </a:rPr>
              <a:t>2023</a:t>
            </a:fld>
            <a:endParaRPr lang="en-US" sz="1000" b="0" baseline="0" dirty="0">
              <a:solidFill>
                <a:schemeClr val="tx1"/>
              </a:solidFill>
              <a:latin typeface="Arial" pitchFamily="34" charset="0"/>
              <a:cs typeface="Arial" pitchFamily="34" charset="0"/>
            </a:endParaRPr>
          </a:p>
        </p:txBody>
      </p:sp>
      <p:sp>
        <p:nvSpPr>
          <p:cNvPr id="9" name="Text Placeholder 8">
            <a:extLst>
              <a:ext uri="{FF2B5EF4-FFF2-40B4-BE49-F238E27FC236}">
                <a16:creationId xmlns:a16="http://schemas.microsoft.com/office/drawing/2014/main" id="{A9E08680-4520-4EA6-B4A7-FD0062F8A6E5}"/>
              </a:ext>
            </a:extLst>
          </p:cNvPr>
          <p:cNvSpPr>
            <a:spLocks noGrp="1"/>
          </p:cNvSpPr>
          <p:nvPr>
            <p:ph type="body" sz="quarter" idx="13" hasCustomPrompt="1"/>
          </p:nvPr>
        </p:nvSpPr>
        <p:spPr>
          <a:xfrm>
            <a:off x="3260437" y="1102835"/>
            <a:ext cx="7798987" cy="228600"/>
          </a:xfrm>
        </p:spPr>
        <p:txBody>
          <a:bodyPr anchor="ctr">
            <a:normAutofit/>
          </a:bodyPr>
          <a:lstStyle>
            <a:lvl1pPr marL="0" indent="0">
              <a:buFont typeface="Arial" panose="020B0604020202020204" pitchFamily="34" charset="0"/>
              <a:buNone/>
              <a:defRPr sz="1200"/>
            </a:lvl1pPr>
            <a:lvl2pPr marL="228594" indent="0">
              <a:buNone/>
              <a:defRPr/>
            </a:lvl2pPr>
            <a:lvl3pPr marL="457189" indent="0">
              <a:buNone/>
              <a:defRPr/>
            </a:lvl3pPr>
            <a:lvl4pPr marL="685783" indent="0">
              <a:buNone/>
              <a:defRPr/>
            </a:lvl4pPr>
            <a:lvl5pPr marL="914378" indent="0">
              <a:buNone/>
              <a:defRPr/>
            </a:lvl5pPr>
          </a:lstStyle>
          <a:p>
            <a:pPr lvl="0"/>
            <a:r>
              <a:rPr lang="en-US" dirty="0"/>
              <a:t>&lt;Generic Name&gt; - &lt;Title from Veeva Vault&gt;</a:t>
            </a:r>
          </a:p>
        </p:txBody>
      </p:sp>
      <p:sp>
        <p:nvSpPr>
          <p:cNvPr id="11" name="Text Placeholder 10">
            <a:extLst>
              <a:ext uri="{FF2B5EF4-FFF2-40B4-BE49-F238E27FC236}">
                <a16:creationId xmlns:a16="http://schemas.microsoft.com/office/drawing/2014/main" id="{CF687FD7-F293-4468-AE23-E28EE4619773}"/>
              </a:ext>
            </a:extLst>
          </p:cNvPr>
          <p:cNvSpPr>
            <a:spLocks noGrp="1"/>
          </p:cNvSpPr>
          <p:nvPr>
            <p:ph type="body" sz="quarter" idx="14" hasCustomPrompt="1"/>
          </p:nvPr>
        </p:nvSpPr>
        <p:spPr>
          <a:xfrm>
            <a:off x="8191826" y="3110879"/>
            <a:ext cx="720437" cy="228600"/>
          </a:xfrm>
        </p:spPr>
        <p:txBody>
          <a:bodyPr anchor="ctr">
            <a:noAutofit/>
          </a:bodyPr>
          <a:lstStyle>
            <a:lvl1pPr marL="0" indent="0">
              <a:buFont typeface="Arial" panose="020B0604020202020204" pitchFamily="34" charse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a:r>
              <a:rPr lang="en-US" dirty="0"/>
              <a:t>MM/YY</a:t>
            </a:r>
          </a:p>
        </p:txBody>
      </p:sp>
      <p:sp>
        <p:nvSpPr>
          <p:cNvPr id="13" name="Text Placeholder 12">
            <a:extLst>
              <a:ext uri="{FF2B5EF4-FFF2-40B4-BE49-F238E27FC236}">
                <a16:creationId xmlns:a16="http://schemas.microsoft.com/office/drawing/2014/main" id="{5BA6C7CD-771E-461C-A133-67764B81E611}"/>
              </a:ext>
            </a:extLst>
          </p:cNvPr>
          <p:cNvSpPr>
            <a:spLocks noGrp="1"/>
          </p:cNvSpPr>
          <p:nvPr>
            <p:ph type="body" sz="quarter" idx="15" hasCustomPrompt="1"/>
          </p:nvPr>
        </p:nvSpPr>
        <p:spPr>
          <a:xfrm>
            <a:off x="3260436" y="1491653"/>
            <a:ext cx="7620000" cy="228600"/>
          </a:xfrm>
        </p:spPr>
        <p:txBody>
          <a:bodyPr anchor="ctr">
            <a:noAutofit/>
          </a:bodyPr>
          <a:lstStyle>
            <a:lvl1pPr marL="0" indent="0">
              <a:buFont typeface="Arial" panose="020B0604020202020204" pitchFamily="34" charse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a:r>
              <a:rPr lang="en-US" dirty="0"/>
              <a:t>Reactive, Internal, or Reactive/Proactive by Local Nominated Signatory Review</a:t>
            </a:r>
          </a:p>
        </p:txBody>
      </p:sp>
      <p:sp>
        <p:nvSpPr>
          <p:cNvPr id="15" name="Text Placeholder 14">
            <a:extLst>
              <a:ext uri="{FF2B5EF4-FFF2-40B4-BE49-F238E27FC236}">
                <a16:creationId xmlns:a16="http://schemas.microsoft.com/office/drawing/2014/main" id="{6E33F1E3-ED30-4982-A86D-2C076E1C3B62}"/>
              </a:ext>
            </a:extLst>
          </p:cNvPr>
          <p:cNvSpPr>
            <a:spLocks noGrp="1"/>
          </p:cNvSpPr>
          <p:nvPr>
            <p:ph type="body" sz="quarter" idx="16" hasCustomPrompt="1"/>
          </p:nvPr>
        </p:nvSpPr>
        <p:spPr>
          <a:xfrm>
            <a:off x="5103652" y="3507944"/>
            <a:ext cx="5850676" cy="228600"/>
          </a:xfrm>
        </p:spPr>
        <p:txBody>
          <a:bodyPr anchor="ctr">
            <a:noAutofit/>
          </a:bodyPr>
          <a:lstStyle>
            <a:lvl1pPr marL="0" indent="0">
              <a:buFont typeface="Arial" panose="020B0604020202020204" pitchFamily="34" charse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a:r>
              <a:rPr lang="en-US" dirty="0"/>
              <a:t>Yes, No, or N/A </a:t>
            </a:r>
          </a:p>
        </p:txBody>
      </p:sp>
      <p:sp>
        <p:nvSpPr>
          <p:cNvPr id="17" name="Text Placeholder 16">
            <a:extLst>
              <a:ext uri="{FF2B5EF4-FFF2-40B4-BE49-F238E27FC236}">
                <a16:creationId xmlns:a16="http://schemas.microsoft.com/office/drawing/2014/main" id="{12286C0F-7CF6-40B2-B8FA-7AF1D25B9922}"/>
              </a:ext>
            </a:extLst>
          </p:cNvPr>
          <p:cNvSpPr>
            <a:spLocks noGrp="1"/>
          </p:cNvSpPr>
          <p:nvPr>
            <p:ph type="body" sz="quarter" idx="17" hasCustomPrompt="1"/>
          </p:nvPr>
        </p:nvSpPr>
        <p:spPr>
          <a:xfrm>
            <a:off x="5103651" y="3119257"/>
            <a:ext cx="1795083" cy="228600"/>
          </a:xfrm>
        </p:spPr>
        <p:txBody>
          <a:bodyPr anchor="ctr">
            <a:noAutofit/>
          </a:bodyPr>
          <a:lstStyle>
            <a:lvl1pPr marL="0" indent="0">
              <a:buFont typeface="Arial" panose="020B0604020202020204" pitchFamily="34" charse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a:r>
              <a:rPr lang="en-US" dirty="0"/>
              <a:t>Yes or No/List 3rd Party</a:t>
            </a:r>
          </a:p>
        </p:txBody>
      </p:sp>
      <p:sp>
        <p:nvSpPr>
          <p:cNvPr id="29" name="Text Placeholder 28">
            <a:extLst>
              <a:ext uri="{FF2B5EF4-FFF2-40B4-BE49-F238E27FC236}">
                <a16:creationId xmlns:a16="http://schemas.microsoft.com/office/drawing/2014/main" id="{110857ED-F4F0-4AED-89F7-6595C2BD781E}"/>
              </a:ext>
            </a:extLst>
          </p:cNvPr>
          <p:cNvSpPr>
            <a:spLocks noGrp="1"/>
          </p:cNvSpPr>
          <p:nvPr>
            <p:ph type="body" sz="quarter" idx="23" hasCustomPrompt="1"/>
          </p:nvPr>
        </p:nvSpPr>
        <p:spPr>
          <a:xfrm>
            <a:off x="10362377" y="3112464"/>
            <a:ext cx="711200" cy="228600"/>
          </a:xfrm>
        </p:spPr>
        <p:txBody>
          <a:bodyPr anchor="ctr">
            <a:noAutofit/>
          </a:bodyPr>
          <a:lstStyle>
            <a:lvl1pPr marL="0" inden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a:r>
              <a:rPr lang="en-US" dirty="0"/>
              <a:t>MM/YY</a:t>
            </a:r>
          </a:p>
        </p:txBody>
      </p:sp>
      <p:sp>
        <p:nvSpPr>
          <p:cNvPr id="35" name="Text Placeholder 34">
            <a:extLst>
              <a:ext uri="{FF2B5EF4-FFF2-40B4-BE49-F238E27FC236}">
                <a16:creationId xmlns:a16="http://schemas.microsoft.com/office/drawing/2014/main" id="{B511FB73-1515-4896-A191-A9E5140DA205}"/>
              </a:ext>
            </a:extLst>
          </p:cNvPr>
          <p:cNvSpPr>
            <a:spLocks noGrp="1"/>
          </p:cNvSpPr>
          <p:nvPr>
            <p:ph type="body" sz="quarter" idx="26" hasCustomPrompt="1"/>
          </p:nvPr>
        </p:nvSpPr>
        <p:spPr>
          <a:xfrm>
            <a:off x="3251201" y="4843764"/>
            <a:ext cx="7808084" cy="258532"/>
          </a:xfrm>
        </p:spPr>
        <p:txBody>
          <a:bodyPr wrap="square" anchor="ctr">
            <a:spAutoFit/>
          </a:bodyPr>
          <a:lstStyle>
            <a:lvl1pPr marL="0" inden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a:r>
              <a:rPr lang="en-US" dirty="0"/>
              <a:t>N/A or Enter Instructions</a:t>
            </a:r>
          </a:p>
        </p:txBody>
      </p:sp>
      <p:sp>
        <p:nvSpPr>
          <p:cNvPr id="37" name="Text Placeholder 36">
            <a:extLst>
              <a:ext uri="{FF2B5EF4-FFF2-40B4-BE49-F238E27FC236}">
                <a16:creationId xmlns:a16="http://schemas.microsoft.com/office/drawing/2014/main" id="{1E7DEFF9-F91F-49E6-94A9-010D12455C1C}"/>
              </a:ext>
            </a:extLst>
          </p:cNvPr>
          <p:cNvSpPr>
            <a:spLocks noGrp="1"/>
          </p:cNvSpPr>
          <p:nvPr>
            <p:ph type="body" sz="quarter" idx="27" hasCustomPrompt="1"/>
          </p:nvPr>
        </p:nvSpPr>
        <p:spPr>
          <a:xfrm>
            <a:off x="2741821" y="2741564"/>
            <a:ext cx="2983416" cy="228600"/>
          </a:xfrm>
        </p:spPr>
        <p:txBody>
          <a:bodyPr anchor="ctr">
            <a:noAutofit/>
          </a:bodyPr>
          <a:lstStyle>
            <a:lvl1pPr marL="0" inden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a:r>
              <a:rPr lang="en-US" dirty="0"/>
              <a:t>New, Renewal, or Renewal with Changes</a:t>
            </a:r>
          </a:p>
        </p:txBody>
      </p:sp>
      <p:sp>
        <p:nvSpPr>
          <p:cNvPr id="39" name="Text Placeholder 38">
            <a:extLst>
              <a:ext uri="{FF2B5EF4-FFF2-40B4-BE49-F238E27FC236}">
                <a16:creationId xmlns:a16="http://schemas.microsoft.com/office/drawing/2014/main" id="{FA339AE6-73E5-47C9-8111-E129355C911C}"/>
              </a:ext>
            </a:extLst>
          </p:cNvPr>
          <p:cNvSpPr>
            <a:spLocks noGrp="1"/>
          </p:cNvSpPr>
          <p:nvPr>
            <p:ph type="body" sz="quarter" idx="28" hasCustomPrompt="1"/>
          </p:nvPr>
        </p:nvSpPr>
        <p:spPr>
          <a:xfrm>
            <a:off x="7258510" y="2748517"/>
            <a:ext cx="3800914" cy="228600"/>
          </a:xfrm>
        </p:spPr>
        <p:txBody>
          <a:bodyPr anchor="ctr">
            <a:noAutofit/>
          </a:bodyPr>
          <a:lstStyle>
            <a:lvl1pPr marL="0" inden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a:r>
              <a:rPr lang="en-US" dirty="0"/>
              <a:t>PromoMats/</a:t>
            </a:r>
            <a:r>
              <a:rPr lang="en-US" dirty="0" err="1"/>
              <a:t>MedComms</a:t>
            </a:r>
            <a:r>
              <a:rPr lang="en-US" dirty="0"/>
              <a:t> #</a:t>
            </a:r>
          </a:p>
        </p:txBody>
      </p:sp>
      <p:sp>
        <p:nvSpPr>
          <p:cNvPr id="41" name="Text Placeholder 40">
            <a:extLst>
              <a:ext uri="{FF2B5EF4-FFF2-40B4-BE49-F238E27FC236}">
                <a16:creationId xmlns:a16="http://schemas.microsoft.com/office/drawing/2014/main" id="{F085F8C8-CE31-4A7B-87E4-06397B5B41DA}"/>
              </a:ext>
            </a:extLst>
          </p:cNvPr>
          <p:cNvSpPr>
            <a:spLocks noGrp="1"/>
          </p:cNvSpPr>
          <p:nvPr>
            <p:ph type="body" sz="quarter" idx="29" hasCustomPrompt="1"/>
          </p:nvPr>
        </p:nvSpPr>
        <p:spPr>
          <a:xfrm>
            <a:off x="2741821" y="2354985"/>
            <a:ext cx="2983416" cy="228600"/>
          </a:xfrm>
        </p:spPr>
        <p:txBody>
          <a:bodyPr anchor="ctr">
            <a:noAutofit/>
          </a:bodyPr>
          <a:lstStyle>
            <a:lvl1pPr marL="0" inden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a:r>
              <a:rPr lang="en-US" dirty="0"/>
              <a:t>AZ MI Lead/Global Medical Affairs Lead</a:t>
            </a:r>
          </a:p>
        </p:txBody>
      </p:sp>
      <p:sp>
        <p:nvSpPr>
          <p:cNvPr id="49" name="Text Placeholder 48">
            <a:extLst>
              <a:ext uri="{FF2B5EF4-FFF2-40B4-BE49-F238E27FC236}">
                <a16:creationId xmlns:a16="http://schemas.microsoft.com/office/drawing/2014/main" id="{FFBD88D7-1F68-4A55-9958-01B92024FDF7}"/>
              </a:ext>
            </a:extLst>
          </p:cNvPr>
          <p:cNvSpPr>
            <a:spLocks noGrp="1"/>
          </p:cNvSpPr>
          <p:nvPr>
            <p:ph type="body" sz="quarter" idx="33" hasCustomPrompt="1"/>
          </p:nvPr>
        </p:nvSpPr>
        <p:spPr>
          <a:xfrm>
            <a:off x="3260438" y="1880471"/>
            <a:ext cx="3555167" cy="228600"/>
          </a:xfrm>
        </p:spPr>
        <p:txBody>
          <a:bodyPr anchor="ctr">
            <a:noAutofit/>
          </a:bodyPr>
          <a:lstStyle>
            <a:lvl1pPr marL="0" inden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a:r>
              <a:rPr lang="en-US" dirty="0"/>
              <a:t>No or Yes, Pending Local Market Approval</a:t>
            </a:r>
          </a:p>
        </p:txBody>
      </p:sp>
      <p:sp>
        <p:nvSpPr>
          <p:cNvPr id="51" name="Text Placeholder 50">
            <a:extLst>
              <a:ext uri="{FF2B5EF4-FFF2-40B4-BE49-F238E27FC236}">
                <a16:creationId xmlns:a16="http://schemas.microsoft.com/office/drawing/2014/main" id="{D75479AB-AB9C-4737-A1D0-F9E28AC4F163}"/>
              </a:ext>
            </a:extLst>
          </p:cNvPr>
          <p:cNvSpPr>
            <a:spLocks noGrp="1"/>
          </p:cNvSpPr>
          <p:nvPr>
            <p:ph type="body" sz="quarter" idx="34" hasCustomPrompt="1"/>
          </p:nvPr>
        </p:nvSpPr>
        <p:spPr>
          <a:xfrm>
            <a:off x="8191826" y="1881207"/>
            <a:ext cx="2867599" cy="228600"/>
          </a:xfrm>
        </p:spPr>
        <p:txBody>
          <a:bodyPr anchor="ctr">
            <a:noAutofit/>
          </a:bodyPr>
          <a:lstStyle>
            <a:lvl1pPr marL="0" inden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a:r>
              <a:rPr lang="en-US" dirty="0"/>
              <a:t>Therapy Area</a:t>
            </a:r>
          </a:p>
        </p:txBody>
      </p:sp>
      <p:sp>
        <p:nvSpPr>
          <p:cNvPr id="52" name="TextBox 51">
            <a:extLst>
              <a:ext uri="{FF2B5EF4-FFF2-40B4-BE49-F238E27FC236}">
                <a16:creationId xmlns:a16="http://schemas.microsoft.com/office/drawing/2014/main" id="{7085AA13-451C-453D-AD0D-E8AF815127C2}"/>
              </a:ext>
            </a:extLst>
          </p:cNvPr>
          <p:cNvSpPr txBox="1"/>
          <p:nvPr userDrawn="1"/>
        </p:nvSpPr>
        <p:spPr>
          <a:xfrm>
            <a:off x="1127566" y="1036716"/>
            <a:ext cx="2044732" cy="365760"/>
          </a:xfrm>
          <a:prstGeom prst="rect">
            <a:avLst/>
          </a:prstGeom>
          <a:solidFill>
            <a:schemeClr val="accent1"/>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dirty="0">
                <a:solidFill>
                  <a:schemeClr val="bg1"/>
                </a:solidFill>
              </a:rPr>
              <a:t>Asset Title</a:t>
            </a:r>
          </a:p>
        </p:txBody>
      </p:sp>
      <p:sp>
        <p:nvSpPr>
          <p:cNvPr id="53" name="TextBox 52">
            <a:extLst>
              <a:ext uri="{FF2B5EF4-FFF2-40B4-BE49-F238E27FC236}">
                <a16:creationId xmlns:a16="http://schemas.microsoft.com/office/drawing/2014/main" id="{A88B6979-D240-45DF-8FFB-111611A15632}"/>
              </a:ext>
            </a:extLst>
          </p:cNvPr>
          <p:cNvSpPr txBox="1"/>
          <p:nvPr userDrawn="1"/>
        </p:nvSpPr>
        <p:spPr>
          <a:xfrm>
            <a:off x="6898734" y="3043065"/>
            <a:ext cx="1209963"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dirty="0">
                <a:solidFill>
                  <a:schemeClr val="bg1"/>
                </a:solidFill>
              </a:rPr>
              <a:t>Approval Date</a:t>
            </a:r>
          </a:p>
        </p:txBody>
      </p:sp>
      <p:sp>
        <p:nvSpPr>
          <p:cNvPr id="54" name="TextBox 53">
            <a:extLst>
              <a:ext uri="{FF2B5EF4-FFF2-40B4-BE49-F238E27FC236}">
                <a16:creationId xmlns:a16="http://schemas.microsoft.com/office/drawing/2014/main" id="{13F32247-E803-4B9D-8739-4086AE7EDFE5}"/>
              </a:ext>
            </a:extLst>
          </p:cNvPr>
          <p:cNvSpPr txBox="1"/>
          <p:nvPr userDrawn="1"/>
        </p:nvSpPr>
        <p:spPr>
          <a:xfrm>
            <a:off x="1127566" y="1423839"/>
            <a:ext cx="2044732" cy="365760"/>
          </a:xfrm>
          <a:prstGeom prst="rect">
            <a:avLst/>
          </a:prstGeom>
          <a:solidFill>
            <a:schemeClr val="accent1"/>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dirty="0">
                <a:solidFill>
                  <a:schemeClr val="bg1"/>
                </a:solidFill>
              </a:rPr>
              <a:t>Intended Use</a:t>
            </a:r>
          </a:p>
        </p:txBody>
      </p:sp>
      <p:sp>
        <p:nvSpPr>
          <p:cNvPr id="55" name="TextBox 54">
            <a:extLst>
              <a:ext uri="{FF2B5EF4-FFF2-40B4-BE49-F238E27FC236}">
                <a16:creationId xmlns:a16="http://schemas.microsoft.com/office/drawing/2014/main" id="{142B0649-53B3-4494-A56E-67DCF07E8290}"/>
              </a:ext>
            </a:extLst>
          </p:cNvPr>
          <p:cNvSpPr txBox="1"/>
          <p:nvPr userDrawn="1"/>
        </p:nvSpPr>
        <p:spPr>
          <a:xfrm>
            <a:off x="1127567" y="3438435"/>
            <a:ext cx="3976084"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dirty="0">
                <a:solidFill>
                  <a:schemeClr val="bg1"/>
                </a:solidFill>
              </a:rPr>
              <a:t>Copyright Permissions Obtained for Graphics</a:t>
            </a:r>
          </a:p>
        </p:txBody>
      </p:sp>
      <p:sp>
        <p:nvSpPr>
          <p:cNvPr id="66" name="TextBox 65">
            <a:extLst>
              <a:ext uri="{FF2B5EF4-FFF2-40B4-BE49-F238E27FC236}">
                <a16:creationId xmlns:a16="http://schemas.microsoft.com/office/drawing/2014/main" id="{67900F06-4765-44ED-A269-1CD58C5E952C}"/>
              </a:ext>
            </a:extLst>
          </p:cNvPr>
          <p:cNvSpPr txBox="1"/>
          <p:nvPr userDrawn="1"/>
        </p:nvSpPr>
        <p:spPr>
          <a:xfrm>
            <a:off x="8920974" y="3041260"/>
            <a:ext cx="1321330" cy="365760"/>
          </a:xfrm>
          <a:prstGeom prst="rect">
            <a:avLst/>
          </a:prstGeom>
          <a:solidFill>
            <a:schemeClr val="tx1">
              <a:lumMod val="65000"/>
              <a:lumOff val="35000"/>
            </a:schemeClr>
          </a:solidFill>
          <a:ln>
            <a:noFill/>
          </a:ln>
        </p:spPr>
        <p:txBody>
          <a:bodyPr wrap="none" rtlCol="0" anchor="ctr">
            <a:noAutofit/>
          </a:bodyPr>
          <a:lstStyle/>
          <a:p>
            <a:pPr marL="0" marR="0" lvl="0" indent="0" algn="r" defTabSz="914378"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en-US" sz="1200" b="1" dirty="0">
                <a:solidFill>
                  <a:schemeClr val="bg1"/>
                </a:solidFill>
              </a:rPr>
              <a:t> Expiration Date</a:t>
            </a:r>
          </a:p>
        </p:txBody>
      </p:sp>
      <p:sp>
        <p:nvSpPr>
          <p:cNvPr id="69" name="TextBox 68">
            <a:extLst>
              <a:ext uri="{FF2B5EF4-FFF2-40B4-BE49-F238E27FC236}">
                <a16:creationId xmlns:a16="http://schemas.microsoft.com/office/drawing/2014/main" id="{621D8C32-5CB3-4252-B385-54C66A9E1EE6}"/>
              </a:ext>
            </a:extLst>
          </p:cNvPr>
          <p:cNvSpPr txBox="1"/>
          <p:nvPr userDrawn="1"/>
        </p:nvSpPr>
        <p:spPr>
          <a:xfrm>
            <a:off x="3" y="123146"/>
            <a:ext cx="12191998" cy="461665"/>
          </a:xfrm>
          <a:prstGeom prst="rect">
            <a:avLst/>
          </a:prstGeom>
          <a:solidFill>
            <a:schemeClr val="accent1"/>
          </a:solidFill>
          <a:ln>
            <a:noFill/>
          </a:ln>
        </p:spPr>
        <p:txBody>
          <a:bodyPr wrap="square" rtlCol="0" anchor="ctr">
            <a:spAutoFit/>
          </a:bodyPr>
          <a:lstStyle/>
          <a:p>
            <a:pPr marL="0" indent="0" algn="ctr">
              <a:buClr>
                <a:schemeClr val="accent1"/>
              </a:buClr>
              <a:buFont typeface="Arial" panose="020B0604020202020204" pitchFamily="34" charset="0"/>
              <a:buNone/>
            </a:pPr>
            <a:r>
              <a:rPr lang="en-US" sz="2400" b="1" dirty="0">
                <a:solidFill>
                  <a:schemeClr val="bg1"/>
                </a:solidFill>
              </a:rPr>
              <a:t>Global Medical Asset Cover Sheet</a:t>
            </a:r>
          </a:p>
        </p:txBody>
      </p:sp>
      <p:sp>
        <p:nvSpPr>
          <p:cNvPr id="70" name="TextBox 69">
            <a:extLst>
              <a:ext uri="{FF2B5EF4-FFF2-40B4-BE49-F238E27FC236}">
                <a16:creationId xmlns:a16="http://schemas.microsoft.com/office/drawing/2014/main" id="{6811B402-BB33-4FBF-A25A-6A132332CC41}"/>
              </a:ext>
            </a:extLst>
          </p:cNvPr>
          <p:cNvSpPr txBox="1"/>
          <p:nvPr userDrawn="1"/>
        </p:nvSpPr>
        <p:spPr>
          <a:xfrm>
            <a:off x="1127567" y="4808725"/>
            <a:ext cx="2044731" cy="461665"/>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dirty="0">
                <a:solidFill>
                  <a:schemeClr val="bg1"/>
                </a:solidFill>
              </a:rPr>
              <a:t>Special Instructions</a:t>
            </a:r>
            <a:br>
              <a:rPr lang="en-US" sz="1200" b="1" dirty="0">
                <a:solidFill>
                  <a:schemeClr val="bg1"/>
                </a:solidFill>
              </a:rPr>
            </a:br>
            <a:r>
              <a:rPr lang="en-US" sz="1200" b="1" dirty="0">
                <a:solidFill>
                  <a:schemeClr val="bg1"/>
                </a:solidFill>
              </a:rPr>
              <a:t>and/or Disclaimers</a:t>
            </a:r>
          </a:p>
        </p:txBody>
      </p:sp>
      <p:sp>
        <p:nvSpPr>
          <p:cNvPr id="71" name="TextBox 70">
            <a:extLst>
              <a:ext uri="{FF2B5EF4-FFF2-40B4-BE49-F238E27FC236}">
                <a16:creationId xmlns:a16="http://schemas.microsoft.com/office/drawing/2014/main" id="{A1A1B573-DC23-488B-93DB-AD4DD88A4651}"/>
              </a:ext>
            </a:extLst>
          </p:cNvPr>
          <p:cNvSpPr txBox="1"/>
          <p:nvPr userDrawn="1"/>
        </p:nvSpPr>
        <p:spPr>
          <a:xfrm>
            <a:off x="6898734" y="1810962"/>
            <a:ext cx="1209963" cy="365760"/>
          </a:xfrm>
          <a:prstGeom prst="rect">
            <a:avLst/>
          </a:prstGeom>
          <a:solidFill>
            <a:schemeClr val="accent1"/>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dirty="0">
                <a:solidFill>
                  <a:schemeClr val="bg1"/>
                </a:solidFill>
              </a:rPr>
              <a:t>Therapy Area</a:t>
            </a:r>
          </a:p>
        </p:txBody>
      </p:sp>
      <p:sp>
        <p:nvSpPr>
          <p:cNvPr id="72" name="TextBox 71">
            <a:extLst>
              <a:ext uri="{FF2B5EF4-FFF2-40B4-BE49-F238E27FC236}">
                <a16:creationId xmlns:a16="http://schemas.microsoft.com/office/drawing/2014/main" id="{A294A206-A31C-476D-ACCB-00ABD9DE8B78}"/>
              </a:ext>
            </a:extLst>
          </p:cNvPr>
          <p:cNvSpPr txBox="1"/>
          <p:nvPr userDrawn="1"/>
        </p:nvSpPr>
        <p:spPr>
          <a:xfrm>
            <a:off x="1127566" y="2677093"/>
            <a:ext cx="1633640"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dirty="0">
                <a:solidFill>
                  <a:schemeClr val="bg1"/>
                </a:solidFill>
              </a:rPr>
              <a:t>New Asset/Renewal</a:t>
            </a:r>
          </a:p>
        </p:txBody>
      </p:sp>
      <p:sp>
        <p:nvSpPr>
          <p:cNvPr id="73" name="TextBox 72">
            <a:extLst>
              <a:ext uri="{FF2B5EF4-FFF2-40B4-BE49-F238E27FC236}">
                <a16:creationId xmlns:a16="http://schemas.microsoft.com/office/drawing/2014/main" id="{759580AA-6B1E-4C65-9D3B-8A40CBD8E220}"/>
              </a:ext>
            </a:extLst>
          </p:cNvPr>
          <p:cNvSpPr txBox="1"/>
          <p:nvPr userDrawn="1"/>
        </p:nvSpPr>
        <p:spPr>
          <a:xfrm>
            <a:off x="5835586" y="2677093"/>
            <a:ext cx="1431636"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dirty="0">
                <a:solidFill>
                  <a:schemeClr val="bg1"/>
                </a:solidFill>
              </a:rPr>
              <a:t>Based On Asset</a:t>
            </a:r>
          </a:p>
        </p:txBody>
      </p:sp>
      <p:sp>
        <p:nvSpPr>
          <p:cNvPr id="74" name="TextBox 73">
            <a:extLst>
              <a:ext uri="{FF2B5EF4-FFF2-40B4-BE49-F238E27FC236}">
                <a16:creationId xmlns:a16="http://schemas.microsoft.com/office/drawing/2014/main" id="{00EE63BC-019F-46D2-85ED-E2FABA47A87D}"/>
              </a:ext>
            </a:extLst>
          </p:cNvPr>
          <p:cNvSpPr txBox="1"/>
          <p:nvPr userDrawn="1"/>
        </p:nvSpPr>
        <p:spPr>
          <a:xfrm>
            <a:off x="1127566" y="2282977"/>
            <a:ext cx="1633640"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dirty="0">
                <a:solidFill>
                  <a:schemeClr val="bg1"/>
                </a:solidFill>
              </a:rPr>
              <a:t>Asset Owner(s)</a:t>
            </a:r>
          </a:p>
        </p:txBody>
      </p:sp>
      <p:sp>
        <p:nvSpPr>
          <p:cNvPr id="78" name="TextBox 77">
            <a:extLst>
              <a:ext uri="{FF2B5EF4-FFF2-40B4-BE49-F238E27FC236}">
                <a16:creationId xmlns:a16="http://schemas.microsoft.com/office/drawing/2014/main" id="{D3001B95-73C8-4B7F-998E-B0AE7A43DE82}"/>
              </a:ext>
            </a:extLst>
          </p:cNvPr>
          <p:cNvSpPr txBox="1"/>
          <p:nvPr userDrawn="1"/>
        </p:nvSpPr>
        <p:spPr>
          <a:xfrm>
            <a:off x="1127566" y="1810962"/>
            <a:ext cx="2044732" cy="365760"/>
          </a:xfrm>
          <a:prstGeom prst="rect">
            <a:avLst/>
          </a:prstGeom>
          <a:solidFill>
            <a:schemeClr val="accent1"/>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dirty="0">
                <a:solidFill>
                  <a:schemeClr val="bg1"/>
                </a:solidFill>
              </a:rPr>
              <a:t>Approved for Distribution</a:t>
            </a:r>
          </a:p>
        </p:txBody>
      </p:sp>
      <p:sp>
        <p:nvSpPr>
          <p:cNvPr id="48" name="TextBox 47">
            <a:extLst>
              <a:ext uri="{FF2B5EF4-FFF2-40B4-BE49-F238E27FC236}">
                <a16:creationId xmlns:a16="http://schemas.microsoft.com/office/drawing/2014/main" id="{F0DE83F5-9900-4234-8A5B-4EFEB16F6D34}"/>
              </a:ext>
            </a:extLst>
          </p:cNvPr>
          <p:cNvSpPr txBox="1"/>
          <p:nvPr userDrawn="1"/>
        </p:nvSpPr>
        <p:spPr>
          <a:xfrm>
            <a:off x="5835586" y="2282977"/>
            <a:ext cx="1431636"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dirty="0">
                <a:solidFill>
                  <a:schemeClr val="bg1"/>
                </a:solidFill>
              </a:rPr>
              <a:t>Document #</a:t>
            </a:r>
          </a:p>
        </p:txBody>
      </p:sp>
      <p:sp>
        <p:nvSpPr>
          <p:cNvPr id="7" name="Text Placeholder 6">
            <a:extLst>
              <a:ext uri="{FF2B5EF4-FFF2-40B4-BE49-F238E27FC236}">
                <a16:creationId xmlns:a16="http://schemas.microsoft.com/office/drawing/2014/main" id="{C399C3AD-3A79-4CAB-8984-EE85DD84E0A2}"/>
              </a:ext>
            </a:extLst>
          </p:cNvPr>
          <p:cNvSpPr>
            <a:spLocks noGrp="1"/>
          </p:cNvSpPr>
          <p:nvPr>
            <p:ph type="body" sz="quarter" idx="35" hasCustomPrompt="1"/>
          </p:nvPr>
        </p:nvSpPr>
        <p:spPr>
          <a:xfrm>
            <a:off x="7267222" y="2354585"/>
            <a:ext cx="3792203" cy="238125"/>
          </a:xfrm>
        </p:spPr>
        <p:txBody>
          <a:bodyPr>
            <a:noAutofit/>
          </a:bodyPr>
          <a:lstStyle>
            <a:lvl1pPr marL="0" indent="0">
              <a:buNone/>
              <a:defRPr sz="1200"/>
            </a:lvl1pPr>
            <a:lvl2pPr marL="228594" indent="0">
              <a:buNone/>
              <a:defRPr/>
            </a:lvl2pPr>
            <a:lvl3pPr marL="457189" indent="0">
              <a:buNone/>
              <a:defRPr/>
            </a:lvl3pPr>
            <a:lvl4pPr marL="685783" indent="0">
              <a:buNone/>
              <a:defRPr/>
            </a:lvl4pPr>
            <a:lvl5pPr marL="914378" indent="0">
              <a:buNone/>
              <a:defRPr/>
            </a:lvl5pPr>
          </a:lstStyle>
          <a:p>
            <a:pPr lvl="0"/>
            <a:r>
              <a:rPr lang="en-US" dirty="0"/>
              <a:t>ML-XXXX-ALL-XXXX</a:t>
            </a:r>
          </a:p>
        </p:txBody>
      </p:sp>
      <p:sp>
        <p:nvSpPr>
          <p:cNvPr id="57" name="TextBox 56">
            <a:extLst>
              <a:ext uri="{FF2B5EF4-FFF2-40B4-BE49-F238E27FC236}">
                <a16:creationId xmlns:a16="http://schemas.microsoft.com/office/drawing/2014/main" id="{71FDDFED-CF51-4158-8A3B-DD9E176FC125}"/>
              </a:ext>
            </a:extLst>
          </p:cNvPr>
          <p:cNvSpPr txBox="1"/>
          <p:nvPr userDrawn="1"/>
        </p:nvSpPr>
        <p:spPr>
          <a:xfrm>
            <a:off x="1127569" y="3060427"/>
            <a:ext cx="3976084" cy="365760"/>
          </a:xfrm>
          <a:prstGeom prst="rect">
            <a:avLst/>
          </a:prstGeom>
          <a:solidFill>
            <a:schemeClr val="tx1">
              <a:lumMod val="65000"/>
              <a:lumOff val="35000"/>
            </a:schemeClr>
          </a:solidFill>
          <a:ln>
            <a:noFill/>
          </a:ln>
        </p:spPr>
        <p:txBody>
          <a:bodyPr wrap="none" rtlCol="0" anchor="ctr">
            <a:noAutofit/>
          </a:bodyPr>
          <a:lstStyle/>
          <a:p>
            <a:pPr marL="0" indent="0" algn="r">
              <a:buClr>
                <a:schemeClr val="accent1"/>
              </a:buClr>
              <a:buFont typeface="Arial" panose="020B0604020202020204" pitchFamily="34" charset="0"/>
              <a:buNone/>
            </a:pPr>
            <a:r>
              <a:rPr lang="en-US" sz="1200" b="1" dirty="0">
                <a:solidFill>
                  <a:schemeClr val="bg1"/>
                </a:solidFill>
              </a:rPr>
              <a:t>Technical Review/Fact Check by Medical Information</a:t>
            </a:r>
          </a:p>
        </p:txBody>
      </p:sp>
      <p:sp>
        <p:nvSpPr>
          <p:cNvPr id="62" name="TextBox 61">
            <a:extLst>
              <a:ext uri="{FF2B5EF4-FFF2-40B4-BE49-F238E27FC236}">
                <a16:creationId xmlns:a16="http://schemas.microsoft.com/office/drawing/2014/main" id="{65509915-7361-4754-AA26-9EB5B15ABE0F}"/>
              </a:ext>
            </a:extLst>
          </p:cNvPr>
          <p:cNvSpPr txBox="1"/>
          <p:nvPr userDrawn="1"/>
        </p:nvSpPr>
        <p:spPr>
          <a:xfrm>
            <a:off x="1127568" y="4112135"/>
            <a:ext cx="9946009" cy="717459"/>
          </a:xfrm>
          <a:prstGeom prst="rect">
            <a:avLst/>
          </a:prstGeom>
          <a:solidFill>
            <a:schemeClr val="accent1"/>
          </a:solidFill>
          <a:ln>
            <a:noFill/>
          </a:ln>
        </p:spPr>
        <p:txBody>
          <a:bodyPr wrap="none" rtlCol="0" anchor="ctr">
            <a:noAutofit/>
          </a:bodyPr>
          <a:lstStyle/>
          <a:p>
            <a:pPr marL="0" indent="0" algn="ctr">
              <a:buClr>
                <a:schemeClr val="accent1"/>
              </a:buClr>
              <a:buFont typeface="Arial" panose="020B0604020202020204" pitchFamily="34" charset="0"/>
              <a:buNone/>
            </a:pPr>
            <a:r>
              <a:rPr lang="en-US" sz="1200" b="1" dirty="0">
                <a:solidFill>
                  <a:schemeClr val="bg1"/>
                </a:solidFill>
              </a:rPr>
              <a:t>This material is globally approved for use by AstraZeneca Medical Personnel only. The local market is responsible for interpreting, </a:t>
            </a:r>
            <a:br>
              <a:rPr lang="en-US" sz="1200" b="1" dirty="0">
                <a:solidFill>
                  <a:schemeClr val="bg1"/>
                </a:solidFill>
              </a:rPr>
            </a:br>
            <a:r>
              <a:rPr lang="en-US" sz="1200" b="1" dirty="0">
                <a:solidFill>
                  <a:schemeClr val="bg1"/>
                </a:solidFill>
              </a:rPr>
              <a:t>reviewing, and approving the content according to their local label, rules, and regulations.</a:t>
            </a:r>
          </a:p>
          <a:p>
            <a:pPr marL="0" indent="0" algn="ctr">
              <a:buClr>
                <a:schemeClr val="accent1"/>
              </a:buClr>
              <a:buFont typeface="Arial" panose="020B0604020202020204" pitchFamily="34" charset="0"/>
              <a:buNone/>
            </a:pPr>
            <a:r>
              <a:rPr lang="en-US" sz="1200" b="1" dirty="0">
                <a:solidFill>
                  <a:schemeClr val="bg1"/>
                </a:solidFill>
              </a:rPr>
              <a:t>AstraZeneca does not, under any circumstances, promote its products for off-label or unapproved uses. </a:t>
            </a:r>
          </a:p>
        </p:txBody>
      </p:sp>
    </p:spTree>
    <p:extLst>
      <p:ext uri="{BB962C8B-B14F-4D97-AF65-F5344CB8AC3E}">
        <p14:creationId xmlns:p14="http://schemas.microsoft.com/office/powerpoint/2010/main" val="269340151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959C31-8071-4657-BA84-2004C5131029}" type="datetime1">
              <a:rPr lang="en-US" smtClean="0"/>
              <a:t>4/1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C7432E5-F8E0-41AE-9A6B-AD730338B005}" type="slidenum">
              <a:rPr lang="en-US" smtClean="0"/>
              <a:pPr/>
              <a:t>‹#›</a:t>
            </a:fld>
            <a:endParaRPr lang="en-US" dirty="0"/>
          </a:p>
        </p:txBody>
      </p:sp>
      <p:sp>
        <p:nvSpPr>
          <p:cNvPr id="6" name="Text Placeholder 5"/>
          <p:cNvSpPr>
            <a:spLocks noGrp="1"/>
          </p:cNvSpPr>
          <p:nvPr>
            <p:ph type="body" sz="quarter" idx="13" hasCustomPrompt="1"/>
          </p:nvPr>
        </p:nvSpPr>
        <p:spPr>
          <a:xfrm>
            <a:off x="486229" y="5852160"/>
            <a:ext cx="10058398" cy="1005840"/>
          </a:xfrm>
        </p:spPr>
        <p:txBody>
          <a:bodyPr anchor="b">
            <a:noAutofit/>
          </a:bodyPr>
          <a:lstStyle>
            <a:lvl1pPr marL="0" indent="0">
              <a:spcBef>
                <a:spcPts val="300"/>
              </a:spcBef>
              <a:buNone/>
              <a:defRPr sz="1000"/>
            </a:lvl1pPr>
            <a:lvl2pPr marL="228594" indent="0">
              <a:spcBef>
                <a:spcPts val="300"/>
              </a:spcBef>
              <a:buNone/>
              <a:defRPr sz="1000"/>
            </a:lvl2pPr>
            <a:lvl3pPr marL="457189" indent="0">
              <a:spcBef>
                <a:spcPts val="300"/>
              </a:spcBef>
              <a:buNone/>
              <a:defRPr sz="1000"/>
            </a:lvl3pPr>
            <a:lvl4pPr marL="685783" indent="0">
              <a:spcBef>
                <a:spcPts val="300"/>
              </a:spcBef>
              <a:buNone/>
              <a:defRPr sz="1000"/>
            </a:lvl4pPr>
            <a:lvl5pPr marL="914378" indent="0">
              <a:spcBef>
                <a:spcPts val="300"/>
              </a:spcBef>
              <a:buNone/>
              <a:defRPr sz="1000"/>
            </a:lvl5pPr>
          </a:lstStyle>
          <a:p>
            <a:pPr lvl="0"/>
            <a:r>
              <a:rPr lang="en-US" dirty="0"/>
              <a:t>Reference(s)</a:t>
            </a:r>
          </a:p>
        </p:txBody>
      </p:sp>
      <p:sp>
        <p:nvSpPr>
          <p:cNvPr id="7" name="Rectangle 6"/>
          <p:cNvSpPr/>
          <p:nvPr userDrawn="1"/>
        </p:nvSpPr>
        <p:spPr>
          <a:xfrm>
            <a:off x="193500" y="1028701"/>
            <a:ext cx="11998500"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401343504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238CA-988B-7B20-1E5D-EFCAA5CB65E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ru-RU"/>
          </a:p>
        </p:txBody>
      </p:sp>
      <p:sp>
        <p:nvSpPr>
          <p:cNvPr id="3" name="Subtitle 2">
            <a:extLst>
              <a:ext uri="{FF2B5EF4-FFF2-40B4-BE49-F238E27FC236}">
                <a16:creationId xmlns:a16="http://schemas.microsoft.com/office/drawing/2014/main" id="{8EF62BE3-0046-9CA6-D237-358311A001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ru-RU"/>
          </a:p>
        </p:txBody>
      </p:sp>
      <p:sp>
        <p:nvSpPr>
          <p:cNvPr id="4" name="Date Placeholder 3">
            <a:extLst>
              <a:ext uri="{FF2B5EF4-FFF2-40B4-BE49-F238E27FC236}">
                <a16:creationId xmlns:a16="http://schemas.microsoft.com/office/drawing/2014/main" id="{4E7463ED-5F7A-B156-2232-C11D7DAAF44C}"/>
              </a:ext>
            </a:extLst>
          </p:cNvPr>
          <p:cNvSpPr>
            <a:spLocks noGrp="1"/>
          </p:cNvSpPr>
          <p:nvPr>
            <p:ph type="dt" sz="half" idx="10"/>
          </p:nvPr>
        </p:nvSpPr>
        <p:spPr/>
        <p:txBody>
          <a:bodyPr/>
          <a:lstStyle/>
          <a:p>
            <a:fld id="{A850AD25-1AD7-437E-8CB4-A45ADF59C35F}" type="datetimeFigureOut">
              <a:rPr lang="ru-RU" smtClean="0"/>
              <a:t>17.04.2023</a:t>
            </a:fld>
            <a:endParaRPr lang="ru-RU"/>
          </a:p>
        </p:txBody>
      </p:sp>
      <p:sp>
        <p:nvSpPr>
          <p:cNvPr id="5" name="Footer Placeholder 4">
            <a:extLst>
              <a:ext uri="{FF2B5EF4-FFF2-40B4-BE49-F238E27FC236}">
                <a16:creationId xmlns:a16="http://schemas.microsoft.com/office/drawing/2014/main" id="{AC2014B0-7984-B339-BC6B-C2F4D0BBD6D0}"/>
              </a:ext>
            </a:extLst>
          </p:cNvPr>
          <p:cNvSpPr>
            <a:spLocks noGrp="1"/>
          </p:cNvSpPr>
          <p:nvPr>
            <p:ph type="ftr" sz="quarter" idx="11"/>
          </p:nvPr>
        </p:nvSpPr>
        <p:spPr/>
        <p:txBody>
          <a:bodyPr/>
          <a:lstStyle/>
          <a:p>
            <a:endParaRPr lang="ru-RU"/>
          </a:p>
        </p:txBody>
      </p:sp>
      <p:sp>
        <p:nvSpPr>
          <p:cNvPr id="6" name="Slide Number Placeholder 5">
            <a:extLst>
              <a:ext uri="{FF2B5EF4-FFF2-40B4-BE49-F238E27FC236}">
                <a16:creationId xmlns:a16="http://schemas.microsoft.com/office/drawing/2014/main" id="{FCEF3305-B427-C97E-569A-F883E772A300}"/>
              </a:ext>
            </a:extLst>
          </p:cNvPr>
          <p:cNvSpPr>
            <a:spLocks noGrp="1"/>
          </p:cNvSpPr>
          <p:nvPr>
            <p:ph type="sldNum" sz="quarter" idx="12"/>
          </p:nvPr>
        </p:nvSpPr>
        <p:spPr/>
        <p:txBody>
          <a:bodyPr/>
          <a:lstStyle/>
          <a:p>
            <a:fld id="{82C3695F-575D-43A7-B058-9C70EC286A19}" type="slidenum">
              <a:rPr lang="ru-RU" smtClean="0"/>
              <a:t>‹#›</a:t>
            </a:fld>
            <a:endParaRPr lang="ru-RU"/>
          </a:p>
        </p:txBody>
      </p:sp>
    </p:spTree>
    <p:extLst>
      <p:ext uri="{BB962C8B-B14F-4D97-AF65-F5344CB8AC3E}">
        <p14:creationId xmlns:p14="http://schemas.microsoft.com/office/powerpoint/2010/main" val="14891835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C0BD8E-6548-AAF7-2F64-D93C0E60ABB1}"/>
              </a:ext>
            </a:extLst>
          </p:cNvPr>
          <p:cNvSpPr>
            <a:spLocks noGrp="1"/>
          </p:cNvSpPr>
          <p:nvPr>
            <p:ph type="title"/>
          </p:nvPr>
        </p:nvSpPr>
        <p:spPr/>
        <p:txBody>
          <a:bodyPr/>
          <a:lstStyle/>
          <a:p>
            <a:r>
              <a:rPr lang="en-US"/>
              <a:t>Click to edit Master title style</a:t>
            </a:r>
            <a:endParaRPr lang="ru-RU"/>
          </a:p>
        </p:txBody>
      </p:sp>
      <p:sp>
        <p:nvSpPr>
          <p:cNvPr id="3" name="Content Placeholder 2">
            <a:extLst>
              <a:ext uri="{FF2B5EF4-FFF2-40B4-BE49-F238E27FC236}">
                <a16:creationId xmlns:a16="http://schemas.microsoft.com/office/drawing/2014/main" id="{E0E13A55-42AA-9E9C-239A-8045BAC1BB3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CA736F4A-030F-C521-2E6F-074B61CCF396}"/>
              </a:ext>
            </a:extLst>
          </p:cNvPr>
          <p:cNvSpPr>
            <a:spLocks noGrp="1"/>
          </p:cNvSpPr>
          <p:nvPr>
            <p:ph type="dt" sz="half" idx="10"/>
          </p:nvPr>
        </p:nvSpPr>
        <p:spPr/>
        <p:txBody>
          <a:bodyPr/>
          <a:lstStyle/>
          <a:p>
            <a:fld id="{A850AD25-1AD7-437E-8CB4-A45ADF59C35F}" type="datetimeFigureOut">
              <a:rPr lang="ru-RU" smtClean="0"/>
              <a:t>17.04.2023</a:t>
            </a:fld>
            <a:endParaRPr lang="ru-RU"/>
          </a:p>
        </p:txBody>
      </p:sp>
      <p:sp>
        <p:nvSpPr>
          <p:cNvPr id="5" name="Footer Placeholder 4">
            <a:extLst>
              <a:ext uri="{FF2B5EF4-FFF2-40B4-BE49-F238E27FC236}">
                <a16:creationId xmlns:a16="http://schemas.microsoft.com/office/drawing/2014/main" id="{709DD5A9-E047-CE5A-4BB7-9246BE659812}"/>
              </a:ext>
            </a:extLst>
          </p:cNvPr>
          <p:cNvSpPr>
            <a:spLocks noGrp="1"/>
          </p:cNvSpPr>
          <p:nvPr>
            <p:ph type="ftr" sz="quarter" idx="11"/>
          </p:nvPr>
        </p:nvSpPr>
        <p:spPr/>
        <p:txBody>
          <a:bodyPr/>
          <a:lstStyle/>
          <a:p>
            <a:endParaRPr lang="ru-RU"/>
          </a:p>
        </p:txBody>
      </p:sp>
      <p:sp>
        <p:nvSpPr>
          <p:cNvPr id="6" name="Slide Number Placeholder 5">
            <a:extLst>
              <a:ext uri="{FF2B5EF4-FFF2-40B4-BE49-F238E27FC236}">
                <a16:creationId xmlns:a16="http://schemas.microsoft.com/office/drawing/2014/main" id="{299D79EA-5DE4-5D30-FCD6-D824993E7EC5}"/>
              </a:ext>
            </a:extLst>
          </p:cNvPr>
          <p:cNvSpPr>
            <a:spLocks noGrp="1"/>
          </p:cNvSpPr>
          <p:nvPr>
            <p:ph type="sldNum" sz="quarter" idx="12"/>
          </p:nvPr>
        </p:nvSpPr>
        <p:spPr/>
        <p:txBody>
          <a:bodyPr/>
          <a:lstStyle/>
          <a:p>
            <a:fld id="{82C3695F-575D-43A7-B058-9C70EC286A19}" type="slidenum">
              <a:rPr lang="ru-RU" smtClean="0"/>
              <a:t>‹#›</a:t>
            </a:fld>
            <a:endParaRPr lang="ru-RU"/>
          </a:p>
        </p:txBody>
      </p:sp>
    </p:spTree>
    <p:extLst>
      <p:ext uri="{BB962C8B-B14F-4D97-AF65-F5344CB8AC3E}">
        <p14:creationId xmlns:p14="http://schemas.microsoft.com/office/powerpoint/2010/main" val="369142824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93561E-4106-DDE5-D4C4-6B9FE5BE402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ru-RU"/>
          </a:p>
        </p:txBody>
      </p:sp>
      <p:sp>
        <p:nvSpPr>
          <p:cNvPr id="3" name="Text Placeholder 2">
            <a:extLst>
              <a:ext uri="{FF2B5EF4-FFF2-40B4-BE49-F238E27FC236}">
                <a16:creationId xmlns:a16="http://schemas.microsoft.com/office/drawing/2014/main" id="{8FE13F96-57AB-556F-AB3E-1720A88CE0B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9F3F06A-4C5A-AFEB-8C48-C8E43585FAFF}"/>
              </a:ext>
            </a:extLst>
          </p:cNvPr>
          <p:cNvSpPr>
            <a:spLocks noGrp="1"/>
          </p:cNvSpPr>
          <p:nvPr>
            <p:ph type="dt" sz="half" idx="10"/>
          </p:nvPr>
        </p:nvSpPr>
        <p:spPr/>
        <p:txBody>
          <a:bodyPr/>
          <a:lstStyle/>
          <a:p>
            <a:fld id="{A850AD25-1AD7-437E-8CB4-A45ADF59C35F}" type="datetimeFigureOut">
              <a:rPr lang="ru-RU" smtClean="0"/>
              <a:t>17.04.2023</a:t>
            </a:fld>
            <a:endParaRPr lang="ru-RU"/>
          </a:p>
        </p:txBody>
      </p:sp>
      <p:sp>
        <p:nvSpPr>
          <p:cNvPr id="5" name="Footer Placeholder 4">
            <a:extLst>
              <a:ext uri="{FF2B5EF4-FFF2-40B4-BE49-F238E27FC236}">
                <a16:creationId xmlns:a16="http://schemas.microsoft.com/office/drawing/2014/main" id="{AB9B7A7F-725F-972A-6CEE-2F20A9EA2649}"/>
              </a:ext>
            </a:extLst>
          </p:cNvPr>
          <p:cNvSpPr>
            <a:spLocks noGrp="1"/>
          </p:cNvSpPr>
          <p:nvPr>
            <p:ph type="ftr" sz="quarter" idx="11"/>
          </p:nvPr>
        </p:nvSpPr>
        <p:spPr/>
        <p:txBody>
          <a:bodyPr/>
          <a:lstStyle/>
          <a:p>
            <a:endParaRPr lang="ru-RU"/>
          </a:p>
        </p:txBody>
      </p:sp>
      <p:sp>
        <p:nvSpPr>
          <p:cNvPr id="6" name="Slide Number Placeholder 5">
            <a:extLst>
              <a:ext uri="{FF2B5EF4-FFF2-40B4-BE49-F238E27FC236}">
                <a16:creationId xmlns:a16="http://schemas.microsoft.com/office/drawing/2014/main" id="{B058E99E-6B57-01A9-B1E9-4863886BFDC5}"/>
              </a:ext>
            </a:extLst>
          </p:cNvPr>
          <p:cNvSpPr>
            <a:spLocks noGrp="1"/>
          </p:cNvSpPr>
          <p:nvPr>
            <p:ph type="sldNum" sz="quarter" idx="12"/>
          </p:nvPr>
        </p:nvSpPr>
        <p:spPr/>
        <p:txBody>
          <a:bodyPr/>
          <a:lstStyle/>
          <a:p>
            <a:fld id="{82C3695F-575D-43A7-B058-9C70EC286A19}" type="slidenum">
              <a:rPr lang="ru-RU" smtClean="0"/>
              <a:t>‹#›</a:t>
            </a:fld>
            <a:endParaRPr lang="ru-RU"/>
          </a:p>
        </p:txBody>
      </p:sp>
    </p:spTree>
    <p:extLst>
      <p:ext uri="{BB962C8B-B14F-4D97-AF65-F5344CB8AC3E}">
        <p14:creationId xmlns:p14="http://schemas.microsoft.com/office/powerpoint/2010/main" val="17280746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871BC-2A31-8979-3FF4-86DD9A74CA73}"/>
              </a:ext>
            </a:extLst>
          </p:cNvPr>
          <p:cNvSpPr>
            <a:spLocks noGrp="1"/>
          </p:cNvSpPr>
          <p:nvPr>
            <p:ph type="title"/>
          </p:nvPr>
        </p:nvSpPr>
        <p:spPr/>
        <p:txBody>
          <a:bodyPr/>
          <a:lstStyle/>
          <a:p>
            <a:r>
              <a:rPr lang="en-US"/>
              <a:t>Click to edit Master title style</a:t>
            </a:r>
            <a:endParaRPr lang="ru-RU"/>
          </a:p>
        </p:txBody>
      </p:sp>
      <p:sp>
        <p:nvSpPr>
          <p:cNvPr id="3" name="Content Placeholder 2">
            <a:extLst>
              <a:ext uri="{FF2B5EF4-FFF2-40B4-BE49-F238E27FC236}">
                <a16:creationId xmlns:a16="http://schemas.microsoft.com/office/drawing/2014/main" id="{D0E2B5B0-35D4-7705-D09D-933C24B2F99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Content Placeholder 3">
            <a:extLst>
              <a:ext uri="{FF2B5EF4-FFF2-40B4-BE49-F238E27FC236}">
                <a16:creationId xmlns:a16="http://schemas.microsoft.com/office/drawing/2014/main" id="{1E989729-6B93-437C-2A71-42507B65A6B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Date Placeholder 4">
            <a:extLst>
              <a:ext uri="{FF2B5EF4-FFF2-40B4-BE49-F238E27FC236}">
                <a16:creationId xmlns:a16="http://schemas.microsoft.com/office/drawing/2014/main" id="{D47045BA-6E4C-6CC3-567E-428F88EEB876}"/>
              </a:ext>
            </a:extLst>
          </p:cNvPr>
          <p:cNvSpPr>
            <a:spLocks noGrp="1"/>
          </p:cNvSpPr>
          <p:nvPr>
            <p:ph type="dt" sz="half" idx="10"/>
          </p:nvPr>
        </p:nvSpPr>
        <p:spPr/>
        <p:txBody>
          <a:bodyPr/>
          <a:lstStyle/>
          <a:p>
            <a:fld id="{A850AD25-1AD7-437E-8CB4-A45ADF59C35F}" type="datetimeFigureOut">
              <a:rPr lang="ru-RU" smtClean="0"/>
              <a:t>17.04.2023</a:t>
            </a:fld>
            <a:endParaRPr lang="ru-RU"/>
          </a:p>
        </p:txBody>
      </p:sp>
      <p:sp>
        <p:nvSpPr>
          <p:cNvPr id="6" name="Footer Placeholder 5">
            <a:extLst>
              <a:ext uri="{FF2B5EF4-FFF2-40B4-BE49-F238E27FC236}">
                <a16:creationId xmlns:a16="http://schemas.microsoft.com/office/drawing/2014/main" id="{2BDFDAF1-3BC8-6489-F47A-6C17ED00E86F}"/>
              </a:ext>
            </a:extLst>
          </p:cNvPr>
          <p:cNvSpPr>
            <a:spLocks noGrp="1"/>
          </p:cNvSpPr>
          <p:nvPr>
            <p:ph type="ftr" sz="quarter" idx="11"/>
          </p:nvPr>
        </p:nvSpPr>
        <p:spPr/>
        <p:txBody>
          <a:bodyPr/>
          <a:lstStyle/>
          <a:p>
            <a:endParaRPr lang="ru-RU"/>
          </a:p>
        </p:txBody>
      </p:sp>
      <p:sp>
        <p:nvSpPr>
          <p:cNvPr id="7" name="Slide Number Placeholder 6">
            <a:extLst>
              <a:ext uri="{FF2B5EF4-FFF2-40B4-BE49-F238E27FC236}">
                <a16:creationId xmlns:a16="http://schemas.microsoft.com/office/drawing/2014/main" id="{95FCC555-715C-BB83-1B74-02EBE43BAA96}"/>
              </a:ext>
            </a:extLst>
          </p:cNvPr>
          <p:cNvSpPr>
            <a:spLocks noGrp="1"/>
          </p:cNvSpPr>
          <p:nvPr>
            <p:ph type="sldNum" sz="quarter" idx="12"/>
          </p:nvPr>
        </p:nvSpPr>
        <p:spPr/>
        <p:txBody>
          <a:bodyPr/>
          <a:lstStyle/>
          <a:p>
            <a:fld id="{82C3695F-575D-43A7-B058-9C70EC286A19}" type="slidenum">
              <a:rPr lang="ru-RU" smtClean="0"/>
              <a:t>‹#›</a:t>
            </a:fld>
            <a:endParaRPr lang="ru-RU"/>
          </a:p>
        </p:txBody>
      </p:sp>
    </p:spTree>
    <p:extLst>
      <p:ext uri="{BB962C8B-B14F-4D97-AF65-F5344CB8AC3E}">
        <p14:creationId xmlns:p14="http://schemas.microsoft.com/office/powerpoint/2010/main" val="402933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 Panc_Lake 3">
    <p:spTree>
      <p:nvGrpSpPr>
        <p:cNvPr id="1" name=""/>
        <p:cNvGrpSpPr/>
        <p:nvPr/>
      </p:nvGrpSpPr>
      <p:grpSpPr>
        <a:xfrm>
          <a:off x="0" y="0"/>
          <a:ext cx="0" cy="0"/>
          <a:chOff x="0" y="0"/>
          <a:chExt cx="0" cy="0"/>
        </a:xfrm>
      </p:grpSpPr>
      <p:sp>
        <p:nvSpPr>
          <p:cNvPr id="9" name="Sub Header">
            <a:extLst>
              <a:ext uri="{FF2B5EF4-FFF2-40B4-BE49-F238E27FC236}">
                <a16:creationId xmlns:a16="http://schemas.microsoft.com/office/drawing/2014/main" id="{693BDE84-194C-514B-A921-5C55AD2ADA19}"/>
              </a:ext>
            </a:extLst>
          </p:cNvPr>
          <p:cNvSpPr>
            <a:spLocks noGrp="1"/>
          </p:cNvSpPr>
          <p:nvPr>
            <p:ph type="body" sz="quarter" idx="10" hasCustomPrompt="1"/>
          </p:nvPr>
        </p:nvSpPr>
        <p:spPr>
          <a:xfrm>
            <a:off x="838200" y="3508247"/>
            <a:ext cx="4724400" cy="1440000"/>
          </a:xfrm>
          <a:prstGeom prst="rect">
            <a:avLst/>
          </a:prstGeom>
        </p:spPr>
        <p:txBody>
          <a:bodyPr wrap="square" lIns="0">
            <a:normAutofit/>
          </a:bodyPr>
          <a:lstStyle>
            <a:lvl1pPr marL="0" indent="0">
              <a:buNone/>
              <a:defRPr sz="2300" i="1">
                <a:solidFill>
                  <a:srgbClr val="004D74"/>
                </a:solidFill>
                <a:latin typeface="Arial" panose="020B0604020202020204" pitchFamily="34" charset="0"/>
                <a:cs typeface="Arial" panose="020B0604020202020204" pitchFamily="34" charset="0"/>
              </a:defRPr>
            </a:lvl1pPr>
            <a:lvl2pPr marL="457189" indent="0">
              <a:buNone/>
              <a:defRPr sz="2300" i="1">
                <a:solidFill>
                  <a:schemeClr val="tx2"/>
                </a:solidFill>
                <a:latin typeface="Arial" panose="020B0604020202020204" pitchFamily="34" charset="0"/>
                <a:cs typeface="Arial" panose="020B0604020202020204" pitchFamily="34" charset="0"/>
              </a:defRPr>
            </a:lvl2pPr>
            <a:lvl3pPr marL="914377" indent="0">
              <a:buNone/>
              <a:defRPr sz="2300" i="1">
                <a:solidFill>
                  <a:schemeClr val="tx2"/>
                </a:solidFill>
                <a:latin typeface="Arial" panose="020B0604020202020204" pitchFamily="34" charset="0"/>
                <a:cs typeface="Arial" panose="020B0604020202020204" pitchFamily="34" charset="0"/>
              </a:defRPr>
            </a:lvl3pPr>
            <a:lvl4pPr marL="1371566" indent="0">
              <a:buNone/>
              <a:defRPr sz="2300" i="1">
                <a:solidFill>
                  <a:schemeClr val="tx2"/>
                </a:solidFill>
                <a:latin typeface="Arial" panose="020B0604020202020204" pitchFamily="34" charset="0"/>
                <a:cs typeface="Arial" panose="020B0604020202020204" pitchFamily="34" charset="0"/>
              </a:defRPr>
            </a:lvl4pPr>
            <a:lvl5pPr marL="1828754" indent="0">
              <a:buNone/>
              <a:defRPr sz="2300" i="1">
                <a:solidFill>
                  <a:schemeClr val="tx2"/>
                </a:solidFill>
                <a:latin typeface="Arial" panose="020B0604020202020204" pitchFamily="34" charset="0"/>
                <a:cs typeface="Arial" panose="020B0604020202020204" pitchFamily="34" charset="0"/>
              </a:defRPr>
            </a:lvl5pPr>
          </a:lstStyle>
          <a:p>
            <a:pPr lvl="0"/>
            <a:r>
              <a:rPr lang="en-US" dirty="0"/>
              <a:t>SUB HEADER</a:t>
            </a:r>
          </a:p>
        </p:txBody>
      </p:sp>
      <p:sp>
        <p:nvSpPr>
          <p:cNvPr id="10" name="Title">
            <a:extLst>
              <a:ext uri="{FF2B5EF4-FFF2-40B4-BE49-F238E27FC236}">
                <a16:creationId xmlns:a16="http://schemas.microsoft.com/office/drawing/2014/main" id="{8B056308-B61B-614B-BC19-0B7DA69CA4BD}"/>
              </a:ext>
            </a:extLst>
          </p:cNvPr>
          <p:cNvSpPr>
            <a:spLocks noGrp="1"/>
          </p:cNvSpPr>
          <p:nvPr>
            <p:ph type="body" sz="quarter" idx="11" hasCustomPrompt="1"/>
          </p:nvPr>
        </p:nvSpPr>
        <p:spPr>
          <a:xfrm>
            <a:off x="838200" y="1472884"/>
            <a:ext cx="4724400" cy="1951037"/>
          </a:xfrm>
          <a:prstGeom prst="rect">
            <a:avLst/>
          </a:prstGeom>
        </p:spPr>
        <p:txBody>
          <a:bodyPr lIns="0" tIns="46800" rIns="90000" bIns="0" anchor="b">
            <a:normAutofit/>
          </a:bodyPr>
          <a:lstStyle>
            <a:lvl1pPr marL="0" indent="0">
              <a:buNone/>
              <a:defRPr sz="5000" b="1">
                <a:solidFill>
                  <a:srgbClr val="004D74"/>
                </a:solidFill>
              </a:defRPr>
            </a:lvl1pPr>
            <a:lvl2pPr marL="457189" indent="0">
              <a:buNone/>
              <a:defRPr sz="5000" b="1">
                <a:solidFill>
                  <a:schemeClr val="bg1"/>
                </a:solidFill>
              </a:defRPr>
            </a:lvl2pPr>
            <a:lvl3pPr marL="914377" indent="0">
              <a:buNone/>
              <a:defRPr sz="5000" b="1">
                <a:solidFill>
                  <a:schemeClr val="bg1"/>
                </a:solidFill>
              </a:defRPr>
            </a:lvl3pPr>
            <a:lvl4pPr marL="1371566" indent="0">
              <a:buNone/>
              <a:defRPr sz="5000" b="1">
                <a:solidFill>
                  <a:schemeClr val="bg1"/>
                </a:solidFill>
              </a:defRPr>
            </a:lvl4pPr>
            <a:lvl5pPr marL="1828754" indent="0">
              <a:buNone/>
              <a:defRPr sz="5000" b="1">
                <a:solidFill>
                  <a:schemeClr val="bg1"/>
                </a:solidFill>
              </a:defRPr>
            </a:lvl5pPr>
          </a:lstStyle>
          <a:p>
            <a:pPr lvl="0"/>
            <a:r>
              <a:rPr lang="en-US" dirty="0"/>
              <a:t>Title Slide</a:t>
            </a:r>
          </a:p>
        </p:txBody>
      </p:sp>
      <p:sp>
        <p:nvSpPr>
          <p:cNvPr id="2" name="white Panel">
            <a:extLst>
              <a:ext uri="{FF2B5EF4-FFF2-40B4-BE49-F238E27FC236}">
                <a16:creationId xmlns:a16="http://schemas.microsoft.com/office/drawing/2014/main" id="{709F75D2-460D-0D74-C342-7C32497FC8A2}"/>
              </a:ext>
            </a:extLst>
          </p:cNvPr>
          <p:cNvSpPr/>
          <p:nvPr userDrawn="1"/>
        </p:nvSpPr>
        <p:spPr>
          <a:xfrm>
            <a:off x="0" y="5995538"/>
            <a:ext cx="12192000" cy="8669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a:p>
        </p:txBody>
      </p:sp>
      <p:sp>
        <p:nvSpPr>
          <p:cNvPr id="15" name="Base Rule">
            <a:extLst>
              <a:ext uri="{FF2B5EF4-FFF2-40B4-BE49-F238E27FC236}">
                <a16:creationId xmlns:a16="http://schemas.microsoft.com/office/drawing/2014/main" id="{412656EA-4D2E-453A-FDAC-DA28023F2602}"/>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pic>
        <p:nvPicPr>
          <p:cNvPr id="3" name="AZ Logo">
            <a:extLst>
              <a:ext uri="{FF2B5EF4-FFF2-40B4-BE49-F238E27FC236}">
                <a16:creationId xmlns:a16="http://schemas.microsoft.com/office/drawing/2014/main" id="{A1636A19-CAAB-626B-6D99-D105DEADEFB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906452" y="6428409"/>
            <a:ext cx="1147048" cy="275941"/>
          </a:xfrm>
          <a:prstGeom prst="rect">
            <a:avLst/>
          </a:prstGeom>
        </p:spPr>
      </p:pic>
    </p:spTree>
    <p:extLst>
      <p:ext uri="{BB962C8B-B14F-4D97-AF65-F5344CB8AC3E}">
        <p14:creationId xmlns:p14="http://schemas.microsoft.com/office/powerpoint/2010/main" val="3850059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65691-D722-A6A2-EEE8-E06960C9759B}"/>
              </a:ext>
            </a:extLst>
          </p:cNvPr>
          <p:cNvSpPr>
            <a:spLocks noGrp="1"/>
          </p:cNvSpPr>
          <p:nvPr>
            <p:ph type="title"/>
          </p:nvPr>
        </p:nvSpPr>
        <p:spPr>
          <a:xfrm>
            <a:off x="839788" y="365125"/>
            <a:ext cx="10515600" cy="1325563"/>
          </a:xfrm>
        </p:spPr>
        <p:txBody>
          <a:bodyPr/>
          <a:lstStyle/>
          <a:p>
            <a:r>
              <a:rPr lang="en-US"/>
              <a:t>Click to edit Master title style</a:t>
            </a:r>
            <a:endParaRPr lang="ru-RU"/>
          </a:p>
        </p:txBody>
      </p:sp>
      <p:sp>
        <p:nvSpPr>
          <p:cNvPr id="3" name="Text Placeholder 2">
            <a:extLst>
              <a:ext uri="{FF2B5EF4-FFF2-40B4-BE49-F238E27FC236}">
                <a16:creationId xmlns:a16="http://schemas.microsoft.com/office/drawing/2014/main" id="{52A31F2D-FA92-DE1A-62CC-2CE5A7FCCC6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9C34E8E-4B5B-49D6-01DE-1015237C3D3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Text Placeholder 4">
            <a:extLst>
              <a:ext uri="{FF2B5EF4-FFF2-40B4-BE49-F238E27FC236}">
                <a16:creationId xmlns:a16="http://schemas.microsoft.com/office/drawing/2014/main" id="{F6BA4D30-5074-2C2B-0761-EA38E698AE6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A6A867A-13F8-905B-80BA-C3B86C1837C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7" name="Date Placeholder 6">
            <a:extLst>
              <a:ext uri="{FF2B5EF4-FFF2-40B4-BE49-F238E27FC236}">
                <a16:creationId xmlns:a16="http://schemas.microsoft.com/office/drawing/2014/main" id="{CA92D875-0209-88B0-EE90-AB619681D12D}"/>
              </a:ext>
            </a:extLst>
          </p:cNvPr>
          <p:cNvSpPr>
            <a:spLocks noGrp="1"/>
          </p:cNvSpPr>
          <p:nvPr>
            <p:ph type="dt" sz="half" idx="10"/>
          </p:nvPr>
        </p:nvSpPr>
        <p:spPr/>
        <p:txBody>
          <a:bodyPr/>
          <a:lstStyle/>
          <a:p>
            <a:fld id="{A850AD25-1AD7-437E-8CB4-A45ADF59C35F}" type="datetimeFigureOut">
              <a:rPr lang="ru-RU" smtClean="0"/>
              <a:t>17.04.2023</a:t>
            </a:fld>
            <a:endParaRPr lang="ru-RU"/>
          </a:p>
        </p:txBody>
      </p:sp>
      <p:sp>
        <p:nvSpPr>
          <p:cNvPr id="8" name="Footer Placeholder 7">
            <a:extLst>
              <a:ext uri="{FF2B5EF4-FFF2-40B4-BE49-F238E27FC236}">
                <a16:creationId xmlns:a16="http://schemas.microsoft.com/office/drawing/2014/main" id="{4D9C52A2-C7B3-7258-8F32-1CAF6CD953C6}"/>
              </a:ext>
            </a:extLst>
          </p:cNvPr>
          <p:cNvSpPr>
            <a:spLocks noGrp="1"/>
          </p:cNvSpPr>
          <p:nvPr>
            <p:ph type="ftr" sz="quarter" idx="11"/>
          </p:nvPr>
        </p:nvSpPr>
        <p:spPr/>
        <p:txBody>
          <a:bodyPr/>
          <a:lstStyle/>
          <a:p>
            <a:endParaRPr lang="ru-RU"/>
          </a:p>
        </p:txBody>
      </p:sp>
      <p:sp>
        <p:nvSpPr>
          <p:cNvPr id="9" name="Slide Number Placeholder 8">
            <a:extLst>
              <a:ext uri="{FF2B5EF4-FFF2-40B4-BE49-F238E27FC236}">
                <a16:creationId xmlns:a16="http://schemas.microsoft.com/office/drawing/2014/main" id="{857B567A-C6D6-FAC6-1C4C-F4C9A2D7F31B}"/>
              </a:ext>
            </a:extLst>
          </p:cNvPr>
          <p:cNvSpPr>
            <a:spLocks noGrp="1"/>
          </p:cNvSpPr>
          <p:nvPr>
            <p:ph type="sldNum" sz="quarter" idx="12"/>
          </p:nvPr>
        </p:nvSpPr>
        <p:spPr/>
        <p:txBody>
          <a:bodyPr/>
          <a:lstStyle/>
          <a:p>
            <a:fld id="{82C3695F-575D-43A7-B058-9C70EC286A19}" type="slidenum">
              <a:rPr lang="ru-RU" smtClean="0"/>
              <a:t>‹#›</a:t>
            </a:fld>
            <a:endParaRPr lang="ru-RU"/>
          </a:p>
        </p:txBody>
      </p:sp>
    </p:spTree>
    <p:extLst>
      <p:ext uri="{BB962C8B-B14F-4D97-AF65-F5344CB8AC3E}">
        <p14:creationId xmlns:p14="http://schemas.microsoft.com/office/powerpoint/2010/main" val="32404919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667D8-95CB-9745-ED9D-E108D5DF697D}"/>
              </a:ext>
            </a:extLst>
          </p:cNvPr>
          <p:cNvSpPr>
            <a:spLocks noGrp="1"/>
          </p:cNvSpPr>
          <p:nvPr>
            <p:ph type="title"/>
          </p:nvPr>
        </p:nvSpPr>
        <p:spPr/>
        <p:txBody>
          <a:bodyPr/>
          <a:lstStyle/>
          <a:p>
            <a:r>
              <a:rPr lang="en-US"/>
              <a:t>Click to edit Master title style</a:t>
            </a:r>
            <a:endParaRPr lang="ru-RU"/>
          </a:p>
        </p:txBody>
      </p:sp>
      <p:sp>
        <p:nvSpPr>
          <p:cNvPr id="3" name="Date Placeholder 2">
            <a:extLst>
              <a:ext uri="{FF2B5EF4-FFF2-40B4-BE49-F238E27FC236}">
                <a16:creationId xmlns:a16="http://schemas.microsoft.com/office/drawing/2014/main" id="{2795F6AB-0B18-1C28-F0F7-B530DD8411E3}"/>
              </a:ext>
            </a:extLst>
          </p:cNvPr>
          <p:cNvSpPr>
            <a:spLocks noGrp="1"/>
          </p:cNvSpPr>
          <p:nvPr>
            <p:ph type="dt" sz="half" idx="10"/>
          </p:nvPr>
        </p:nvSpPr>
        <p:spPr/>
        <p:txBody>
          <a:bodyPr/>
          <a:lstStyle/>
          <a:p>
            <a:fld id="{A850AD25-1AD7-437E-8CB4-A45ADF59C35F}" type="datetimeFigureOut">
              <a:rPr lang="ru-RU" smtClean="0"/>
              <a:t>17.04.2023</a:t>
            </a:fld>
            <a:endParaRPr lang="ru-RU"/>
          </a:p>
        </p:txBody>
      </p:sp>
      <p:sp>
        <p:nvSpPr>
          <p:cNvPr id="4" name="Footer Placeholder 3">
            <a:extLst>
              <a:ext uri="{FF2B5EF4-FFF2-40B4-BE49-F238E27FC236}">
                <a16:creationId xmlns:a16="http://schemas.microsoft.com/office/drawing/2014/main" id="{5AE7D77F-F23B-3B58-EAB3-2318E3263B29}"/>
              </a:ext>
            </a:extLst>
          </p:cNvPr>
          <p:cNvSpPr>
            <a:spLocks noGrp="1"/>
          </p:cNvSpPr>
          <p:nvPr>
            <p:ph type="ftr" sz="quarter" idx="11"/>
          </p:nvPr>
        </p:nvSpPr>
        <p:spPr/>
        <p:txBody>
          <a:bodyPr/>
          <a:lstStyle/>
          <a:p>
            <a:endParaRPr lang="ru-RU"/>
          </a:p>
        </p:txBody>
      </p:sp>
      <p:sp>
        <p:nvSpPr>
          <p:cNvPr id="5" name="Slide Number Placeholder 4">
            <a:extLst>
              <a:ext uri="{FF2B5EF4-FFF2-40B4-BE49-F238E27FC236}">
                <a16:creationId xmlns:a16="http://schemas.microsoft.com/office/drawing/2014/main" id="{1677BF27-5A72-B271-0B63-0F00C249FAB9}"/>
              </a:ext>
            </a:extLst>
          </p:cNvPr>
          <p:cNvSpPr>
            <a:spLocks noGrp="1"/>
          </p:cNvSpPr>
          <p:nvPr>
            <p:ph type="sldNum" sz="quarter" idx="12"/>
          </p:nvPr>
        </p:nvSpPr>
        <p:spPr/>
        <p:txBody>
          <a:bodyPr/>
          <a:lstStyle/>
          <a:p>
            <a:fld id="{82C3695F-575D-43A7-B058-9C70EC286A19}" type="slidenum">
              <a:rPr lang="ru-RU" smtClean="0"/>
              <a:t>‹#›</a:t>
            </a:fld>
            <a:endParaRPr lang="ru-RU"/>
          </a:p>
        </p:txBody>
      </p:sp>
    </p:spTree>
    <p:extLst>
      <p:ext uri="{BB962C8B-B14F-4D97-AF65-F5344CB8AC3E}">
        <p14:creationId xmlns:p14="http://schemas.microsoft.com/office/powerpoint/2010/main" val="35060637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FAF61A7-0122-AB82-5E13-872EA8328382}"/>
              </a:ext>
            </a:extLst>
          </p:cNvPr>
          <p:cNvSpPr>
            <a:spLocks noGrp="1"/>
          </p:cNvSpPr>
          <p:nvPr>
            <p:ph type="dt" sz="half" idx="10"/>
          </p:nvPr>
        </p:nvSpPr>
        <p:spPr/>
        <p:txBody>
          <a:bodyPr/>
          <a:lstStyle/>
          <a:p>
            <a:fld id="{A850AD25-1AD7-437E-8CB4-A45ADF59C35F}" type="datetimeFigureOut">
              <a:rPr lang="ru-RU" smtClean="0"/>
              <a:t>17.04.2023</a:t>
            </a:fld>
            <a:endParaRPr lang="ru-RU"/>
          </a:p>
        </p:txBody>
      </p:sp>
      <p:sp>
        <p:nvSpPr>
          <p:cNvPr id="3" name="Footer Placeholder 2">
            <a:extLst>
              <a:ext uri="{FF2B5EF4-FFF2-40B4-BE49-F238E27FC236}">
                <a16:creationId xmlns:a16="http://schemas.microsoft.com/office/drawing/2014/main" id="{B26E0E1F-3988-B254-788E-DA947EA44341}"/>
              </a:ext>
            </a:extLst>
          </p:cNvPr>
          <p:cNvSpPr>
            <a:spLocks noGrp="1"/>
          </p:cNvSpPr>
          <p:nvPr>
            <p:ph type="ftr" sz="quarter" idx="11"/>
          </p:nvPr>
        </p:nvSpPr>
        <p:spPr/>
        <p:txBody>
          <a:bodyPr/>
          <a:lstStyle/>
          <a:p>
            <a:endParaRPr lang="ru-RU"/>
          </a:p>
        </p:txBody>
      </p:sp>
      <p:sp>
        <p:nvSpPr>
          <p:cNvPr id="4" name="Slide Number Placeholder 3">
            <a:extLst>
              <a:ext uri="{FF2B5EF4-FFF2-40B4-BE49-F238E27FC236}">
                <a16:creationId xmlns:a16="http://schemas.microsoft.com/office/drawing/2014/main" id="{85418B9E-84C8-6E11-F8EE-19851B7AE48B}"/>
              </a:ext>
            </a:extLst>
          </p:cNvPr>
          <p:cNvSpPr>
            <a:spLocks noGrp="1"/>
          </p:cNvSpPr>
          <p:nvPr>
            <p:ph type="sldNum" sz="quarter" idx="12"/>
          </p:nvPr>
        </p:nvSpPr>
        <p:spPr/>
        <p:txBody>
          <a:bodyPr/>
          <a:lstStyle/>
          <a:p>
            <a:fld id="{82C3695F-575D-43A7-B058-9C70EC286A19}" type="slidenum">
              <a:rPr lang="ru-RU" smtClean="0"/>
              <a:t>‹#›</a:t>
            </a:fld>
            <a:endParaRPr lang="ru-RU"/>
          </a:p>
        </p:txBody>
      </p:sp>
    </p:spTree>
    <p:extLst>
      <p:ext uri="{BB962C8B-B14F-4D97-AF65-F5344CB8AC3E}">
        <p14:creationId xmlns:p14="http://schemas.microsoft.com/office/powerpoint/2010/main" val="37427229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E831F-692B-90D7-EB3D-D386A90D05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ru-RU"/>
          </a:p>
        </p:txBody>
      </p:sp>
      <p:sp>
        <p:nvSpPr>
          <p:cNvPr id="3" name="Content Placeholder 2">
            <a:extLst>
              <a:ext uri="{FF2B5EF4-FFF2-40B4-BE49-F238E27FC236}">
                <a16:creationId xmlns:a16="http://schemas.microsoft.com/office/drawing/2014/main" id="{FDB333E7-8398-E61E-970C-F0511C907AA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Text Placeholder 3">
            <a:extLst>
              <a:ext uri="{FF2B5EF4-FFF2-40B4-BE49-F238E27FC236}">
                <a16:creationId xmlns:a16="http://schemas.microsoft.com/office/drawing/2014/main" id="{7F882674-B739-48DA-4B34-1C83805F28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1B3CAE2-269E-E131-68D8-DE1E2802921B}"/>
              </a:ext>
            </a:extLst>
          </p:cNvPr>
          <p:cNvSpPr>
            <a:spLocks noGrp="1"/>
          </p:cNvSpPr>
          <p:nvPr>
            <p:ph type="dt" sz="half" idx="10"/>
          </p:nvPr>
        </p:nvSpPr>
        <p:spPr/>
        <p:txBody>
          <a:bodyPr/>
          <a:lstStyle/>
          <a:p>
            <a:fld id="{A850AD25-1AD7-437E-8CB4-A45ADF59C35F}" type="datetimeFigureOut">
              <a:rPr lang="ru-RU" smtClean="0"/>
              <a:t>17.04.2023</a:t>
            </a:fld>
            <a:endParaRPr lang="ru-RU"/>
          </a:p>
        </p:txBody>
      </p:sp>
      <p:sp>
        <p:nvSpPr>
          <p:cNvPr id="6" name="Footer Placeholder 5">
            <a:extLst>
              <a:ext uri="{FF2B5EF4-FFF2-40B4-BE49-F238E27FC236}">
                <a16:creationId xmlns:a16="http://schemas.microsoft.com/office/drawing/2014/main" id="{5F7510FB-8B68-E06E-47BF-8AAD8DD284F6}"/>
              </a:ext>
            </a:extLst>
          </p:cNvPr>
          <p:cNvSpPr>
            <a:spLocks noGrp="1"/>
          </p:cNvSpPr>
          <p:nvPr>
            <p:ph type="ftr" sz="quarter" idx="11"/>
          </p:nvPr>
        </p:nvSpPr>
        <p:spPr/>
        <p:txBody>
          <a:bodyPr/>
          <a:lstStyle/>
          <a:p>
            <a:endParaRPr lang="ru-RU"/>
          </a:p>
        </p:txBody>
      </p:sp>
      <p:sp>
        <p:nvSpPr>
          <p:cNvPr id="7" name="Slide Number Placeholder 6">
            <a:extLst>
              <a:ext uri="{FF2B5EF4-FFF2-40B4-BE49-F238E27FC236}">
                <a16:creationId xmlns:a16="http://schemas.microsoft.com/office/drawing/2014/main" id="{A3A7FD77-9677-DB27-9729-B6A1C300AA54}"/>
              </a:ext>
            </a:extLst>
          </p:cNvPr>
          <p:cNvSpPr>
            <a:spLocks noGrp="1"/>
          </p:cNvSpPr>
          <p:nvPr>
            <p:ph type="sldNum" sz="quarter" idx="12"/>
          </p:nvPr>
        </p:nvSpPr>
        <p:spPr/>
        <p:txBody>
          <a:bodyPr/>
          <a:lstStyle/>
          <a:p>
            <a:fld id="{82C3695F-575D-43A7-B058-9C70EC286A19}" type="slidenum">
              <a:rPr lang="ru-RU" smtClean="0"/>
              <a:t>‹#›</a:t>
            </a:fld>
            <a:endParaRPr lang="ru-RU"/>
          </a:p>
        </p:txBody>
      </p:sp>
    </p:spTree>
    <p:extLst>
      <p:ext uri="{BB962C8B-B14F-4D97-AF65-F5344CB8AC3E}">
        <p14:creationId xmlns:p14="http://schemas.microsoft.com/office/powerpoint/2010/main" val="6743986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D4024-5E22-1B30-BB35-C037CAB4B41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ru-RU"/>
          </a:p>
        </p:txBody>
      </p:sp>
      <p:sp>
        <p:nvSpPr>
          <p:cNvPr id="3" name="Picture Placeholder 2">
            <a:extLst>
              <a:ext uri="{FF2B5EF4-FFF2-40B4-BE49-F238E27FC236}">
                <a16:creationId xmlns:a16="http://schemas.microsoft.com/office/drawing/2014/main" id="{7EBAAB0A-216C-7AB2-0703-6DE95660FC6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Text Placeholder 3">
            <a:extLst>
              <a:ext uri="{FF2B5EF4-FFF2-40B4-BE49-F238E27FC236}">
                <a16:creationId xmlns:a16="http://schemas.microsoft.com/office/drawing/2014/main" id="{A73D71B8-1FC8-2546-11F9-DD08CFF71E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5464DF-7DBD-7128-648F-7CC1950D5E8D}"/>
              </a:ext>
            </a:extLst>
          </p:cNvPr>
          <p:cNvSpPr>
            <a:spLocks noGrp="1"/>
          </p:cNvSpPr>
          <p:nvPr>
            <p:ph type="dt" sz="half" idx="10"/>
          </p:nvPr>
        </p:nvSpPr>
        <p:spPr/>
        <p:txBody>
          <a:bodyPr/>
          <a:lstStyle/>
          <a:p>
            <a:fld id="{A850AD25-1AD7-437E-8CB4-A45ADF59C35F}" type="datetimeFigureOut">
              <a:rPr lang="ru-RU" smtClean="0"/>
              <a:t>17.04.2023</a:t>
            </a:fld>
            <a:endParaRPr lang="ru-RU"/>
          </a:p>
        </p:txBody>
      </p:sp>
      <p:sp>
        <p:nvSpPr>
          <p:cNvPr id="6" name="Footer Placeholder 5">
            <a:extLst>
              <a:ext uri="{FF2B5EF4-FFF2-40B4-BE49-F238E27FC236}">
                <a16:creationId xmlns:a16="http://schemas.microsoft.com/office/drawing/2014/main" id="{4182E202-4DA1-F795-C7AE-E6765B5E65CF}"/>
              </a:ext>
            </a:extLst>
          </p:cNvPr>
          <p:cNvSpPr>
            <a:spLocks noGrp="1"/>
          </p:cNvSpPr>
          <p:nvPr>
            <p:ph type="ftr" sz="quarter" idx="11"/>
          </p:nvPr>
        </p:nvSpPr>
        <p:spPr/>
        <p:txBody>
          <a:bodyPr/>
          <a:lstStyle/>
          <a:p>
            <a:endParaRPr lang="ru-RU"/>
          </a:p>
        </p:txBody>
      </p:sp>
      <p:sp>
        <p:nvSpPr>
          <p:cNvPr id="7" name="Slide Number Placeholder 6">
            <a:extLst>
              <a:ext uri="{FF2B5EF4-FFF2-40B4-BE49-F238E27FC236}">
                <a16:creationId xmlns:a16="http://schemas.microsoft.com/office/drawing/2014/main" id="{A380FA14-9293-5ACE-9745-59B586C4C58B}"/>
              </a:ext>
            </a:extLst>
          </p:cNvPr>
          <p:cNvSpPr>
            <a:spLocks noGrp="1"/>
          </p:cNvSpPr>
          <p:nvPr>
            <p:ph type="sldNum" sz="quarter" idx="12"/>
          </p:nvPr>
        </p:nvSpPr>
        <p:spPr/>
        <p:txBody>
          <a:bodyPr/>
          <a:lstStyle/>
          <a:p>
            <a:fld id="{82C3695F-575D-43A7-B058-9C70EC286A19}" type="slidenum">
              <a:rPr lang="ru-RU" smtClean="0"/>
              <a:t>‹#›</a:t>
            </a:fld>
            <a:endParaRPr lang="ru-RU"/>
          </a:p>
        </p:txBody>
      </p:sp>
    </p:spTree>
    <p:extLst>
      <p:ext uri="{BB962C8B-B14F-4D97-AF65-F5344CB8AC3E}">
        <p14:creationId xmlns:p14="http://schemas.microsoft.com/office/powerpoint/2010/main" val="31941512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1F904-F617-E9AE-D450-A009DF8500CE}"/>
              </a:ext>
            </a:extLst>
          </p:cNvPr>
          <p:cNvSpPr>
            <a:spLocks noGrp="1"/>
          </p:cNvSpPr>
          <p:nvPr>
            <p:ph type="title"/>
          </p:nvPr>
        </p:nvSpPr>
        <p:spPr/>
        <p:txBody>
          <a:bodyPr/>
          <a:lstStyle/>
          <a:p>
            <a:r>
              <a:rPr lang="en-US"/>
              <a:t>Click to edit Master title style</a:t>
            </a:r>
            <a:endParaRPr lang="ru-RU"/>
          </a:p>
        </p:txBody>
      </p:sp>
      <p:sp>
        <p:nvSpPr>
          <p:cNvPr id="3" name="Vertical Text Placeholder 2">
            <a:extLst>
              <a:ext uri="{FF2B5EF4-FFF2-40B4-BE49-F238E27FC236}">
                <a16:creationId xmlns:a16="http://schemas.microsoft.com/office/drawing/2014/main" id="{EEC6BFEF-FA1B-BE31-422E-75EAFA7059C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D95C83DD-4141-60DB-6832-FD299330C535}"/>
              </a:ext>
            </a:extLst>
          </p:cNvPr>
          <p:cNvSpPr>
            <a:spLocks noGrp="1"/>
          </p:cNvSpPr>
          <p:nvPr>
            <p:ph type="dt" sz="half" idx="10"/>
          </p:nvPr>
        </p:nvSpPr>
        <p:spPr/>
        <p:txBody>
          <a:bodyPr/>
          <a:lstStyle/>
          <a:p>
            <a:fld id="{A850AD25-1AD7-437E-8CB4-A45ADF59C35F}" type="datetimeFigureOut">
              <a:rPr lang="ru-RU" smtClean="0"/>
              <a:t>17.04.2023</a:t>
            </a:fld>
            <a:endParaRPr lang="ru-RU"/>
          </a:p>
        </p:txBody>
      </p:sp>
      <p:sp>
        <p:nvSpPr>
          <p:cNvPr id="5" name="Footer Placeholder 4">
            <a:extLst>
              <a:ext uri="{FF2B5EF4-FFF2-40B4-BE49-F238E27FC236}">
                <a16:creationId xmlns:a16="http://schemas.microsoft.com/office/drawing/2014/main" id="{83E2869C-146D-C0CE-CDDF-FDD5A6198ECC}"/>
              </a:ext>
            </a:extLst>
          </p:cNvPr>
          <p:cNvSpPr>
            <a:spLocks noGrp="1"/>
          </p:cNvSpPr>
          <p:nvPr>
            <p:ph type="ftr" sz="quarter" idx="11"/>
          </p:nvPr>
        </p:nvSpPr>
        <p:spPr/>
        <p:txBody>
          <a:bodyPr/>
          <a:lstStyle/>
          <a:p>
            <a:endParaRPr lang="ru-RU"/>
          </a:p>
        </p:txBody>
      </p:sp>
      <p:sp>
        <p:nvSpPr>
          <p:cNvPr id="6" name="Slide Number Placeholder 5">
            <a:extLst>
              <a:ext uri="{FF2B5EF4-FFF2-40B4-BE49-F238E27FC236}">
                <a16:creationId xmlns:a16="http://schemas.microsoft.com/office/drawing/2014/main" id="{7E70E17E-1FCC-238F-D901-C4F51EC5DC22}"/>
              </a:ext>
            </a:extLst>
          </p:cNvPr>
          <p:cNvSpPr>
            <a:spLocks noGrp="1"/>
          </p:cNvSpPr>
          <p:nvPr>
            <p:ph type="sldNum" sz="quarter" idx="12"/>
          </p:nvPr>
        </p:nvSpPr>
        <p:spPr/>
        <p:txBody>
          <a:bodyPr/>
          <a:lstStyle/>
          <a:p>
            <a:fld id="{82C3695F-575D-43A7-B058-9C70EC286A19}" type="slidenum">
              <a:rPr lang="ru-RU" smtClean="0"/>
              <a:t>‹#›</a:t>
            </a:fld>
            <a:endParaRPr lang="ru-RU"/>
          </a:p>
        </p:txBody>
      </p:sp>
    </p:spTree>
    <p:extLst>
      <p:ext uri="{BB962C8B-B14F-4D97-AF65-F5344CB8AC3E}">
        <p14:creationId xmlns:p14="http://schemas.microsoft.com/office/powerpoint/2010/main" val="32440639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3D8CF5E-5373-724B-D388-6F49E96B3D7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ru-RU"/>
          </a:p>
        </p:txBody>
      </p:sp>
      <p:sp>
        <p:nvSpPr>
          <p:cNvPr id="3" name="Vertical Text Placeholder 2">
            <a:extLst>
              <a:ext uri="{FF2B5EF4-FFF2-40B4-BE49-F238E27FC236}">
                <a16:creationId xmlns:a16="http://schemas.microsoft.com/office/drawing/2014/main" id="{142C0FC3-0765-BC2E-E790-AD153B7F01D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DAAFDC6E-34CC-661F-8391-0558F947A3EB}"/>
              </a:ext>
            </a:extLst>
          </p:cNvPr>
          <p:cNvSpPr>
            <a:spLocks noGrp="1"/>
          </p:cNvSpPr>
          <p:nvPr>
            <p:ph type="dt" sz="half" idx="10"/>
          </p:nvPr>
        </p:nvSpPr>
        <p:spPr/>
        <p:txBody>
          <a:bodyPr/>
          <a:lstStyle/>
          <a:p>
            <a:fld id="{A850AD25-1AD7-437E-8CB4-A45ADF59C35F}" type="datetimeFigureOut">
              <a:rPr lang="ru-RU" smtClean="0"/>
              <a:t>17.04.2023</a:t>
            </a:fld>
            <a:endParaRPr lang="ru-RU"/>
          </a:p>
        </p:txBody>
      </p:sp>
      <p:sp>
        <p:nvSpPr>
          <p:cNvPr id="5" name="Footer Placeholder 4">
            <a:extLst>
              <a:ext uri="{FF2B5EF4-FFF2-40B4-BE49-F238E27FC236}">
                <a16:creationId xmlns:a16="http://schemas.microsoft.com/office/drawing/2014/main" id="{CD12AB2B-D1D9-0A6E-1BB0-2B69637F5A80}"/>
              </a:ext>
            </a:extLst>
          </p:cNvPr>
          <p:cNvSpPr>
            <a:spLocks noGrp="1"/>
          </p:cNvSpPr>
          <p:nvPr>
            <p:ph type="ftr" sz="quarter" idx="11"/>
          </p:nvPr>
        </p:nvSpPr>
        <p:spPr/>
        <p:txBody>
          <a:bodyPr/>
          <a:lstStyle/>
          <a:p>
            <a:endParaRPr lang="ru-RU"/>
          </a:p>
        </p:txBody>
      </p:sp>
      <p:sp>
        <p:nvSpPr>
          <p:cNvPr id="6" name="Slide Number Placeholder 5">
            <a:extLst>
              <a:ext uri="{FF2B5EF4-FFF2-40B4-BE49-F238E27FC236}">
                <a16:creationId xmlns:a16="http://schemas.microsoft.com/office/drawing/2014/main" id="{43BE041C-9C11-9AD1-BF05-068C0A8636D7}"/>
              </a:ext>
            </a:extLst>
          </p:cNvPr>
          <p:cNvSpPr>
            <a:spLocks noGrp="1"/>
          </p:cNvSpPr>
          <p:nvPr>
            <p:ph type="sldNum" sz="quarter" idx="12"/>
          </p:nvPr>
        </p:nvSpPr>
        <p:spPr/>
        <p:txBody>
          <a:bodyPr/>
          <a:lstStyle/>
          <a:p>
            <a:fld id="{82C3695F-575D-43A7-B058-9C70EC286A19}" type="slidenum">
              <a:rPr lang="ru-RU" smtClean="0"/>
              <a:t>‹#›</a:t>
            </a:fld>
            <a:endParaRPr lang="ru-RU"/>
          </a:p>
        </p:txBody>
      </p:sp>
    </p:spTree>
    <p:extLst>
      <p:ext uri="{BB962C8B-B14F-4D97-AF65-F5344CB8AC3E}">
        <p14:creationId xmlns:p14="http://schemas.microsoft.com/office/powerpoint/2010/main" val="25122864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marL="0" indent="0">
              <a:spcAft>
                <a:spcPts val="0"/>
              </a:spcAft>
              <a:buNone/>
              <a:defRPr sz="800">
                <a:solidFill>
                  <a:srgbClr val="7F7F7F"/>
                </a:solidFill>
              </a:defRPr>
            </a:lvl1pPr>
          </a:lstStyle>
          <a:p>
            <a:pPr lvl="0"/>
            <a:r>
              <a:rPr lang="en-US"/>
              <a:t>Footnotes</a:t>
            </a:r>
          </a:p>
        </p:txBody>
      </p:sp>
      <p:sp>
        <p:nvSpPr>
          <p:cNvPr id="3" name="Title 1">
            <a:extLst>
              <a:ext uri="{FF2B5EF4-FFF2-40B4-BE49-F238E27FC236}">
                <a16:creationId xmlns:a16="http://schemas.microsoft.com/office/drawing/2014/main" id="{D3314897-52E8-1395-6584-2F4D65BE15B6}"/>
              </a:ext>
            </a:extLst>
          </p:cNvPr>
          <p:cNvSpPr>
            <a:spLocks noGrp="1"/>
          </p:cNvSpPr>
          <p:nvPr>
            <p:ph type="title" hasCustomPrompt="1"/>
          </p:nvPr>
        </p:nvSpPr>
        <p:spPr>
          <a:xfrm>
            <a:off x="407987" y="404812"/>
            <a:ext cx="11376025" cy="1007427"/>
          </a:xfrm>
        </p:spPr>
        <p:txBody>
          <a:bodyPr/>
          <a:lstStyle>
            <a:lvl1pPr>
              <a:defRPr/>
            </a:lvl1pPr>
          </a:lstStyle>
          <a:p>
            <a:r>
              <a:rPr lang="en-US"/>
              <a:t>Click to enter title here</a:t>
            </a:r>
          </a:p>
        </p:txBody>
      </p:sp>
    </p:spTree>
    <p:custDataLst>
      <p:tags r:id="rId1"/>
    </p:custDataLst>
    <p:extLst>
      <p:ext uri="{BB962C8B-B14F-4D97-AF65-F5344CB8AC3E}">
        <p14:creationId xmlns:p14="http://schemas.microsoft.com/office/powerpoint/2010/main" val="3501149523"/>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CDCC3B-CA12-4A4B-B5F5-D2062F3C58EC}"/>
              </a:ext>
            </a:extLst>
          </p:cNvPr>
          <p:cNvSpPr>
            <a:spLocks noGrp="1"/>
          </p:cNvSpPr>
          <p:nvPr>
            <p:ph type="title" hasCustomPrompt="1"/>
          </p:nvPr>
        </p:nvSpPr>
        <p:spPr>
          <a:xfrm>
            <a:off x="407987" y="1486304"/>
            <a:ext cx="5185093" cy="2649135"/>
          </a:xfrm>
        </p:spPr>
        <p:txBody>
          <a:bodyPr rtlCol="0" anchor="b" anchorCtr="0">
            <a:normAutofit/>
          </a:bodyPr>
          <a:lstStyle>
            <a:lvl1pPr>
              <a:lnSpc>
                <a:spcPct val="100000"/>
              </a:lnSpc>
              <a:defRPr sz="4000">
                <a:solidFill>
                  <a:schemeClr val="accent1"/>
                </a:solidFill>
              </a:defRPr>
            </a:lvl1pPr>
          </a:lstStyle>
          <a:p>
            <a:pPr rtl="0"/>
            <a:r>
              <a:rPr lang="ru"/>
              <a:t>Click to enter title here</a:t>
            </a:r>
          </a:p>
        </p:txBody>
      </p:sp>
      <p:sp>
        <p:nvSpPr>
          <p:cNvPr id="6" name="Picture Placeholder 12">
            <a:extLst>
              <a:ext uri="{FF2B5EF4-FFF2-40B4-BE49-F238E27FC236}">
                <a16:creationId xmlns:a16="http://schemas.microsoft.com/office/drawing/2014/main" id="{3506CBD9-0F78-454A-9842-87C2546180B8}"/>
              </a:ext>
            </a:extLst>
          </p:cNvPr>
          <p:cNvSpPr>
            <a:spLocks noGrp="1"/>
          </p:cNvSpPr>
          <p:nvPr>
            <p:ph type="pic" sz="quarter" idx="20" hasCustomPrompt="1"/>
          </p:nvPr>
        </p:nvSpPr>
        <p:spPr>
          <a:xfrm>
            <a:off x="6188475" y="0"/>
            <a:ext cx="6004761" cy="6865200"/>
          </a:xfrm>
          <a:custGeom>
            <a:avLst/>
            <a:gdLst>
              <a:gd name="connsiteX0" fmla="*/ 1547827 w 6004761"/>
              <a:gd name="connsiteY0" fmla="*/ 0 h 6864096"/>
              <a:gd name="connsiteX1" fmla="*/ 6004760 w 6004761"/>
              <a:gd name="connsiteY1" fmla="*/ 0 h 6864096"/>
              <a:gd name="connsiteX2" fmla="*/ 6004761 w 6004761"/>
              <a:gd name="connsiteY2" fmla="*/ 6864096 h 6864096"/>
              <a:gd name="connsiteX3" fmla="*/ 1554450 w 6004761"/>
              <a:gd name="connsiteY3" fmla="*/ 6864096 h 6864096"/>
              <a:gd name="connsiteX4" fmla="*/ 1379124 w 6004761"/>
              <a:gd name="connsiteY4" fmla="*/ 6702826 h 6864096"/>
              <a:gd name="connsiteX5" fmla="*/ 0 w 6004761"/>
              <a:gd name="connsiteY5" fmla="*/ 3429001 h 6864096"/>
              <a:gd name="connsiteX6" fmla="*/ 1379124 w 6004761"/>
              <a:gd name="connsiteY6" fmla="*/ 155178 h 686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4761" h="6864096">
                <a:moveTo>
                  <a:pt x="1547827" y="0"/>
                </a:moveTo>
                <a:lnTo>
                  <a:pt x="6004760" y="0"/>
                </a:lnTo>
                <a:lnTo>
                  <a:pt x="6004761" y="6864096"/>
                </a:lnTo>
                <a:lnTo>
                  <a:pt x="1554450" y="6864096"/>
                </a:lnTo>
                <a:lnTo>
                  <a:pt x="1379124" y="6702826"/>
                </a:lnTo>
                <a:cubicBezTo>
                  <a:pt x="528239" y="5871990"/>
                  <a:pt x="0" y="4712184"/>
                  <a:pt x="0" y="3429001"/>
                </a:cubicBezTo>
                <a:cubicBezTo>
                  <a:pt x="0" y="2145819"/>
                  <a:pt x="528239" y="986013"/>
                  <a:pt x="1379124" y="155178"/>
                </a:cubicBezTo>
                <a:close/>
              </a:path>
            </a:pathLst>
          </a:custGeom>
          <a:solidFill>
            <a:schemeClr val="accent1"/>
          </a:solidFill>
        </p:spPr>
        <p:txBody>
          <a:bodyPr wrap="square" tIns="432000" bIns="648000" rtlCol="0" anchor="ctr">
            <a:noAutofit/>
          </a:bodyPr>
          <a:lstStyle>
            <a:lvl1pPr marL="0" indent="0" algn="ctr">
              <a:lnSpc>
                <a:spcPct val="100000"/>
              </a:lnSpc>
              <a:buNone/>
              <a:defRPr sz="1600" b="1">
                <a:solidFill>
                  <a:schemeClr val="bg1"/>
                </a:solidFill>
              </a:defRPr>
            </a:lvl1pPr>
          </a:lstStyle>
          <a:p>
            <a:pPr rtl="0"/>
            <a:r>
              <a:rPr lang="ru"/>
              <a:t>_______________________________</a:t>
            </a:r>
            <a:br>
              <a:rPr lang="en-US" dirty="0"/>
            </a:br>
            <a:br>
              <a:rPr lang="en-US" dirty="0"/>
            </a:br>
            <a:r>
              <a:rPr lang="ru"/>
              <a:t>To add an image here: </a:t>
            </a:r>
            <a:br>
              <a:rPr lang="en-US" dirty="0"/>
            </a:br>
            <a:r>
              <a:rPr lang="ru"/>
              <a:t>Click the icon and insert a file from your computer.</a:t>
            </a:r>
            <a:br>
              <a:rPr lang="en-US" dirty="0"/>
            </a:br>
            <a:br>
              <a:rPr lang="en-US" dirty="0"/>
            </a:br>
            <a:br>
              <a:rPr lang="en-US" dirty="0"/>
            </a:br>
            <a:br>
              <a:rPr lang="en-US" dirty="0"/>
            </a:br>
            <a:r>
              <a:rPr lang="ru"/>
              <a:t> Your image can then be scaled within </a:t>
            </a:r>
            <a:br>
              <a:rPr lang="en-US" dirty="0"/>
            </a:br>
            <a:r>
              <a:rPr lang="ru"/>
              <a:t>the frame by using the Crop feature in </a:t>
            </a:r>
            <a:br>
              <a:rPr lang="en-US" dirty="0"/>
            </a:br>
            <a:r>
              <a:rPr lang="ru"/>
              <a:t>the Picture Format tab of the ribbon.</a:t>
            </a:r>
            <a:br>
              <a:rPr lang="en-US" dirty="0"/>
            </a:br>
            <a:r>
              <a:rPr lang="ru"/>
              <a:t>_______________________________</a:t>
            </a:r>
          </a:p>
        </p:txBody>
      </p:sp>
      <p:pic>
        <p:nvPicPr>
          <p:cNvPr id="7" name="Picture 2" descr="Image result for ASTRAZENECA LOGO">
            <a:extLst>
              <a:ext uri="{FF2B5EF4-FFF2-40B4-BE49-F238E27FC236}">
                <a16:creationId xmlns:a16="http://schemas.microsoft.com/office/drawing/2014/main" id="{1ED72C3C-E918-420F-9374-6F1CBE3946F7}"/>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12276" y="576767"/>
            <a:ext cx="2405987" cy="651957"/>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a:extLst>
              <a:ext uri="{FF2B5EF4-FFF2-40B4-BE49-F238E27FC236}">
                <a16:creationId xmlns:a16="http://schemas.microsoft.com/office/drawing/2014/main" id="{632E5583-912E-4EA8-8EDC-7B6B86E76274}"/>
              </a:ext>
            </a:extLst>
          </p:cNvPr>
          <p:cNvSpPr>
            <a:spLocks noGrp="1"/>
          </p:cNvSpPr>
          <p:nvPr>
            <p:ph type="body" sz="quarter" idx="21" hasCustomPrompt="1"/>
          </p:nvPr>
        </p:nvSpPr>
        <p:spPr>
          <a:xfrm>
            <a:off x="407988" y="4328932"/>
            <a:ext cx="5184775" cy="1203767"/>
          </a:xfrm>
          <a:prstGeom prst="rect">
            <a:avLst/>
          </a:prstGeom>
        </p:spPr>
        <p:txBody>
          <a:bodyPr lIns="0" rtlCol="0">
            <a:normAutofit/>
          </a:bodyPr>
          <a:lstStyle>
            <a:lvl1pPr marL="0" indent="0">
              <a:lnSpc>
                <a:spcPct val="100000"/>
              </a:lnSpc>
              <a:buNone/>
              <a:defRPr sz="2400">
                <a:solidFill>
                  <a:schemeClr val="tx1"/>
                </a:solidFill>
              </a:defRPr>
            </a:lvl1pPr>
          </a:lstStyle>
          <a:p>
            <a:pPr lvl="0" rtl="0"/>
            <a:r>
              <a:rPr lang="ru"/>
              <a:t>Click to add subtitle / presenter name</a:t>
            </a:r>
          </a:p>
        </p:txBody>
      </p:sp>
      <p:sp>
        <p:nvSpPr>
          <p:cNvPr id="12" name="Rectangle 11">
            <a:extLst>
              <a:ext uri="{FF2B5EF4-FFF2-40B4-BE49-F238E27FC236}">
                <a16:creationId xmlns:a16="http://schemas.microsoft.com/office/drawing/2014/main" id="{06231862-37A9-4364-9D96-47810B11870D}"/>
              </a:ext>
            </a:extLst>
          </p:cNvPr>
          <p:cNvSpPr/>
          <p:nvPr userDrawn="1"/>
        </p:nvSpPr>
        <p:spPr>
          <a:xfrm>
            <a:off x="342900" y="404813"/>
            <a:ext cx="2794000" cy="920488"/>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100000"/>
              </a:lnSpc>
              <a:spcAft>
                <a:spcPts val="600"/>
              </a:spcAft>
            </a:pPr>
            <a:endParaRPr lang="en-US" sz="2400" dirty="0">
              <a:latin typeface="+mj-lt"/>
            </a:endParaRPr>
          </a:p>
        </p:txBody>
      </p:sp>
      <p:sp>
        <p:nvSpPr>
          <p:cNvPr id="3" name="Date Placeholder 2">
            <a:extLst>
              <a:ext uri="{FF2B5EF4-FFF2-40B4-BE49-F238E27FC236}">
                <a16:creationId xmlns:a16="http://schemas.microsoft.com/office/drawing/2014/main" id="{39E6A1CD-3FD6-4AD3-876A-75F060E88A2E}"/>
              </a:ext>
            </a:extLst>
          </p:cNvPr>
          <p:cNvSpPr>
            <a:spLocks noGrp="1"/>
          </p:cNvSpPr>
          <p:nvPr>
            <p:ph type="dt" sz="half" idx="26"/>
          </p:nvPr>
        </p:nvSpPr>
        <p:spPr>
          <a:xfrm>
            <a:off x="407987" y="5887668"/>
            <a:ext cx="1279358" cy="309145"/>
          </a:xfrm>
        </p:spPr>
        <p:txBody>
          <a:bodyPr lIns="0" rtlCol="0"/>
          <a:lstStyle>
            <a:lvl1pPr algn="l">
              <a:lnSpc>
                <a:spcPct val="100000"/>
              </a:lnSpc>
              <a:defRPr/>
            </a:lvl1pPr>
          </a:lstStyle>
          <a:p>
            <a:pPr rtl="0"/>
            <a:endParaRPr lang="en-GB" dirty="0"/>
          </a:p>
        </p:txBody>
      </p:sp>
      <p:sp>
        <p:nvSpPr>
          <p:cNvPr id="8" name="Text Placeholder 7">
            <a:extLst>
              <a:ext uri="{FF2B5EF4-FFF2-40B4-BE49-F238E27FC236}">
                <a16:creationId xmlns:a16="http://schemas.microsoft.com/office/drawing/2014/main" id="{7468ED59-10F2-418A-8E8D-5A205AB6BDFD}"/>
              </a:ext>
            </a:extLst>
          </p:cNvPr>
          <p:cNvSpPr>
            <a:spLocks noGrp="1"/>
          </p:cNvSpPr>
          <p:nvPr>
            <p:ph type="body" sz="quarter" idx="27" hasCustomPrompt="1"/>
          </p:nvPr>
        </p:nvSpPr>
        <p:spPr>
          <a:xfrm>
            <a:off x="407988" y="6420976"/>
            <a:ext cx="5184775" cy="234286"/>
          </a:xfrm>
        </p:spPr>
        <p:txBody>
          <a:bodyPr lIns="0" tIns="36000" rIns="0" bIns="36000" rtlCol="0" anchor="ctr" anchorCtr="0">
            <a:spAutoFit/>
          </a:bodyPr>
          <a:lstStyle>
            <a:lvl1pPr marL="0" indent="0">
              <a:lnSpc>
                <a:spcPct val="100000"/>
              </a:lnSpc>
              <a:buNone/>
              <a:defRPr sz="1050"/>
            </a:lvl1pPr>
            <a:lvl2pPr marL="432000" indent="0">
              <a:buNone/>
              <a:defRPr sz="1050"/>
            </a:lvl2pPr>
            <a:lvl3pPr marL="684000" indent="0">
              <a:buNone/>
              <a:defRPr sz="1050"/>
            </a:lvl3pPr>
            <a:lvl4pPr marL="828000" indent="0">
              <a:buNone/>
              <a:defRPr sz="1050"/>
            </a:lvl4pPr>
            <a:lvl5pPr marL="959400" indent="0">
              <a:buNone/>
              <a:defRPr sz="1050"/>
            </a:lvl5pPr>
          </a:lstStyle>
          <a:p>
            <a:pPr lvl="0" rtl="0"/>
            <a:r>
              <a:rPr lang="ru"/>
              <a:t>Click to add confidentiality statement here</a:t>
            </a:r>
          </a:p>
        </p:txBody>
      </p:sp>
    </p:spTree>
    <p:custDataLst>
      <p:tags r:id="rId1"/>
    </p:custDataLst>
    <p:extLst>
      <p:ext uri="{BB962C8B-B14F-4D97-AF65-F5344CB8AC3E}">
        <p14:creationId xmlns:p14="http://schemas.microsoft.com/office/powerpoint/2010/main" val="2514773976"/>
      </p:ext>
    </p:extLst>
  </p:cSld>
  <p:clrMapOvr>
    <a:masterClrMapping/>
  </p:clrMapOvr>
  <p:extLst>
    <p:ext uri="{DCECCB84-F9BA-43D5-87BE-67443E8EF086}">
      <p15:sldGuideLst xmlns:p15="http://schemas.microsoft.com/office/powerpoint/2012/main">
        <p15:guide id="1" pos="3522">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rtlCol="0"/>
          <a:lstStyle>
            <a:lvl1pPr>
              <a:defRPr/>
            </a:lvl1pPr>
          </a:lstStyle>
          <a:p>
            <a:pPr rtl="0"/>
            <a:r>
              <a:rPr lang="ru"/>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rtlCol="0">
            <a:spAutoFit/>
          </a:bodyPr>
          <a:lstStyle>
            <a:lvl1pPr>
              <a:defRPr/>
            </a:lvl1pPr>
            <a:lvl2pPr marL="576000" indent="-288000">
              <a:defRPr/>
            </a:lvl2pPr>
          </a:lstStyle>
          <a:p>
            <a:pPr lvl="0" rtl="0"/>
            <a:r>
              <a:rPr lang="ru"/>
              <a:t>Click to add text here. </a:t>
            </a:r>
            <a:br>
              <a:rPr lang="en-US"/>
            </a:br>
            <a:r>
              <a:rPr lang="ru"/>
              <a:t>When pasting copy from other slides, be sure to right-click and choose ‘Keep text only’. </a:t>
            </a:r>
            <a:br>
              <a:rPr lang="en-US"/>
            </a:br>
            <a:r>
              <a:rPr lang="ru"/>
              <a:t>To increase bullet level, select your text and press Tab.</a:t>
            </a:r>
            <a:br>
              <a:rPr lang="en-US"/>
            </a:br>
            <a:r>
              <a:rPr lang="ru"/>
              <a:t>To decrease bullet level, select your bullet text and press Shift + Tab. </a:t>
            </a:r>
          </a:p>
          <a:p>
            <a:pPr lvl="1" rtl="0"/>
            <a:r>
              <a:rPr lang="ru"/>
              <a:t>Second level</a:t>
            </a:r>
          </a:p>
          <a:p>
            <a:pPr lvl="2" rtl="0"/>
            <a:r>
              <a:rPr lang="ru"/>
              <a:t>Third level</a:t>
            </a:r>
          </a:p>
          <a:p>
            <a:pPr lvl="3" rtl="0"/>
            <a:r>
              <a:rPr lang="ru"/>
              <a:t>Fourth level</a:t>
            </a:r>
          </a:p>
          <a:p>
            <a:pPr lvl="4" rtl="0"/>
            <a:r>
              <a:rPr lang="ru"/>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rtlCol="0"/>
          <a:lstStyle/>
          <a:p>
            <a:pPr rtl="0"/>
            <a:endParaRPr lang="en-GB" dirty="0"/>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rtlCol="0"/>
          <a:lstStyle/>
          <a:p>
            <a:pPr rtl="0"/>
            <a:fld id="{F8E47D07-9D1E-4FE9-B31A-2F5863681021}" type="slidenum">
              <a:rPr lang="en-GB" smtClean="0"/>
              <a:pPr/>
              <a:t>‹#›</a:t>
            </a:fld>
            <a:endParaRPr lang="en-GB" dirty="0"/>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rtlCol="0" anchor="b" anchorCtr="0">
            <a:noAutofit/>
          </a:bodyPr>
          <a:lstStyle>
            <a:lvl1pPr marL="0" indent="0">
              <a:spcAft>
                <a:spcPts val="0"/>
              </a:spcAft>
              <a:buNone/>
              <a:defRPr sz="800">
                <a:solidFill>
                  <a:srgbClr val="7F7F7F"/>
                </a:solidFill>
              </a:defRPr>
            </a:lvl1pPr>
          </a:lstStyle>
          <a:p>
            <a:pPr lvl="0" rtl="0"/>
            <a:r>
              <a:rPr lang="ru"/>
              <a:t>Footnotes</a:t>
            </a:r>
          </a:p>
        </p:txBody>
      </p:sp>
    </p:spTree>
    <p:custDataLst>
      <p:tags r:id="rId1"/>
    </p:custDataLst>
    <p:extLst>
      <p:ext uri="{BB962C8B-B14F-4D97-AF65-F5344CB8AC3E}">
        <p14:creationId xmlns:p14="http://schemas.microsoft.com/office/powerpoint/2010/main" val="838798910"/>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Slide Range left_Lake">
    <p:spTree>
      <p:nvGrpSpPr>
        <p:cNvPr id="1" name=""/>
        <p:cNvGrpSpPr/>
        <p:nvPr/>
      </p:nvGrpSpPr>
      <p:grpSpPr>
        <a:xfrm>
          <a:off x="0" y="0"/>
          <a:ext cx="0" cy="0"/>
          <a:chOff x="0" y="0"/>
          <a:chExt cx="0" cy="0"/>
        </a:xfrm>
      </p:grpSpPr>
      <p:pic>
        <p:nvPicPr>
          <p:cNvPr id="13" name="Hero Image" descr="A person standing by a body of water&#10;&#10;Description automatically generated with low confidence">
            <a:extLst>
              <a:ext uri="{FF2B5EF4-FFF2-40B4-BE49-F238E27FC236}">
                <a16:creationId xmlns:a16="http://schemas.microsoft.com/office/drawing/2014/main" id="{E2451827-8BCF-4EBF-BFCA-ED174D34E2D2}"/>
              </a:ext>
            </a:extLst>
          </p:cNvPr>
          <p:cNvPicPr>
            <a:picLocks noChangeAspect="1"/>
          </p:cNvPicPr>
          <p:nvPr userDrawn="1"/>
        </p:nvPicPr>
        <p:blipFill rotWithShape="1">
          <a:blip r:embed="rId2"/>
          <a:srcRect l="-5677" t="368" r="5678" b="-1"/>
          <a:stretch/>
        </p:blipFill>
        <p:spPr>
          <a:xfrm>
            <a:off x="0" y="0"/>
            <a:ext cx="12192000" cy="6832780"/>
          </a:xfrm>
          <a:prstGeom prst="rect">
            <a:avLst/>
          </a:prstGeom>
        </p:spPr>
      </p:pic>
      <p:sp>
        <p:nvSpPr>
          <p:cNvPr id="4" name="Angled Panel">
            <a:extLst>
              <a:ext uri="{FF2B5EF4-FFF2-40B4-BE49-F238E27FC236}">
                <a16:creationId xmlns:a16="http://schemas.microsoft.com/office/drawing/2014/main" id="{8583308D-EA38-F609-458F-B967D31E1375}"/>
              </a:ext>
            </a:extLst>
          </p:cNvPr>
          <p:cNvSpPr/>
          <p:nvPr userDrawn="1"/>
        </p:nvSpPr>
        <p:spPr>
          <a:xfrm>
            <a:off x="-213" y="-12788"/>
            <a:ext cx="7694174" cy="6883935"/>
          </a:xfrm>
          <a:custGeom>
            <a:avLst/>
            <a:gdLst>
              <a:gd name="connsiteX0" fmla="*/ 0 w 6370983"/>
              <a:gd name="connsiteY0" fmla="*/ 0 h 6817912"/>
              <a:gd name="connsiteX1" fmla="*/ 6370983 w 6370983"/>
              <a:gd name="connsiteY1" fmla="*/ 0 h 6817912"/>
              <a:gd name="connsiteX2" fmla="*/ 6370983 w 6370983"/>
              <a:gd name="connsiteY2" fmla="*/ 1 h 6817912"/>
              <a:gd name="connsiteX3" fmla="*/ 5978149 w 6370983"/>
              <a:gd name="connsiteY3" fmla="*/ 1 h 6817912"/>
              <a:gd name="connsiteX4" fmla="*/ 4929044 w 6370983"/>
              <a:gd name="connsiteY4" fmla="*/ 6817912 h 6817912"/>
              <a:gd name="connsiteX5" fmla="*/ 0 w 6370983"/>
              <a:gd name="connsiteY5" fmla="*/ 6817912 h 6817912"/>
              <a:gd name="connsiteX0" fmla="*/ 12184566 w 12184566"/>
              <a:gd name="connsiteY0" fmla="*/ 7434 h 6817912"/>
              <a:gd name="connsiteX1" fmla="*/ 6370983 w 12184566"/>
              <a:gd name="connsiteY1" fmla="*/ 0 h 6817912"/>
              <a:gd name="connsiteX2" fmla="*/ 6370983 w 12184566"/>
              <a:gd name="connsiteY2" fmla="*/ 1 h 6817912"/>
              <a:gd name="connsiteX3" fmla="*/ 5978149 w 12184566"/>
              <a:gd name="connsiteY3" fmla="*/ 1 h 6817912"/>
              <a:gd name="connsiteX4" fmla="*/ 4929044 w 12184566"/>
              <a:gd name="connsiteY4" fmla="*/ 6817912 h 6817912"/>
              <a:gd name="connsiteX5" fmla="*/ 0 w 12184566"/>
              <a:gd name="connsiteY5" fmla="*/ 6817912 h 6817912"/>
              <a:gd name="connsiteX6" fmla="*/ 12184566 w 12184566"/>
              <a:gd name="connsiteY6" fmla="*/ 7434 h 6817912"/>
              <a:gd name="connsiteX0" fmla="*/ 7255522 w 7255522"/>
              <a:gd name="connsiteY0" fmla="*/ 7434 h 6832780"/>
              <a:gd name="connsiteX1" fmla="*/ 1441939 w 7255522"/>
              <a:gd name="connsiteY1" fmla="*/ 0 h 6832780"/>
              <a:gd name="connsiteX2" fmla="*/ 1441939 w 7255522"/>
              <a:gd name="connsiteY2" fmla="*/ 1 h 6832780"/>
              <a:gd name="connsiteX3" fmla="*/ 1049105 w 7255522"/>
              <a:gd name="connsiteY3" fmla="*/ 1 h 6832780"/>
              <a:gd name="connsiteX4" fmla="*/ 0 w 7255522"/>
              <a:gd name="connsiteY4" fmla="*/ 6817912 h 6832780"/>
              <a:gd name="connsiteX5" fmla="*/ 7255522 w 7255522"/>
              <a:gd name="connsiteY5" fmla="*/ 6832780 h 6832780"/>
              <a:gd name="connsiteX6" fmla="*/ 7255522 w 7255522"/>
              <a:gd name="connsiteY6" fmla="*/ 7434 h 6832780"/>
              <a:gd name="connsiteX0" fmla="*/ 0 w 12219709"/>
              <a:gd name="connsiteY0" fmla="*/ 0 h 6844530"/>
              <a:gd name="connsiteX1" fmla="*/ 6406126 w 12219709"/>
              <a:gd name="connsiteY1" fmla="*/ 11750 h 6844530"/>
              <a:gd name="connsiteX2" fmla="*/ 6406126 w 12219709"/>
              <a:gd name="connsiteY2" fmla="*/ 11751 h 6844530"/>
              <a:gd name="connsiteX3" fmla="*/ 6013292 w 12219709"/>
              <a:gd name="connsiteY3" fmla="*/ 11751 h 6844530"/>
              <a:gd name="connsiteX4" fmla="*/ 4964187 w 12219709"/>
              <a:gd name="connsiteY4" fmla="*/ 6829662 h 6844530"/>
              <a:gd name="connsiteX5" fmla="*/ 12219709 w 12219709"/>
              <a:gd name="connsiteY5" fmla="*/ 6844530 h 6844530"/>
              <a:gd name="connsiteX6" fmla="*/ 0 w 12219709"/>
              <a:gd name="connsiteY6" fmla="*/ 0 h 6844530"/>
              <a:gd name="connsiteX0" fmla="*/ 0 w 12219709"/>
              <a:gd name="connsiteY0" fmla="*/ 0 h 6844530"/>
              <a:gd name="connsiteX1" fmla="*/ 6406126 w 12219709"/>
              <a:gd name="connsiteY1" fmla="*/ 11750 h 6844530"/>
              <a:gd name="connsiteX2" fmla="*/ 6412521 w 12219709"/>
              <a:gd name="connsiteY2" fmla="*/ 376232 h 6844530"/>
              <a:gd name="connsiteX3" fmla="*/ 6013292 w 12219709"/>
              <a:gd name="connsiteY3" fmla="*/ 11751 h 6844530"/>
              <a:gd name="connsiteX4" fmla="*/ 4964187 w 12219709"/>
              <a:gd name="connsiteY4" fmla="*/ 6829662 h 6844530"/>
              <a:gd name="connsiteX5" fmla="*/ 12219709 w 12219709"/>
              <a:gd name="connsiteY5" fmla="*/ 6844530 h 6844530"/>
              <a:gd name="connsiteX6" fmla="*/ 0 w 12219709"/>
              <a:gd name="connsiteY6" fmla="*/ 0 h 6844530"/>
              <a:gd name="connsiteX0" fmla="*/ 0 w 12219709"/>
              <a:gd name="connsiteY0" fmla="*/ 0 h 6844530"/>
              <a:gd name="connsiteX1" fmla="*/ 6412521 w 12219709"/>
              <a:gd name="connsiteY1" fmla="*/ 376232 h 6844530"/>
              <a:gd name="connsiteX2" fmla="*/ 6013292 w 12219709"/>
              <a:gd name="connsiteY2" fmla="*/ 11751 h 6844530"/>
              <a:gd name="connsiteX3" fmla="*/ 4964187 w 12219709"/>
              <a:gd name="connsiteY3" fmla="*/ 6829662 h 6844530"/>
              <a:gd name="connsiteX4" fmla="*/ 12219709 w 12219709"/>
              <a:gd name="connsiteY4" fmla="*/ 6844530 h 6844530"/>
              <a:gd name="connsiteX5" fmla="*/ 0 w 12219709"/>
              <a:gd name="connsiteY5" fmla="*/ 0 h 6844530"/>
              <a:gd name="connsiteX0" fmla="*/ 0 w 12219709"/>
              <a:gd name="connsiteY0" fmla="*/ 0 h 6844530"/>
              <a:gd name="connsiteX1" fmla="*/ 6013292 w 12219709"/>
              <a:gd name="connsiteY1" fmla="*/ 11751 h 6844530"/>
              <a:gd name="connsiteX2" fmla="*/ 4964187 w 12219709"/>
              <a:gd name="connsiteY2" fmla="*/ 6829662 h 6844530"/>
              <a:gd name="connsiteX3" fmla="*/ 12219709 w 12219709"/>
              <a:gd name="connsiteY3" fmla="*/ 6844530 h 6844530"/>
              <a:gd name="connsiteX4" fmla="*/ 0 w 12219709"/>
              <a:gd name="connsiteY4" fmla="*/ 0 h 6844530"/>
              <a:gd name="connsiteX0" fmla="*/ 0 w 6013292"/>
              <a:gd name="connsiteY0" fmla="*/ 0 h 6882897"/>
              <a:gd name="connsiteX1" fmla="*/ 6013292 w 6013292"/>
              <a:gd name="connsiteY1" fmla="*/ 11751 h 6882897"/>
              <a:gd name="connsiteX2" fmla="*/ 4964187 w 6013292"/>
              <a:gd name="connsiteY2" fmla="*/ 6829662 h 6882897"/>
              <a:gd name="connsiteX3" fmla="*/ 38366 w 6013292"/>
              <a:gd name="connsiteY3" fmla="*/ 6882897 h 6882897"/>
              <a:gd name="connsiteX4" fmla="*/ 0 w 6013292"/>
              <a:gd name="connsiteY4" fmla="*/ 0 h 6882897"/>
              <a:gd name="connsiteX0" fmla="*/ 0 w 6013292"/>
              <a:gd name="connsiteY0" fmla="*/ 0 h 6882897"/>
              <a:gd name="connsiteX1" fmla="*/ 6013292 w 6013292"/>
              <a:gd name="connsiteY1" fmla="*/ 11751 h 6882897"/>
              <a:gd name="connsiteX2" fmla="*/ 4957792 w 6013292"/>
              <a:gd name="connsiteY2" fmla="*/ 6874423 h 6882897"/>
              <a:gd name="connsiteX3" fmla="*/ 38366 w 6013292"/>
              <a:gd name="connsiteY3" fmla="*/ 6882897 h 6882897"/>
              <a:gd name="connsiteX4" fmla="*/ 0 w 6013292"/>
              <a:gd name="connsiteY4" fmla="*/ 0 h 6882897"/>
              <a:gd name="connsiteX0" fmla="*/ 0 w 6013292"/>
              <a:gd name="connsiteY0" fmla="*/ 1038 h 6883935"/>
              <a:gd name="connsiteX1" fmla="*/ 6013292 w 6013292"/>
              <a:gd name="connsiteY1" fmla="*/ 0 h 6883935"/>
              <a:gd name="connsiteX2" fmla="*/ 4957792 w 6013292"/>
              <a:gd name="connsiteY2" fmla="*/ 6875461 h 6883935"/>
              <a:gd name="connsiteX3" fmla="*/ 38366 w 6013292"/>
              <a:gd name="connsiteY3" fmla="*/ 6883935 h 6883935"/>
              <a:gd name="connsiteX4" fmla="*/ 0 w 6013292"/>
              <a:gd name="connsiteY4" fmla="*/ 1038 h 6883935"/>
              <a:gd name="connsiteX0" fmla="*/ 0 w 7694174"/>
              <a:gd name="connsiteY0" fmla="*/ 14485 h 6883935"/>
              <a:gd name="connsiteX1" fmla="*/ 7694174 w 7694174"/>
              <a:gd name="connsiteY1" fmla="*/ 0 h 6883935"/>
              <a:gd name="connsiteX2" fmla="*/ 6638674 w 7694174"/>
              <a:gd name="connsiteY2" fmla="*/ 6875461 h 6883935"/>
              <a:gd name="connsiteX3" fmla="*/ 1719248 w 7694174"/>
              <a:gd name="connsiteY3" fmla="*/ 6883935 h 6883935"/>
              <a:gd name="connsiteX4" fmla="*/ 0 w 7694174"/>
              <a:gd name="connsiteY4" fmla="*/ 14485 h 6883935"/>
              <a:gd name="connsiteX0" fmla="*/ 0 w 7694174"/>
              <a:gd name="connsiteY0" fmla="*/ 14485 h 6883935"/>
              <a:gd name="connsiteX1" fmla="*/ 7694174 w 7694174"/>
              <a:gd name="connsiteY1" fmla="*/ 0 h 6883935"/>
              <a:gd name="connsiteX2" fmla="*/ 6638674 w 7694174"/>
              <a:gd name="connsiteY2" fmla="*/ 6875461 h 6883935"/>
              <a:gd name="connsiteX3" fmla="*/ 4748 w 7694174"/>
              <a:gd name="connsiteY3" fmla="*/ 6883935 h 6883935"/>
              <a:gd name="connsiteX4" fmla="*/ 0 w 7694174"/>
              <a:gd name="connsiteY4" fmla="*/ 14485 h 688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94174" h="6883935">
                <a:moveTo>
                  <a:pt x="0" y="14485"/>
                </a:moveTo>
                <a:lnTo>
                  <a:pt x="7694174" y="0"/>
                </a:lnTo>
                <a:lnTo>
                  <a:pt x="6638674" y="6875461"/>
                </a:lnTo>
                <a:lnTo>
                  <a:pt x="4748" y="6883935"/>
                </a:lnTo>
                <a:cubicBezTo>
                  <a:pt x="3165" y="4594118"/>
                  <a:pt x="1583" y="2304302"/>
                  <a:pt x="0" y="1448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6" name="Base Rule">
            <a:extLst>
              <a:ext uri="{FF2B5EF4-FFF2-40B4-BE49-F238E27FC236}">
                <a16:creationId xmlns:a16="http://schemas.microsoft.com/office/drawing/2014/main" id="{182A7C39-789F-DB4F-AA5D-1CF49F2DA7F4}"/>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9" name="Sub Header">
            <a:extLst>
              <a:ext uri="{FF2B5EF4-FFF2-40B4-BE49-F238E27FC236}">
                <a16:creationId xmlns:a16="http://schemas.microsoft.com/office/drawing/2014/main" id="{E6131759-130E-0949-8DDB-792D467A602F}"/>
              </a:ext>
            </a:extLst>
          </p:cNvPr>
          <p:cNvSpPr>
            <a:spLocks noGrp="1"/>
          </p:cNvSpPr>
          <p:nvPr>
            <p:ph type="body" sz="quarter" idx="10" hasCustomPrompt="1"/>
          </p:nvPr>
        </p:nvSpPr>
        <p:spPr>
          <a:xfrm>
            <a:off x="458545" y="3385693"/>
            <a:ext cx="6033600" cy="1800000"/>
          </a:xfrm>
          <a:prstGeom prst="rect">
            <a:avLst/>
          </a:prstGeom>
        </p:spPr>
        <p:txBody>
          <a:bodyPr wrap="square" lIns="0" bIns="0">
            <a:normAutofit/>
          </a:bodyPr>
          <a:lstStyle>
            <a:lvl1pPr marL="0" indent="0">
              <a:buNone/>
              <a:defRPr sz="2300" i="1">
                <a:solidFill>
                  <a:srgbClr val="004D74"/>
                </a:solidFill>
                <a:latin typeface="Arial" panose="020B0604020202020204" pitchFamily="34" charset="0"/>
                <a:cs typeface="Arial" panose="020B0604020202020204" pitchFamily="34" charset="0"/>
              </a:defRPr>
            </a:lvl1pPr>
            <a:lvl2pPr marL="457189" indent="0">
              <a:buNone/>
              <a:defRPr sz="2300" i="1">
                <a:solidFill>
                  <a:schemeClr val="tx2"/>
                </a:solidFill>
                <a:latin typeface="Arial" panose="020B0604020202020204" pitchFamily="34" charset="0"/>
                <a:cs typeface="Arial" panose="020B0604020202020204" pitchFamily="34" charset="0"/>
              </a:defRPr>
            </a:lvl2pPr>
            <a:lvl3pPr marL="914377" indent="0">
              <a:buNone/>
              <a:defRPr sz="2300" i="1">
                <a:solidFill>
                  <a:schemeClr val="tx2"/>
                </a:solidFill>
                <a:latin typeface="Arial" panose="020B0604020202020204" pitchFamily="34" charset="0"/>
                <a:cs typeface="Arial" panose="020B0604020202020204" pitchFamily="34" charset="0"/>
              </a:defRPr>
            </a:lvl3pPr>
            <a:lvl4pPr marL="1371566" indent="0">
              <a:buNone/>
              <a:defRPr sz="2300" i="1">
                <a:solidFill>
                  <a:schemeClr val="tx2"/>
                </a:solidFill>
                <a:latin typeface="Arial" panose="020B0604020202020204" pitchFamily="34" charset="0"/>
                <a:cs typeface="Arial" panose="020B0604020202020204" pitchFamily="34" charset="0"/>
              </a:defRPr>
            </a:lvl4pPr>
            <a:lvl5pPr marL="1828754" indent="0">
              <a:buNone/>
              <a:defRPr sz="2300" i="1">
                <a:solidFill>
                  <a:schemeClr val="tx2"/>
                </a:solidFill>
                <a:latin typeface="Arial" panose="020B0604020202020204" pitchFamily="34" charset="0"/>
                <a:cs typeface="Arial" panose="020B0604020202020204" pitchFamily="34" charset="0"/>
              </a:defRPr>
            </a:lvl5pPr>
          </a:lstStyle>
          <a:p>
            <a:pPr lvl="0"/>
            <a:r>
              <a:rPr lang="en-US" dirty="0"/>
              <a:t>SUB HEADER</a:t>
            </a:r>
          </a:p>
        </p:txBody>
      </p:sp>
      <p:sp>
        <p:nvSpPr>
          <p:cNvPr id="11" name="Title">
            <a:extLst>
              <a:ext uri="{FF2B5EF4-FFF2-40B4-BE49-F238E27FC236}">
                <a16:creationId xmlns:a16="http://schemas.microsoft.com/office/drawing/2014/main" id="{636DEE4A-4839-3641-BB9D-9B17890E1095}"/>
              </a:ext>
            </a:extLst>
          </p:cNvPr>
          <p:cNvSpPr>
            <a:spLocks noGrp="1"/>
          </p:cNvSpPr>
          <p:nvPr>
            <p:ph type="body" sz="quarter" idx="11" hasCustomPrompt="1"/>
          </p:nvPr>
        </p:nvSpPr>
        <p:spPr>
          <a:xfrm>
            <a:off x="458545" y="1504028"/>
            <a:ext cx="5922000" cy="1800000"/>
          </a:xfrm>
          <a:prstGeom prst="rect">
            <a:avLst/>
          </a:prstGeom>
        </p:spPr>
        <p:txBody>
          <a:bodyPr lIns="0" tIns="46800" rIns="90000" bIns="0" anchor="b">
            <a:normAutofit/>
          </a:bodyPr>
          <a:lstStyle>
            <a:lvl1pPr marL="0" indent="0">
              <a:buFontTx/>
              <a:buNone/>
              <a:defRPr sz="5000" b="1">
                <a:solidFill>
                  <a:srgbClr val="004D74"/>
                </a:solidFill>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dirty="0"/>
              <a:t>Title slide</a:t>
            </a:r>
          </a:p>
        </p:txBody>
      </p:sp>
    </p:spTree>
    <p:extLst>
      <p:ext uri="{BB962C8B-B14F-4D97-AF65-F5344CB8AC3E}">
        <p14:creationId xmlns:p14="http://schemas.microsoft.com/office/powerpoint/2010/main" val="2693059987"/>
      </p:ext>
    </p:extLst>
  </p:cSld>
  <p:clrMapOvr>
    <a:masterClrMapping/>
  </p:clrMapOvr>
  <p:extLst>
    <p:ext uri="{DCECCB84-F9BA-43D5-87BE-67443E8EF086}">
      <p15:sldGuideLst xmlns:p15="http://schemas.microsoft.com/office/powerpoint/2012/main">
        <p15:guide id="1" pos="696">
          <p15:clr>
            <a:srgbClr val="FBAE40"/>
          </p15:clr>
        </p15:guide>
        <p15:guide id="2" pos="3188">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rtlCol="0">
            <a:spAutoFit/>
          </a:bodyPr>
          <a:lstStyle>
            <a:lvl1pPr>
              <a:defRPr/>
            </a:lvl1pPr>
            <a:lvl2pPr marL="576000" indent="-288000">
              <a:defRPr/>
            </a:lvl2pPr>
          </a:lstStyle>
          <a:p>
            <a:pPr lvl="0" rtl="0"/>
            <a:r>
              <a:rPr lang="ru"/>
              <a:t>Click to add text here. </a:t>
            </a:r>
            <a:br>
              <a:rPr lang="en-US"/>
            </a:br>
            <a:r>
              <a:rPr lang="ru"/>
              <a:t>When pasting copy from other slides, be sure to right-click and choose ‘Keep text only’. </a:t>
            </a:r>
            <a:br>
              <a:rPr lang="en-US"/>
            </a:br>
            <a:r>
              <a:rPr lang="ru"/>
              <a:t>To increase bullet level, select your text and press Tab.</a:t>
            </a:r>
            <a:br>
              <a:rPr lang="en-US"/>
            </a:br>
            <a:r>
              <a:rPr lang="ru"/>
              <a:t>To decrease bullet level, select your bullet text and press Shift + Tab. </a:t>
            </a:r>
          </a:p>
          <a:p>
            <a:pPr lvl="1" rtl="0"/>
            <a:r>
              <a:rPr lang="ru"/>
              <a:t>Second level</a:t>
            </a:r>
          </a:p>
          <a:p>
            <a:pPr lvl="2" rtl="0"/>
            <a:r>
              <a:rPr lang="ru"/>
              <a:t>Third level</a:t>
            </a:r>
          </a:p>
          <a:p>
            <a:pPr lvl="3" rtl="0"/>
            <a:r>
              <a:rPr lang="ru"/>
              <a:t>Fourth level</a:t>
            </a:r>
          </a:p>
          <a:p>
            <a:pPr lvl="4" rtl="0"/>
            <a:r>
              <a:rPr lang="ru"/>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rtlCol="0"/>
          <a:lstStyle/>
          <a:p>
            <a:pPr rtl="0"/>
            <a:endParaRPr lang="en-GB" dirty="0"/>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rtlCol="0"/>
          <a:lstStyle/>
          <a:p>
            <a:pPr rtl="0"/>
            <a:fld id="{F8E47D07-9D1E-4FE9-B31A-2F5863681021}" type="slidenum">
              <a:rPr lang="en-GB" smtClean="0"/>
              <a:pPr/>
              <a:t>‹#›</a:t>
            </a:fld>
            <a:endParaRPr lang="en-GB" dirty="0"/>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rtlCol="0" anchor="b" anchorCtr="0">
            <a:noAutofit/>
          </a:bodyPr>
          <a:lstStyle>
            <a:lvl1pPr marL="0" indent="0">
              <a:spcAft>
                <a:spcPts val="0"/>
              </a:spcAft>
              <a:buNone/>
              <a:defRPr sz="800">
                <a:solidFill>
                  <a:srgbClr val="7F7F7F"/>
                </a:solidFill>
              </a:defRPr>
            </a:lvl1pPr>
          </a:lstStyle>
          <a:p>
            <a:pPr lvl="0" rtl="0"/>
            <a:r>
              <a:rPr lang="ru"/>
              <a:t>Footnotes</a:t>
            </a:r>
          </a:p>
        </p:txBody>
      </p:sp>
      <p:sp>
        <p:nvSpPr>
          <p:cNvPr id="3" name="Title 1">
            <a:extLst>
              <a:ext uri="{FF2B5EF4-FFF2-40B4-BE49-F238E27FC236}">
                <a16:creationId xmlns:a16="http://schemas.microsoft.com/office/drawing/2014/main" id="{B81F2044-7AAA-56B0-76DE-145C53F4DF7C}"/>
              </a:ext>
            </a:extLst>
          </p:cNvPr>
          <p:cNvSpPr>
            <a:spLocks noGrp="1"/>
          </p:cNvSpPr>
          <p:nvPr>
            <p:ph type="title" hasCustomPrompt="1"/>
          </p:nvPr>
        </p:nvSpPr>
        <p:spPr>
          <a:xfrm>
            <a:off x="407987" y="404812"/>
            <a:ext cx="11376025" cy="1007427"/>
          </a:xfrm>
        </p:spPr>
        <p:txBody>
          <a:bodyPr rtlCol="0"/>
          <a:lstStyle>
            <a:lvl1pPr>
              <a:defRPr/>
            </a:lvl1pPr>
          </a:lstStyle>
          <a:p>
            <a:pPr rtl="0"/>
            <a:r>
              <a:rPr lang="ru"/>
              <a:t>Click to enter title here</a:t>
            </a:r>
          </a:p>
        </p:txBody>
      </p:sp>
    </p:spTree>
    <p:custDataLst>
      <p:tags r:id="rId1"/>
    </p:custDataLst>
    <p:extLst>
      <p:ext uri="{BB962C8B-B14F-4D97-AF65-F5344CB8AC3E}">
        <p14:creationId xmlns:p14="http://schemas.microsoft.com/office/powerpoint/2010/main" val="1501737704"/>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rtlCol="0">
            <a:spAutoFit/>
          </a:bodyPr>
          <a:lstStyle>
            <a:lvl1pPr>
              <a:defRPr/>
            </a:lvl1pPr>
            <a:lvl2pPr marL="576000" indent="-288000">
              <a:defRPr/>
            </a:lvl2pPr>
          </a:lstStyle>
          <a:p>
            <a:pPr lvl="0" rtl="0"/>
            <a:r>
              <a:rPr lang="ru"/>
              <a:t>Click to add text here. </a:t>
            </a:r>
            <a:br>
              <a:rPr lang="en-US"/>
            </a:br>
            <a:r>
              <a:rPr lang="ru"/>
              <a:t>When pasting copy from other slides, be sure to right-click and choose ‘Keep text only’. </a:t>
            </a:r>
            <a:br>
              <a:rPr lang="en-US"/>
            </a:br>
            <a:r>
              <a:rPr lang="ru"/>
              <a:t>To increase bullet level, select your text and press Tab.</a:t>
            </a:r>
            <a:br>
              <a:rPr lang="en-US"/>
            </a:br>
            <a:r>
              <a:rPr lang="ru"/>
              <a:t>To decrease bullet level, select your bullet text and press Shift + Tab. </a:t>
            </a:r>
          </a:p>
          <a:p>
            <a:pPr lvl="1" rtl="0"/>
            <a:r>
              <a:rPr lang="ru"/>
              <a:t>Second level</a:t>
            </a:r>
          </a:p>
          <a:p>
            <a:pPr lvl="2" rtl="0"/>
            <a:r>
              <a:rPr lang="ru"/>
              <a:t>Third level</a:t>
            </a:r>
          </a:p>
          <a:p>
            <a:pPr lvl="3" rtl="0"/>
            <a:r>
              <a:rPr lang="ru"/>
              <a:t>Fourth level</a:t>
            </a:r>
          </a:p>
          <a:p>
            <a:pPr lvl="4" rtl="0"/>
            <a:r>
              <a:rPr lang="ru"/>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rtlCol="0"/>
          <a:lstStyle/>
          <a:p>
            <a:pPr rtl="0"/>
            <a:endParaRPr lang="en-GB" dirty="0"/>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rtlCol="0"/>
          <a:lstStyle/>
          <a:p>
            <a:pPr rtl="0"/>
            <a:fld id="{F8E47D07-9D1E-4FE9-B31A-2F5863681021}" type="slidenum">
              <a:rPr lang="en-GB" smtClean="0"/>
              <a:pPr/>
              <a:t>‹#›</a:t>
            </a:fld>
            <a:endParaRPr lang="en-GB" dirty="0"/>
          </a:p>
        </p:txBody>
      </p:sp>
      <p:sp>
        <p:nvSpPr>
          <p:cNvPr id="3" name="Title 1">
            <a:extLst>
              <a:ext uri="{FF2B5EF4-FFF2-40B4-BE49-F238E27FC236}">
                <a16:creationId xmlns:a16="http://schemas.microsoft.com/office/drawing/2014/main" id="{FB3D8C6F-FE83-A65D-83ED-4B78A0B2D2C4}"/>
              </a:ext>
            </a:extLst>
          </p:cNvPr>
          <p:cNvSpPr>
            <a:spLocks noGrp="1"/>
          </p:cNvSpPr>
          <p:nvPr>
            <p:ph type="title" hasCustomPrompt="1"/>
          </p:nvPr>
        </p:nvSpPr>
        <p:spPr>
          <a:xfrm>
            <a:off x="407987" y="404812"/>
            <a:ext cx="11376025" cy="1007427"/>
          </a:xfrm>
        </p:spPr>
        <p:txBody>
          <a:bodyPr rtlCol="0"/>
          <a:lstStyle>
            <a:lvl1pPr>
              <a:defRPr/>
            </a:lvl1pPr>
          </a:lstStyle>
          <a:p>
            <a:pPr rtl="0"/>
            <a:r>
              <a:rPr lang="ru"/>
              <a:t>Click to enter title here</a:t>
            </a:r>
          </a:p>
        </p:txBody>
      </p:sp>
      <p:sp>
        <p:nvSpPr>
          <p:cNvPr id="4" name="Text Placeholder 96">
            <a:extLst>
              <a:ext uri="{FF2B5EF4-FFF2-40B4-BE49-F238E27FC236}">
                <a16:creationId xmlns:a16="http://schemas.microsoft.com/office/drawing/2014/main" id="{001215E2-CA1E-48F0-0D87-830979CE716E}"/>
              </a:ext>
            </a:extLst>
          </p:cNvPr>
          <p:cNvSpPr>
            <a:spLocks noGrp="1"/>
          </p:cNvSpPr>
          <p:nvPr>
            <p:ph type="body" sz="quarter" idx="111" hasCustomPrompt="1"/>
          </p:nvPr>
        </p:nvSpPr>
        <p:spPr>
          <a:xfrm>
            <a:off x="407988" y="6200774"/>
            <a:ext cx="9729787" cy="657225"/>
          </a:xfrm>
        </p:spPr>
        <p:txBody>
          <a:bodyPr rtlCol="0" anchor="b" anchorCtr="0">
            <a:noAutofit/>
          </a:bodyPr>
          <a:lstStyle>
            <a:lvl1pPr marL="0" indent="0">
              <a:spcAft>
                <a:spcPts val="0"/>
              </a:spcAft>
              <a:buNone/>
              <a:defRPr sz="800">
                <a:solidFill>
                  <a:srgbClr val="7F7F7F"/>
                </a:solidFill>
              </a:defRPr>
            </a:lvl1pPr>
          </a:lstStyle>
          <a:p>
            <a:pPr lvl="0" rtl="0"/>
            <a:r>
              <a:rPr lang="ru"/>
              <a:t>Footnotes</a:t>
            </a:r>
          </a:p>
        </p:txBody>
      </p:sp>
    </p:spTree>
    <p:custDataLst>
      <p:tags r:id="rId1"/>
    </p:custDataLst>
    <p:extLst>
      <p:ext uri="{BB962C8B-B14F-4D97-AF65-F5344CB8AC3E}">
        <p14:creationId xmlns:p14="http://schemas.microsoft.com/office/powerpoint/2010/main" val="3738471533"/>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rtlCol="0">
            <a:spAutoFit/>
          </a:bodyPr>
          <a:lstStyle>
            <a:lvl1pPr>
              <a:defRPr/>
            </a:lvl1pPr>
            <a:lvl2pPr marL="576000" indent="-288000">
              <a:defRPr/>
            </a:lvl2pPr>
          </a:lstStyle>
          <a:p>
            <a:pPr lvl="0" rtl="0"/>
            <a:r>
              <a:rPr lang="ru"/>
              <a:t>Click to add text here. </a:t>
            </a:r>
            <a:br>
              <a:rPr lang="en-US"/>
            </a:br>
            <a:r>
              <a:rPr lang="ru"/>
              <a:t>When pasting copy from other slides, be sure to right-click and choose ‘Keep text only’. </a:t>
            </a:r>
            <a:br>
              <a:rPr lang="en-US"/>
            </a:br>
            <a:r>
              <a:rPr lang="ru"/>
              <a:t>To increase bullet level, select your text and press Tab.</a:t>
            </a:r>
            <a:br>
              <a:rPr lang="en-US"/>
            </a:br>
            <a:r>
              <a:rPr lang="ru"/>
              <a:t>To decrease bullet level, select your bullet text and press Shift + Tab. </a:t>
            </a:r>
          </a:p>
          <a:p>
            <a:pPr lvl="1" rtl="0"/>
            <a:r>
              <a:rPr lang="ru"/>
              <a:t>Second level</a:t>
            </a:r>
          </a:p>
          <a:p>
            <a:pPr lvl="2" rtl="0"/>
            <a:r>
              <a:rPr lang="ru"/>
              <a:t>Third level</a:t>
            </a:r>
          </a:p>
          <a:p>
            <a:pPr lvl="3" rtl="0"/>
            <a:r>
              <a:rPr lang="ru"/>
              <a:t>Fourth level</a:t>
            </a:r>
          </a:p>
          <a:p>
            <a:pPr lvl="4" rtl="0"/>
            <a:r>
              <a:rPr lang="ru"/>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rtlCol="0"/>
          <a:lstStyle/>
          <a:p>
            <a:pPr rtl="0"/>
            <a:endParaRPr lang="en-GB" dirty="0"/>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rtlCol="0"/>
          <a:lstStyle/>
          <a:p>
            <a:pPr rtl="0"/>
            <a:fld id="{F8E47D07-9D1E-4FE9-B31A-2F5863681021}" type="slidenum">
              <a:rPr lang="en-GB" smtClean="0"/>
              <a:pPr/>
              <a:t>‹#›</a:t>
            </a:fld>
            <a:endParaRPr lang="en-GB" dirty="0"/>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rtlCol="0" anchor="b" anchorCtr="0">
            <a:noAutofit/>
          </a:bodyPr>
          <a:lstStyle>
            <a:lvl1pPr marL="0" indent="0">
              <a:spcAft>
                <a:spcPts val="0"/>
              </a:spcAft>
              <a:buNone/>
              <a:defRPr sz="800">
                <a:solidFill>
                  <a:srgbClr val="7F7F7F"/>
                </a:solidFill>
              </a:defRPr>
            </a:lvl1pPr>
          </a:lstStyle>
          <a:p>
            <a:pPr lvl="0" rtl="0"/>
            <a:r>
              <a:rPr lang="ru"/>
              <a:t>Footnotes</a:t>
            </a:r>
          </a:p>
        </p:txBody>
      </p:sp>
      <p:sp>
        <p:nvSpPr>
          <p:cNvPr id="3" name="Title 1">
            <a:extLst>
              <a:ext uri="{FF2B5EF4-FFF2-40B4-BE49-F238E27FC236}">
                <a16:creationId xmlns:a16="http://schemas.microsoft.com/office/drawing/2014/main" id="{6D95EF47-6638-4BAE-71AF-A88624BD5E53}"/>
              </a:ext>
            </a:extLst>
          </p:cNvPr>
          <p:cNvSpPr>
            <a:spLocks noGrp="1"/>
          </p:cNvSpPr>
          <p:nvPr>
            <p:ph type="title" hasCustomPrompt="1"/>
          </p:nvPr>
        </p:nvSpPr>
        <p:spPr>
          <a:xfrm>
            <a:off x="407987" y="404812"/>
            <a:ext cx="11376025" cy="1007427"/>
          </a:xfrm>
        </p:spPr>
        <p:txBody>
          <a:bodyPr rtlCol="0"/>
          <a:lstStyle>
            <a:lvl1pPr>
              <a:defRPr/>
            </a:lvl1pPr>
          </a:lstStyle>
          <a:p>
            <a:pPr rtl="0"/>
            <a:r>
              <a:rPr lang="ru"/>
              <a:t>Click to enter title here</a:t>
            </a:r>
          </a:p>
        </p:txBody>
      </p:sp>
    </p:spTree>
    <p:custDataLst>
      <p:tags r:id="rId1"/>
    </p:custDataLst>
    <p:extLst>
      <p:ext uri="{BB962C8B-B14F-4D97-AF65-F5344CB8AC3E}">
        <p14:creationId xmlns:p14="http://schemas.microsoft.com/office/powerpoint/2010/main" val="77711412"/>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rtlCol="0">
            <a:spAutoFit/>
          </a:bodyPr>
          <a:lstStyle>
            <a:lvl1pPr>
              <a:defRPr/>
            </a:lvl1pPr>
            <a:lvl2pPr marL="576000" indent="-288000">
              <a:defRPr/>
            </a:lvl2pPr>
          </a:lstStyle>
          <a:p>
            <a:pPr lvl="0" rtl="0"/>
            <a:r>
              <a:rPr lang="ru"/>
              <a:t>Click to add text here. </a:t>
            </a:r>
            <a:br>
              <a:rPr lang="en-US"/>
            </a:br>
            <a:r>
              <a:rPr lang="ru"/>
              <a:t>When pasting copy from other slides, be sure to right-click and choose ‘Keep text only’. </a:t>
            </a:r>
            <a:br>
              <a:rPr lang="en-US"/>
            </a:br>
            <a:r>
              <a:rPr lang="ru"/>
              <a:t>To increase bullet level, select your text and press Tab.</a:t>
            </a:r>
            <a:br>
              <a:rPr lang="en-US"/>
            </a:br>
            <a:r>
              <a:rPr lang="ru"/>
              <a:t>To decrease bullet level, select your bullet text and press Shift + Tab. </a:t>
            </a:r>
          </a:p>
          <a:p>
            <a:pPr lvl="1" rtl="0"/>
            <a:r>
              <a:rPr lang="ru"/>
              <a:t>Second level</a:t>
            </a:r>
          </a:p>
          <a:p>
            <a:pPr lvl="2" rtl="0"/>
            <a:r>
              <a:rPr lang="ru"/>
              <a:t>Third level</a:t>
            </a:r>
          </a:p>
          <a:p>
            <a:pPr lvl="3" rtl="0"/>
            <a:r>
              <a:rPr lang="ru"/>
              <a:t>Fourth level</a:t>
            </a:r>
          </a:p>
          <a:p>
            <a:pPr lvl="4" rtl="0"/>
            <a:r>
              <a:rPr lang="ru"/>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rtlCol="0"/>
          <a:lstStyle/>
          <a:p>
            <a:pPr rtl="0"/>
            <a:endParaRPr lang="en-GB" dirty="0"/>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rtlCol="0"/>
          <a:lstStyle/>
          <a:p>
            <a:pPr rtl="0"/>
            <a:fld id="{F8E47D07-9D1E-4FE9-B31A-2F5863681021}" type="slidenum">
              <a:rPr lang="en-GB" smtClean="0"/>
              <a:pPr/>
              <a:t>‹#›</a:t>
            </a:fld>
            <a:endParaRPr lang="en-GB" dirty="0"/>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rtlCol="0" anchor="b" anchorCtr="0">
            <a:noAutofit/>
          </a:bodyPr>
          <a:lstStyle>
            <a:lvl1pPr marL="0" indent="0">
              <a:spcAft>
                <a:spcPts val="0"/>
              </a:spcAft>
              <a:buNone/>
              <a:defRPr sz="800">
                <a:solidFill>
                  <a:srgbClr val="7F7F7F"/>
                </a:solidFill>
              </a:defRPr>
            </a:lvl1pPr>
          </a:lstStyle>
          <a:p>
            <a:pPr lvl="0" rtl="0"/>
            <a:r>
              <a:rPr lang="ru"/>
              <a:t>Footnotes</a:t>
            </a:r>
          </a:p>
        </p:txBody>
      </p:sp>
      <p:sp>
        <p:nvSpPr>
          <p:cNvPr id="3" name="Title 1">
            <a:extLst>
              <a:ext uri="{FF2B5EF4-FFF2-40B4-BE49-F238E27FC236}">
                <a16:creationId xmlns:a16="http://schemas.microsoft.com/office/drawing/2014/main" id="{3BFDAAD6-F106-863A-5B76-C74E7701DF1D}"/>
              </a:ext>
            </a:extLst>
          </p:cNvPr>
          <p:cNvSpPr>
            <a:spLocks noGrp="1"/>
          </p:cNvSpPr>
          <p:nvPr>
            <p:ph type="title" hasCustomPrompt="1"/>
          </p:nvPr>
        </p:nvSpPr>
        <p:spPr>
          <a:xfrm>
            <a:off x="407987" y="404812"/>
            <a:ext cx="11376025" cy="1007427"/>
          </a:xfrm>
        </p:spPr>
        <p:txBody>
          <a:bodyPr rtlCol="0"/>
          <a:lstStyle>
            <a:lvl1pPr>
              <a:defRPr/>
            </a:lvl1pPr>
          </a:lstStyle>
          <a:p>
            <a:pPr rtl="0"/>
            <a:r>
              <a:rPr lang="ru"/>
              <a:t>Click to enter title here</a:t>
            </a:r>
          </a:p>
        </p:txBody>
      </p:sp>
    </p:spTree>
    <p:custDataLst>
      <p:tags r:id="rId1"/>
    </p:custDataLst>
    <p:extLst>
      <p:ext uri="{BB962C8B-B14F-4D97-AF65-F5344CB8AC3E}">
        <p14:creationId xmlns:p14="http://schemas.microsoft.com/office/powerpoint/2010/main" val="3529158673"/>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rtlCol="0">
            <a:spAutoFit/>
          </a:bodyPr>
          <a:lstStyle>
            <a:lvl1pPr>
              <a:defRPr/>
            </a:lvl1pPr>
            <a:lvl2pPr marL="576000" indent="-288000">
              <a:defRPr/>
            </a:lvl2pPr>
          </a:lstStyle>
          <a:p>
            <a:pPr lvl="0" rtl="0"/>
            <a:r>
              <a:rPr lang="ru"/>
              <a:t>Click to add text here. </a:t>
            </a:r>
            <a:br>
              <a:rPr lang="en-US"/>
            </a:br>
            <a:r>
              <a:rPr lang="ru"/>
              <a:t>When pasting copy from other slides, be sure to right-click and choose ‘Keep text only’. </a:t>
            </a:r>
            <a:br>
              <a:rPr lang="en-US"/>
            </a:br>
            <a:r>
              <a:rPr lang="ru"/>
              <a:t>To increase bullet level, select your text and press Tab.</a:t>
            </a:r>
            <a:br>
              <a:rPr lang="en-US"/>
            </a:br>
            <a:r>
              <a:rPr lang="ru"/>
              <a:t>To decrease bullet level, select your bullet text and press Shift + Tab. </a:t>
            </a:r>
          </a:p>
          <a:p>
            <a:pPr lvl="1" rtl="0"/>
            <a:r>
              <a:rPr lang="ru"/>
              <a:t>Second level</a:t>
            </a:r>
          </a:p>
          <a:p>
            <a:pPr lvl="2" rtl="0"/>
            <a:r>
              <a:rPr lang="ru"/>
              <a:t>Third level</a:t>
            </a:r>
          </a:p>
          <a:p>
            <a:pPr lvl="3" rtl="0"/>
            <a:r>
              <a:rPr lang="ru"/>
              <a:t>Fourth level</a:t>
            </a:r>
          </a:p>
          <a:p>
            <a:pPr lvl="4" rtl="0"/>
            <a:r>
              <a:rPr lang="ru"/>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rtlCol="0"/>
          <a:lstStyle/>
          <a:p>
            <a:pPr rtl="0"/>
            <a:endParaRPr lang="en-GB" dirty="0"/>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rtlCol="0"/>
          <a:lstStyle/>
          <a:p>
            <a:pPr rtl="0"/>
            <a:fld id="{F8E47D07-9D1E-4FE9-B31A-2F5863681021}" type="slidenum">
              <a:rPr lang="en-GB" smtClean="0"/>
              <a:pPr/>
              <a:t>‹#›</a:t>
            </a:fld>
            <a:endParaRPr lang="en-GB" dirty="0"/>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rtlCol="0" anchor="b" anchorCtr="0">
            <a:noAutofit/>
          </a:bodyPr>
          <a:lstStyle>
            <a:lvl1pPr marL="0" indent="0">
              <a:spcAft>
                <a:spcPts val="0"/>
              </a:spcAft>
              <a:buNone/>
              <a:defRPr sz="800">
                <a:solidFill>
                  <a:srgbClr val="7F7F7F"/>
                </a:solidFill>
              </a:defRPr>
            </a:lvl1pPr>
          </a:lstStyle>
          <a:p>
            <a:pPr lvl="0" rtl="0"/>
            <a:r>
              <a:rPr lang="ru"/>
              <a:t>Footnotes</a:t>
            </a:r>
          </a:p>
        </p:txBody>
      </p:sp>
      <p:sp>
        <p:nvSpPr>
          <p:cNvPr id="3" name="Title 1">
            <a:extLst>
              <a:ext uri="{FF2B5EF4-FFF2-40B4-BE49-F238E27FC236}">
                <a16:creationId xmlns:a16="http://schemas.microsoft.com/office/drawing/2014/main" id="{D3314897-52E8-1395-6584-2F4D65BE15B6}"/>
              </a:ext>
            </a:extLst>
          </p:cNvPr>
          <p:cNvSpPr>
            <a:spLocks noGrp="1"/>
          </p:cNvSpPr>
          <p:nvPr>
            <p:ph type="title" hasCustomPrompt="1"/>
          </p:nvPr>
        </p:nvSpPr>
        <p:spPr>
          <a:xfrm>
            <a:off x="407987" y="404812"/>
            <a:ext cx="11376025" cy="1007427"/>
          </a:xfrm>
        </p:spPr>
        <p:txBody>
          <a:bodyPr rtlCol="0"/>
          <a:lstStyle>
            <a:lvl1pPr>
              <a:defRPr/>
            </a:lvl1pPr>
          </a:lstStyle>
          <a:p>
            <a:pPr rtl="0"/>
            <a:r>
              <a:rPr lang="ru"/>
              <a:t>Click to enter title here</a:t>
            </a:r>
          </a:p>
        </p:txBody>
      </p:sp>
    </p:spTree>
    <p:custDataLst>
      <p:tags r:id="rId1"/>
    </p:custDataLst>
    <p:extLst>
      <p:ext uri="{BB962C8B-B14F-4D97-AF65-F5344CB8AC3E}">
        <p14:creationId xmlns:p14="http://schemas.microsoft.com/office/powerpoint/2010/main" val="2128351451"/>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rtlCol="0">
            <a:spAutoFit/>
          </a:bodyPr>
          <a:lstStyle>
            <a:lvl1pPr>
              <a:defRPr/>
            </a:lvl1pPr>
            <a:lvl2pPr marL="576000" indent="-288000">
              <a:defRPr/>
            </a:lvl2pPr>
          </a:lstStyle>
          <a:p>
            <a:pPr lvl="0" rtl="0"/>
            <a:r>
              <a:rPr lang="ru"/>
              <a:t>Click to add text here. </a:t>
            </a:r>
            <a:br>
              <a:rPr lang="en-US"/>
            </a:br>
            <a:r>
              <a:rPr lang="ru"/>
              <a:t>When pasting copy from other slides, be sure to right-click and choose ‘Keep text only’. </a:t>
            </a:r>
            <a:br>
              <a:rPr lang="en-US"/>
            </a:br>
            <a:r>
              <a:rPr lang="ru"/>
              <a:t>To increase bullet level, select your text and press Tab.</a:t>
            </a:r>
            <a:br>
              <a:rPr lang="en-US"/>
            </a:br>
            <a:r>
              <a:rPr lang="ru"/>
              <a:t>To decrease bullet level, select your bullet text and press Shift + Tab. </a:t>
            </a:r>
          </a:p>
          <a:p>
            <a:pPr lvl="1" rtl="0"/>
            <a:r>
              <a:rPr lang="ru"/>
              <a:t>Second level</a:t>
            </a:r>
          </a:p>
          <a:p>
            <a:pPr lvl="2" rtl="0"/>
            <a:r>
              <a:rPr lang="ru"/>
              <a:t>Third level</a:t>
            </a:r>
          </a:p>
          <a:p>
            <a:pPr lvl="3" rtl="0"/>
            <a:r>
              <a:rPr lang="ru"/>
              <a:t>Fourth level</a:t>
            </a:r>
          </a:p>
          <a:p>
            <a:pPr lvl="4" rtl="0"/>
            <a:r>
              <a:rPr lang="ru"/>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rtlCol="0" anchor="b" anchorCtr="0">
            <a:noAutofit/>
          </a:bodyPr>
          <a:lstStyle>
            <a:lvl1pPr marL="0" indent="0">
              <a:spcAft>
                <a:spcPts val="0"/>
              </a:spcAft>
              <a:buNone/>
              <a:defRPr sz="800">
                <a:solidFill>
                  <a:srgbClr val="7F7F7F"/>
                </a:solidFill>
              </a:defRPr>
            </a:lvl1pPr>
          </a:lstStyle>
          <a:p>
            <a:pPr lvl="0" rtl="0"/>
            <a:r>
              <a:rPr lang="ru"/>
              <a:t>Footnotes</a:t>
            </a:r>
          </a:p>
        </p:txBody>
      </p:sp>
      <p:sp>
        <p:nvSpPr>
          <p:cNvPr id="3" name="Title 1">
            <a:extLst>
              <a:ext uri="{FF2B5EF4-FFF2-40B4-BE49-F238E27FC236}">
                <a16:creationId xmlns:a16="http://schemas.microsoft.com/office/drawing/2014/main" id="{DB26520F-ECCA-A8D1-F311-543EEBB0E9A5}"/>
              </a:ext>
            </a:extLst>
          </p:cNvPr>
          <p:cNvSpPr>
            <a:spLocks noGrp="1"/>
          </p:cNvSpPr>
          <p:nvPr>
            <p:ph type="title" hasCustomPrompt="1"/>
          </p:nvPr>
        </p:nvSpPr>
        <p:spPr>
          <a:xfrm>
            <a:off x="407987" y="404812"/>
            <a:ext cx="11376025" cy="1007427"/>
          </a:xfrm>
        </p:spPr>
        <p:txBody>
          <a:bodyPr rtlCol="0"/>
          <a:lstStyle>
            <a:lvl1pPr>
              <a:defRPr/>
            </a:lvl1pPr>
          </a:lstStyle>
          <a:p>
            <a:pPr rtl="0"/>
            <a:r>
              <a:rPr lang="ru"/>
              <a:t>Click to enter title here</a:t>
            </a:r>
          </a:p>
        </p:txBody>
      </p:sp>
    </p:spTree>
    <p:custDataLst>
      <p:tags r:id="rId1"/>
    </p:custDataLst>
    <p:extLst>
      <p:ext uri="{BB962C8B-B14F-4D97-AF65-F5344CB8AC3E}">
        <p14:creationId xmlns:p14="http://schemas.microsoft.com/office/powerpoint/2010/main" val="3068112016"/>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rtlCol="0">
            <a:spAutoFit/>
          </a:bodyPr>
          <a:lstStyle>
            <a:lvl1pPr>
              <a:defRPr/>
            </a:lvl1pPr>
            <a:lvl2pPr marL="576000" indent="-288000">
              <a:defRPr/>
            </a:lvl2pPr>
          </a:lstStyle>
          <a:p>
            <a:pPr lvl="0" rtl="0"/>
            <a:r>
              <a:rPr lang="ru"/>
              <a:t>Click to add text here. </a:t>
            </a:r>
            <a:br>
              <a:rPr lang="en-US"/>
            </a:br>
            <a:r>
              <a:rPr lang="ru"/>
              <a:t>When pasting copy from other slides, be sure to right-click and choose ‘Keep text only’. </a:t>
            </a:r>
            <a:br>
              <a:rPr lang="en-US"/>
            </a:br>
            <a:r>
              <a:rPr lang="ru"/>
              <a:t>To increase bullet level, select your text and press Tab.</a:t>
            </a:r>
            <a:br>
              <a:rPr lang="en-US"/>
            </a:br>
            <a:r>
              <a:rPr lang="ru"/>
              <a:t>To decrease bullet level, select your bullet text and press Shift + Tab. </a:t>
            </a:r>
          </a:p>
          <a:p>
            <a:pPr lvl="1" rtl="0"/>
            <a:r>
              <a:rPr lang="ru"/>
              <a:t>Second level</a:t>
            </a:r>
          </a:p>
          <a:p>
            <a:pPr lvl="2" rtl="0"/>
            <a:r>
              <a:rPr lang="ru"/>
              <a:t>Third level</a:t>
            </a:r>
          </a:p>
          <a:p>
            <a:pPr lvl="3" rtl="0"/>
            <a:r>
              <a:rPr lang="ru"/>
              <a:t>Fourth level</a:t>
            </a:r>
          </a:p>
          <a:p>
            <a:pPr lvl="4" rtl="0"/>
            <a:r>
              <a:rPr lang="ru"/>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rtlCol="0"/>
          <a:lstStyle/>
          <a:p>
            <a:pPr rtl="0"/>
            <a:endParaRPr lang="en-GB" dirty="0"/>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rtlCol="0"/>
          <a:lstStyle/>
          <a:p>
            <a:pPr rtl="0"/>
            <a:fld id="{F8E47D07-9D1E-4FE9-B31A-2F5863681021}" type="slidenum">
              <a:rPr lang="en-GB" smtClean="0"/>
              <a:pPr/>
              <a:t>‹#›</a:t>
            </a:fld>
            <a:endParaRPr lang="en-GB" dirty="0"/>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rtlCol="0" anchor="b" anchorCtr="0">
            <a:noAutofit/>
          </a:bodyPr>
          <a:lstStyle>
            <a:lvl1pPr marL="0" indent="0">
              <a:spcAft>
                <a:spcPts val="0"/>
              </a:spcAft>
              <a:buNone/>
              <a:defRPr sz="800">
                <a:solidFill>
                  <a:srgbClr val="7F7F7F"/>
                </a:solidFill>
              </a:defRPr>
            </a:lvl1pPr>
          </a:lstStyle>
          <a:p>
            <a:pPr lvl="0" rtl="0"/>
            <a:r>
              <a:rPr lang="ru"/>
              <a:t>Footnotes</a:t>
            </a:r>
          </a:p>
        </p:txBody>
      </p:sp>
      <p:sp>
        <p:nvSpPr>
          <p:cNvPr id="3" name="Title 1">
            <a:extLst>
              <a:ext uri="{FF2B5EF4-FFF2-40B4-BE49-F238E27FC236}">
                <a16:creationId xmlns:a16="http://schemas.microsoft.com/office/drawing/2014/main" id="{AEFF892D-EB44-9D07-D143-A11D8B95B95B}"/>
              </a:ext>
            </a:extLst>
          </p:cNvPr>
          <p:cNvSpPr>
            <a:spLocks noGrp="1"/>
          </p:cNvSpPr>
          <p:nvPr>
            <p:ph type="title" hasCustomPrompt="1"/>
          </p:nvPr>
        </p:nvSpPr>
        <p:spPr>
          <a:xfrm>
            <a:off x="407987" y="404812"/>
            <a:ext cx="11376025" cy="1007427"/>
          </a:xfrm>
        </p:spPr>
        <p:txBody>
          <a:bodyPr rtlCol="0"/>
          <a:lstStyle>
            <a:lvl1pPr>
              <a:defRPr/>
            </a:lvl1pPr>
          </a:lstStyle>
          <a:p>
            <a:pPr rtl="0"/>
            <a:r>
              <a:rPr lang="ru"/>
              <a:t>Click to enter title here</a:t>
            </a:r>
          </a:p>
        </p:txBody>
      </p:sp>
    </p:spTree>
    <p:custDataLst>
      <p:tags r:id="rId1"/>
    </p:custDataLst>
    <p:extLst>
      <p:ext uri="{BB962C8B-B14F-4D97-AF65-F5344CB8AC3E}">
        <p14:creationId xmlns:p14="http://schemas.microsoft.com/office/powerpoint/2010/main" val="3731096415"/>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rtlCol="0">
            <a:spAutoFit/>
          </a:bodyPr>
          <a:lstStyle>
            <a:lvl1pPr>
              <a:defRPr/>
            </a:lvl1pPr>
            <a:lvl2pPr marL="576000" indent="-288000">
              <a:defRPr/>
            </a:lvl2pPr>
          </a:lstStyle>
          <a:p>
            <a:pPr lvl="0" rtl="0"/>
            <a:r>
              <a:rPr lang="ru"/>
              <a:t>Click to add text here. </a:t>
            </a:r>
            <a:br>
              <a:rPr lang="en-US"/>
            </a:br>
            <a:r>
              <a:rPr lang="ru"/>
              <a:t>When pasting copy from other slides, be sure to right-click and choose ‘Keep text only’. </a:t>
            </a:r>
            <a:br>
              <a:rPr lang="en-US"/>
            </a:br>
            <a:r>
              <a:rPr lang="ru"/>
              <a:t>To increase bullet level, select your text and press Tab.</a:t>
            </a:r>
            <a:br>
              <a:rPr lang="en-US"/>
            </a:br>
            <a:r>
              <a:rPr lang="ru"/>
              <a:t>To decrease bullet level, select your bullet text and press Shift + Tab. </a:t>
            </a:r>
          </a:p>
          <a:p>
            <a:pPr lvl="1" rtl="0"/>
            <a:r>
              <a:rPr lang="ru"/>
              <a:t>Second level</a:t>
            </a:r>
          </a:p>
          <a:p>
            <a:pPr lvl="2" rtl="0"/>
            <a:r>
              <a:rPr lang="ru"/>
              <a:t>Third level</a:t>
            </a:r>
          </a:p>
          <a:p>
            <a:pPr lvl="3" rtl="0"/>
            <a:r>
              <a:rPr lang="ru"/>
              <a:t>Fourth level</a:t>
            </a:r>
          </a:p>
          <a:p>
            <a:pPr lvl="4" rtl="0"/>
            <a:r>
              <a:rPr lang="ru"/>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rtlCol="0"/>
          <a:lstStyle/>
          <a:p>
            <a:pPr rtl="0"/>
            <a:endParaRPr lang="en-GB" dirty="0"/>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rtlCol="0"/>
          <a:lstStyle/>
          <a:p>
            <a:pPr rtl="0"/>
            <a:fld id="{F8E47D07-9D1E-4FE9-B31A-2F5863681021}" type="slidenum">
              <a:rPr lang="en-GB" smtClean="0"/>
              <a:pPr/>
              <a:t>‹#›</a:t>
            </a:fld>
            <a:endParaRPr lang="en-GB" dirty="0"/>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rtlCol="0" anchor="b" anchorCtr="0">
            <a:noAutofit/>
          </a:bodyPr>
          <a:lstStyle>
            <a:lvl1pPr marL="0" indent="0">
              <a:spcAft>
                <a:spcPts val="0"/>
              </a:spcAft>
              <a:buNone/>
              <a:defRPr sz="800">
                <a:solidFill>
                  <a:srgbClr val="7F7F7F"/>
                </a:solidFill>
              </a:defRPr>
            </a:lvl1pPr>
          </a:lstStyle>
          <a:p>
            <a:pPr lvl="0" rtl="0"/>
            <a:r>
              <a:rPr lang="ru"/>
              <a:t>Footnotes</a:t>
            </a:r>
          </a:p>
        </p:txBody>
      </p:sp>
      <p:sp>
        <p:nvSpPr>
          <p:cNvPr id="3" name="Title 1">
            <a:extLst>
              <a:ext uri="{FF2B5EF4-FFF2-40B4-BE49-F238E27FC236}">
                <a16:creationId xmlns:a16="http://schemas.microsoft.com/office/drawing/2014/main" id="{DE2D61FD-5DB0-EC95-BEEE-1BB56B428818}"/>
              </a:ext>
            </a:extLst>
          </p:cNvPr>
          <p:cNvSpPr>
            <a:spLocks noGrp="1"/>
          </p:cNvSpPr>
          <p:nvPr>
            <p:ph type="title" hasCustomPrompt="1"/>
          </p:nvPr>
        </p:nvSpPr>
        <p:spPr>
          <a:xfrm>
            <a:off x="407987" y="404812"/>
            <a:ext cx="11376025" cy="1007427"/>
          </a:xfrm>
        </p:spPr>
        <p:txBody>
          <a:bodyPr rtlCol="0"/>
          <a:lstStyle>
            <a:lvl1pPr>
              <a:defRPr/>
            </a:lvl1pPr>
          </a:lstStyle>
          <a:p>
            <a:pPr rtl="0"/>
            <a:r>
              <a:rPr lang="ru"/>
              <a:t>Click to enter title here</a:t>
            </a:r>
          </a:p>
        </p:txBody>
      </p:sp>
    </p:spTree>
    <p:custDataLst>
      <p:tags r:id="rId1"/>
    </p:custDataLst>
    <p:extLst>
      <p:ext uri="{BB962C8B-B14F-4D97-AF65-F5344CB8AC3E}">
        <p14:creationId xmlns:p14="http://schemas.microsoft.com/office/powerpoint/2010/main" val="484398566"/>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in Len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D0FA13F-5B1F-4795-B0E7-3E97B5D8E071}"/>
              </a:ext>
            </a:extLst>
          </p:cNvPr>
          <p:cNvSpPr>
            <a:spLocks noGrp="1"/>
          </p:cNvSpPr>
          <p:nvPr>
            <p:ph type="title" hasCustomPrompt="1"/>
          </p:nvPr>
        </p:nvSpPr>
        <p:spPr>
          <a:xfrm>
            <a:off x="1" y="-1"/>
            <a:ext cx="3875391" cy="4330700"/>
          </a:xfrm>
          <a:custGeom>
            <a:avLst/>
            <a:gdLst>
              <a:gd name="connsiteX0" fmla="*/ 417122 w 3875391"/>
              <a:gd name="connsiteY0" fmla="*/ 0 h 4330700"/>
              <a:gd name="connsiteX1" fmla="*/ 2700571 w 3875391"/>
              <a:gd name="connsiteY1" fmla="*/ 0 h 4330700"/>
              <a:gd name="connsiteX2" fmla="*/ 2854048 w 3875391"/>
              <a:gd name="connsiteY2" fmla="*/ 93240 h 4330700"/>
              <a:gd name="connsiteX3" fmla="*/ 3875391 w 3875391"/>
              <a:gd name="connsiteY3" fmla="*/ 2014156 h 4330700"/>
              <a:gd name="connsiteX4" fmla="*/ 3479762 w 3875391"/>
              <a:gd name="connsiteY4" fmla="*/ 3309358 h 4330700"/>
              <a:gd name="connsiteX5" fmla="*/ 3457575 w 3875391"/>
              <a:gd name="connsiteY5" fmla="*/ 3339027 h 4330700"/>
              <a:gd name="connsiteX6" fmla="*/ 3457575 w 3875391"/>
              <a:gd name="connsiteY6" fmla="*/ 3343274 h 4330700"/>
              <a:gd name="connsiteX7" fmla="*/ 3454399 w 3875391"/>
              <a:gd name="connsiteY7" fmla="*/ 3343274 h 4330700"/>
              <a:gd name="connsiteX8" fmla="*/ 3346405 w 3875391"/>
              <a:gd name="connsiteY8" fmla="*/ 3487693 h 4330700"/>
              <a:gd name="connsiteX9" fmla="*/ 1558846 w 3875391"/>
              <a:gd name="connsiteY9" fmla="*/ 4330700 h 4330700"/>
              <a:gd name="connsiteX10" fmla="*/ 85309 w 3875391"/>
              <a:gd name="connsiteY10" fmla="*/ 3801714 h 4330700"/>
              <a:gd name="connsiteX11" fmla="*/ 0 w 3875391"/>
              <a:gd name="connsiteY11" fmla="*/ 3724180 h 4330700"/>
              <a:gd name="connsiteX12" fmla="*/ 0 w 3875391"/>
              <a:gd name="connsiteY12" fmla="*/ 304131 h 4330700"/>
              <a:gd name="connsiteX13" fmla="*/ 85309 w 3875391"/>
              <a:gd name="connsiteY13" fmla="*/ 226597 h 4330700"/>
              <a:gd name="connsiteX14" fmla="*/ 263644 w 3875391"/>
              <a:gd name="connsiteY14" fmla="*/ 93240 h 433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75391" h="4330700">
                <a:moveTo>
                  <a:pt x="417122" y="0"/>
                </a:moveTo>
                <a:lnTo>
                  <a:pt x="2700571" y="0"/>
                </a:lnTo>
                <a:lnTo>
                  <a:pt x="2854048" y="93240"/>
                </a:lnTo>
                <a:cubicBezTo>
                  <a:pt x="3470253" y="509540"/>
                  <a:pt x="3875391" y="1214535"/>
                  <a:pt x="3875391" y="2014156"/>
                </a:cubicBezTo>
                <a:cubicBezTo>
                  <a:pt x="3875391" y="2493928"/>
                  <a:pt x="3729542" y="2939635"/>
                  <a:pt x="3479762" y="3309358"/>
                </a:cubicBezTo>
                <a:lnTo>
                  <a:pt x="3457575" y="3339027"/>
                </a:lnTo>
                <a:lnTo>
                  <a:pt x="3457575" y="3343274"/>
                </a:lnTo>
                <a:lnTo>
                  <a:pt x="3454399" y="3343274"/>
                </a:lnTo>
                <a:lnTo>
                  <a:pt x="3346405" y="3487693"/>
                </a:lnTo>
                <a:cubicBezTo>
                  <a:pt x="2921516" y="4002539"/>
                  <a:pt x="2278504" y="4330700"/>
                  <a:pt x="1558846" y="4330700"/>
                </a:cubicBezTo>
                <a:cubicBezTo>
                  <a:pt x="999112" y="4330700"/>
                  <a:pt x="485745" y="4132183"/>
                  <a:pt x="85309" y="3801714"/>
                </a:cubicBezTo>
                <a:lnTo>
                  <a:pt x="0" y="3724180"/>
                </a:lnTo>
                <a:lnTo>
                  <a:pt x="0" y="304131"/>
                </a:lnTo>
                <a:lnTo>
                  <a:pt x="85309" y="226597"/>
                </a:lnTo>
                <a:cubicBezTo>
                  <a:pt x="142514" y="179387"/>
                  <a:pt x="202023" y="134871"/>
                  <a:pt x="263644" y="93240"/>
                </a:cubicBezTo>
                <a:close/>
              </a:path>
            </a:pathLst>
          </a:custGeom>
          <a:solidFill>
            <a:schemeClr val="accent1"/>
          </a:solidFill>
        </p:spPr>
        <p:txBody>
          <a:bodyPr wrap="square" lIns="396000" tIns="360000" bIns="360000" rtlCol="0" anchor="ctr" anchorCtr="0">
            <a:normAutofit/>
          </a:bodyPr>
          <a:lstStyle>
            <a:lvl1pPr>
              <a:lnSpc>
                <a:spcPct val="100000"/>
              </a:lnSpc>
              <a:defRPr sz="4000">
                <a:solidFill>
                  <a:schemeClr val="bg1"/>
                </a:solidFill>
              </a:defRPr>
            </a:lvl1pPr>
          </a:lstStyle>
          <a:p>
            <a:pPr rtl="0"/>
            <a:r>
              <a:rPr lang="ru"/>
              <a:t>Click to enter title here</a:t>
            </a:r>
          </a:p>
        </p:txBody>
      </p:sp>
      <p:cxnSp>
        <p:nvCxnSpPr>
          <p:cNvPr id="9" name="Straight Connector 8">
            <a:extLst>
              <a:ext uri="{FF2B5EF4-FFF2-40B4-BE49-F238E27FC236}">
                <a16:creationId xmlns:a16="http://schemas.microsoft.com/office/drawing/2014/main" id="{21040238-DCC8-4532-9AE6-EB7C834F336E}"/>
              </a:ext>
            </a:extLst>
          </p:cNvPr>
          <p:cNvCxnSpPr>
            <a:cxnSpLocks/>
          </p:cNvCxnSpPr>
          <p:nvPr userDrawn="1"/>
        </p:nvCxnSpPr>
        <p:spPr>
          <a:xfrm>
            <a:off x="3540125" y="3730171"/>
            <a:ext cx="0" cy="247956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75A4EBE2-41F7-48F4-B525-605699ECF92F}"/>
              </a:ext>
            </a:extLst>
          </p:cNvPr>
          <p:cNvSpPr>
            <a:spLocks noGrp="1"/>
          </p:cNvSpPr>
          <p:nvPr>
            <p:ph sz="quarter" idx="19" hasCustomPrompt="1"/>
          </p:nvPr>
        </p:nvSpPr>
        <p:spPr>
          <a:xfrm>
            <a:off x="4238625" y="404812"/>
            <a:ext cx="7545387" cy="5795961"/>
          </a:xfrm>
        </p:spPr>
        <p:txBody>
          <a:bodyPr rtlCol="0">
            <a:noAutofit/>
          </a:bodyPr>
          <a:lstStyle>
            <a:lvl1pPr>
              <a:lnSpc>
                <a:spcPct val="100000"/>
              </a:lnSpc>
              <a:defRPr/>
            </a:lvl1pPr>
            <a:lvl2pPr marL="630900" indent="-342900">
              <a:lnSpc>
                <a:spcPct val="100000"/>
              </a:lnSpc>
              <a:defRPr lang="en-US" sz="2400" kern="1200" dirty="0">
                <a:solidFill>
                  <a:schemeClr val="tx1"/>
                </a:solidFill>
                <a:latin typeface="+mn-lt"/>
                <a:ea typeface="+mn-ea"/>
                <a:cs typeface="+mn-cs"/>
              </a:defRPr>
            </a:lvl2pPr>
            <a:lvl3pPr marL="792000" indent="-216000">
              <a:lnSpc>
                <a:spcPct val="100000"/>
              </a:lnSpc>
              <a:defRPr lang="en-US" sz="2000" kern="1200" dirty="0">
                <a:solidFill>
                  <a:schemeClr val="tx1"/>
                </a:solidFill>
                <a:latin typeface="+mn-lt"/>
                <a:ea typeface="+mn-ea"/>
                <a:cs typeface="+mn-cs"/>
              </a:defRPr>
            </a:lvl3pPr>
            <a:lvl4pPr marL="972000" indent="-216000">
              <a:lnSpc>
                <a:spcPct val="100000"/>
              </a:lnSpc>
              <a:defRPr lang="en-US" sz="2000" kern="1200" dirty="0">
                <a:solidFill>
                  <a:schemeClr val="tx1"/>
                </a:solidFill>
                <a:latin typeface="+mn-lt"/>
                <a:ea typeface="+mn-ea"/>
                <a:cs typeface="+mn-cs"/>
              </a:defRPr>
            </a:lvl4pPr>
            <a:lvl5pPr>
              <a:lnSpc>
                <a:spcPct val="100000"/>
              </a:lnSpc>
              <a:defRPr/>
            </a:lvl5pPr>
          </a:lstStyle>
          <a:p>
            <a:pPr lvl="0" rtl="0"/>
            <a:r>
              <a:rPr lang="ru"/>
              <a:t>Click to add text here. </a:t>
            </a:r>
            <a:br>
              <a:rPr lang="en-US"/>
            </a:br>
            <a:r>
              <a:rPr lang="ru"/>
              <a:t>When pasting copy from other slides, be sure to right-click and choose ‘Keep text only’. </a:t>
            </a:r>
            <a:br>
              <a:rPr lang="en-US"/>
            </a:br>
            <a:r>
              <a:rPr lang="ru"/>
              <a:t>To increase bullet level, select your text and press Tab.</a:t>
            </a:r>
            <a:br>
              <a:rPr lang="en-US"/>
            </a:br>
            <a:r>
              <a:rPr lang="ru"/>
              <a:t>To decrease bullet level, select your bullet text and press Shift + Tab.</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ru"/>
              <a:t>Second level</a:t>
            </a:r>
          </a:p>
          <a:p>
            <a:pPr marL="792000" lvl="2"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ru"/>
              <a:t>Third level</a:t>
            </a:r>
          </a:p>
          <a:p>
            <a:pPr marL="972000" lvl="3" indent="-216000" algn="l" defTabSz="914400" rtl="0" eaLnBrk="1" latinLnBrk="0" hangingPunct="1">
              <a:lnSpc>
                <a:spcPct val="90000"/>
              </a:lnSpc>
              <a:spcBef>
                <a:spcPts val="0"/>
              </a:spcBef>
              <a:spcAft>
                <a:spcPts val="800"/>
              </a:spcAft>
              <a:buClrTx/>
              <a:buSzPct val="100000"/>
              <a:buFont typeface="Arial" panose="020B0604020202020204" pitchFamily="34" charset="0"/>
              <a:buChar char="•"/>
            </a:pPr>
            <a:r>
              <a:rPr lang="ru"/>
              <a:t>Fourth level</a:t>
            </a:r>
          </a:p>
          <a:p>
            <a:pPr lvl="4" rtl="0"/>
            <a:r>
              <a:rPr lang="ru"/>
              <a:t>Fifth level</a:t>
            </a:r>
          </a:p>
        </p:txBody>
      </p:sp>
      <p:sp>
        <p:nvSpPr>
          <p:cNvPr id="10" name="Date Placeholder 9">
            <a:extLst>
              <a:ext uri="{FF2B5EF4-FFF2-40B4-BE49-F238E27FC236}">
                <a16:creationId xmlns:a16="http://schemas.microsoft.com/office/drawing/2014/main" id="{59C580CE-4074-4379-8D68-E5118B13A13A}"/>
              </a:ext>
            </a:extLst>
          </p:cNvPr>
          <p:cNvSpPr>
            <a:spLocks noGrp="1"/>
          </p:cNvSpPr>
          <p:nvPr>
            <p:ph type="dt" sz="half" idx="20"/>
          </p:nvPr>
        </p:nvSpPr>
        <p:spPr/>
        <p:txBody>
          <a:bodyPr rtlCol="0"/>
          <a:lstStyle>
            <a:lvl1pPr>
              <a:lnSpc>
                <a:spcPct val="100000"/>
              </a:lnSpc>
              <a:defRPr/>
            </a:lvl1pPr>
          </a:lstStyle>
          <a:p>
            <a:pPr rtl="0"/>
            <a:endParaRPr lang="en-GB" dirty="0"/>
          </a:p>
        </p:txBody>
      </p:sp>
      <p:sp>
        <p:nvSpPr>
          <p:cNvPr id="13" name="Slide Number Placeholder 12">
            <a:extLst>
              <a:ext uri="{FF2B5EF4-FFF2-40B4-BE49-F238E27FC236}">
                <a16:creationId xmlns:a16="http://schemas.microsoft.com/office/drawing/2014/main" id="{D2C25B5D-B685-4B55-8498-3486110FDCFE}"/>
              </a:ext>
            </a:extLst>
          </p:cNvPr>
          <p:cNvSpPr>
            <a:spLocks noGrp="1"/>
          </p:cNvSpPr>
          <p:nvPr>
            <p:ph type="sldNum" sz="quarter" idx="22"/>
          </p:nvPr>
        </p:nvSpPr>
        <p:spPr/>
        <p:txBody>
          <a:bodyPr rtlCol="0"/>
          <a:lstStyle>
            <a:lvl1pPr>
              <a:lnSpc>
                <a:spcPct val="100000"/>
              </a:lnSpc>
              <a:defRPr/>
            </a:lvl1pPr>
          </a:lstStyle>
          <a:p>
            <a:pPr rtl="0"/>
            <a:fld id="{F8E47D07-9D1E-4FE9-B31A-2F5863681021}" type="slidenum">
              <a:rPr lang="en-GB" smtClean="0"/>
              <a:pPr/>
              <a:t>‹#›</a:t>
            </a:fld>
            <a:endParaRPr lang="en-GB" dirty="0"/>
          </a:p>
        </p:txBody>
      </p:sp>
      <p:sp>
        <p:nvSpPr>
          <p:cNvPr id="8" name="Text Placeholder 96">
            <a:extLst>
              <a:ext uri="{FF2B5EF4-FFF2-40B4-BE49-F238E27FC236}">
                <a16:creationId xmlns:a16="http://schemas.microsoft.com/office/drawing/2014/main" id="{DFE25DB2-F58D-4AD2-B640-7A1061569FFB}"/>
              </a:ext>
            </a:extLst>
          </p:cNvPr>
          <p:cNvSpPr>
            <a:spLocks noGrp="1"/>
          </p:cNvSpPr>
          <p:nvPr>
            <p:ph type="body" sz="quarter" idx="111" hasCustomPrompt="1"/>
          </p:nvPr>
        </p:nvSpPr>
        <p:spPr>
          <a:xfrm>
            <a:off x="407988" y="6200774"/>
            <a:ext cx="9729787" cy="657225"/>
          </a:xfrm>
        </p:spPr>
        <p:txBody>
          <a:bodyPr rtlCol="0" anchor="b" anchorCtr="0">
            <a:noAutofit/>
          </a:bodyPr>
          <a:lstStyle>
            <a:lvl1pPr>
              <a:lnSpc>
                <a:spcPct val="100000"/>
              </a:lnSpc>
              <a:spcAft>
                <a:spcPts val="300"/>
              </a:spcAft>
              <a:buNone/>
              <a:defRPr sz="800">
                <a:solidFill>
                  <a:srgbClr val="7F7F7F"/>
                </a:solidFill>
              </a:defRPr>
            </a:lvl1pPr>
          </a:lstStyle>
          <a:p>
            <a:pPr lvl="0" rtl="0"/>
            <a:r>
              <a:rPr lang="ru"/>
              <a:t>Footnotes</a:t>
            </a:r>
          </a:p>
        </p:txBody>
      </p:sp>
    </p:spTree>
    <p:custDataLst>
      <p:tags r:id="rId1"/>
    </p:custDataLst>
    <p:extLst>
      <p:ext uri="{BB962C8B-B14F-4D97-AF65-F5344CB8AC3E}">
        <p14:creationId xmlns:p14="http://schemas.microsoft.com/office/powerpoint/2010/main" val="2405088665"/>
      </p:ext>
    </p:extLst>
  </p:cSld>
  <p:clrMapOvr>
    <a:masterClrMapping/>
  </p:clrMapOvr>
  <p:extLst>
    <p:ext uri="{DCECCB84-F9BA-43D5-87BE-67443E8EF086}">
      <p15:sldGuideLst xmlns:p15="http://schemas.microsoft.com/office/powerpoint/2012/main">
        <p15:guide id="1" pos="2230">
          <p15:clr>
            <a:srgbClr val="C35EA4"/>
          </p15:clr>
        </p15:guide>
        <p15:guide id="5" pos="2661">
          <p15:clr>
            <a:srgbClr val="C35E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447ADDD-920E-4BEB-819B-9759B3CF06AB}"/>
              </a:ext>
            </a:extLst>
          </p:cNvPr>
          <p:cNvSpPr>
            <a:spLocks noGrp="1"/>
          </p:cNvSpPr>
          <p:nvPr>
            <p:ph type="title" hasCustomPrompt="1"/>
          </p:nvPr>
        </p:nvSpPr>
        <p:spPr>
          <a:xfrm>
            <a:off x="1" y="0"/>
            <a:ext cx="5562601" cy="6858000"/>
          </a:xfrm>
          <a:custGeom>
            <a:avLst/>
            <a:gdLst>
              <a:gd name="connsiteX0" fmla="*/ 0 w 5562601"/>
              <a:gd name="connsiteY0" fmla="*/ 0 h 6858000"/>
              <a:gd name="connsiteX1" fmla="*/ 3124199 w 5562601"/>
              <a:gd name="connsiteY1" fmla="*/ 0 h 6858000"/>
              <a:gd name="connsiteX2" fmla="*/ 3694793 w 5562601"/>
              <a:gd name="connsiteY2" fmla="*/ 0 h 6858000"/>
              <a:gd name="connsiteX3" fmla="*/ 3762493 w 5562601"/>
              <a:gd name="connsiteY3" fmla="*/ 43402 h 6858000"/>
              <a:gd name="connsiteX4" fmla="*/ 5562601 w 5562601"/>
              <a:gd name="connsiteY4" fmla="*/ 3429000 h 6858000"/>
              <a:gd name="connsiteX5" fmla="*/ 3762493 w 5562601"/>
              <a:gd name="connsiteY5" fmla="*/ 6814598 h 6858000"/>
              <a:gd name="connsiteX6" fmla="*/ 3694792 w 5562601"/>
              <a:gd name="connsiteY6" fmla="*/ 6858000 h 6858000"/>
              <a:gd name="connsiteX7" fmla="*/ 0 w 5562601"/>
              <a:gd name="connsiteY7" fmla="*/ 6858000 h 6858000"/>
              <a:gd name="connsiteX8" fmla="*/ 0 w 5562601"/>
              <a:gd name="connsiteY8" fmla="*/ 26016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2601" h="6858000">
                <a:moveTo>
                  <a:pt x="0" y="0"/>
                </a:moveTo>
                <a:lnTo>
                  <a:pt x="3124199" y="0"/>
                </a:lnTo>
                <a:lnTo>
                  <a:pt x="3694793" y="0"/>
                </a:lnTo>
                <a:lnTo>
                  <a:pt x="3762493" y="43402"/>
                </a:lnTo>
                <a:cubicBezTo>
                  <a:pt x="4848549" y="777127"/>
                  <a:pt x="5562601" y="2019676"/>
                  <a:pt x="5562601" y="3429000"/>
                </a:cubicBezTo>
                <a:cubicBezTo>
                  <a:pt x="5562601" y="4838325"/>
                  <a:pt x="4848549" y="6080873"/>
                  <a:pt x="3762493" y="6814598"/>
                </a:cubicBezTo>
                <a:lnTo>
                  <a:pt x="3694792" y="6858000"/>
                </a:lnTo>
                <a:lnTo>
                  <a:pt x="0" y="6858000"/>
                </a:lnTo>
                <a:lnTo>
                  <a:pt x="0" y="2601686"/>
                </a:lnTo>
                <a:close/>
              </a:path>
            </a:pathLst>
          </a:custGeom>
          <a:solidFill>
            <a:schemeClr val="accent1"/>
          </a:solidFill>
        </p:spPr>
        <p:txBody>
          <a:bodyPr wrap="square" lIns="396000" tIns="2160000" bIns="2880000" rtlCol="0" anchor="b" anchorCtr="0">
            <a:normAutofit/>
          </a:bodyPr>
          <a:lstStyle>
            <a:lvl1pPr>
              <a:lnSpc>
                <a:spcPct val="100000"/>
              </a:lnSpc>
              <a:defRPr sz="4000">
                <a:solidFill>
                  <a:schemeClr val="bg1"/>
                </a:solidFill>
              </a:defRPr>
            </a:lvl1pPr>
          </a:lstStyle>
          <a:p>
            <a:pPr rtl="0"/>
            <a:r>
              <a:rPr lang="ru"/>
              <a:t>Click to enter</a:t>
            </a:r>
            <a:br>
              <a:rPr lang="en-US"/>
            </a:br>
            <a:r>
              <a:rPr lang="ru"/>
              <a:t>section title here</a:t>
            </a:r>
            <a:endParaRPr lang="en-GB"/>
          </a:p>
        </p:txBody>
      </p:sp>
      <p:sp>
        <p:nvSpPr>
          <p:cNvPr id="20" name="Text Placeholder 30">
            <a:extLst>
              <a:ext uri="{FF2B5EF4-FFF2-40B4-BE49-F238E27FC236}">
                <a16:creationId xmlns:a16="http://schemas.microsoft.com/office/drawing/2014/main" id="{9A77974F-FF01-4E3F-957B-CC5A44F8CE16}"/>
              </a:ext>
            </a:extLst>
          </p:cNvPr>
          <p:cNvSpPr txBox="1">
            <a:spLocks/>
          </p:cNvSpPr>
          <p:nvPr userDrawn="1"/>
        </p:nvSpPr>
        <p:spPr>
          <a:xfrm>
            <a:off x="11597151" y="6303999"/>
            <a:ext cx="294812" cy="355098"/>
          </a:xfrm>
          <a:prstGeom prst="rect">
            <a:avLst/>
          </a:pr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rtlCol="0"/>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lnSpc>
                <a:spcPct val="100000"/>
              </a:lnSpc>
            </a:pPr>
            <a:r>
              <a:rPr lang="ru"/>
              <a:t> </a:t>
            </a:r>
          </a:p>
        </p:txBody>
      </p:sp>
      <p:sp>
        <p:nvSpPr>
          <p:cNvPr id="5" name="Text Placeholder 4">
            <a:extLst>
              <a:ext uri="{FF2B5EF4-FFF2-40B4-BE49-F238E27FC236}">
                <a16:creationId xmlns:a16="http://schemas.microsoft.com/office/drawing/2014/main" id="{D60AE4F3-AAA3-4B8D-A01A-1FF9B8F9F42A}"/>
              </a:ext>
            </a:extLst>
          </p:cNvPr>
          <p:cNvSpPr>
            <a:spLocks noGrp="1"/>
          </p:cNvSpPr>
          <p:nvPr>
            <p:ph type="body" sz="quarter" idx="33" hasCustomPrompt="1"/>
          </p:nvPr>
        </p:nvSpPr>
        <p:spPr>
          <a:xfrm>
            <a:off x="428095" y="863767"/>
            <a:ext cx="1203158" cy="1203158"/>
          </a:xfrm>
          <a:prstGeom prst="ellipse">
            <a:avLst/>
          </a:prstGeom>
          <a:solidFill>
            <a:schemeClr val="bg1"/>
          </a:solidFill>
        </p:spPr>
        <p:txBody>
          <a:bodyPr wrap="none" bIns="0" rtlCol="0" anchor="ctr" anchorCtr="0">
            <a:normAutofit/>
          </a:bodyPr>
          <a:lstStyle>
            <a:lvl1pPr marL="0" indent="0" algn="ctr">
              <a:lnSpc>
                <a:spcPct val="100000"/>
              </a:lnSpc>
              <a:buNone/>
              <a:defRPr sz="6000" b="1">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rtl="0"/>
            <a:r>
              <a:rPr lang="ru"/>
              <a:t>#</a:t>
            </a:r>
          </a:p>
        </p:txBody>
      </p:sp>
      <p:sp>
        <p:nvSpPr>
          <p:cNvPr id="8" name="Text Placeholder 7">
            <a:extLst>
              <a:ext uri="{FF2B5EF4-FFF2-40B4-BE49-F238E27FC236}">
                <a16:creationId xmlns:a16="http://schemas.microsoft.com/office/drawing/2014/main" id="{45758FA1-2B23-4C7E-97FD-FBA94AB3853B}"/>
              </a:ext>
            </a:extLst>
          </p:cNvPr>
          <p:cNvSpPr>
            <a:spLocks noGrp="1"/>
          </p:cNvSpPr>
          <p:nvPr>
            <p:ph type="body" sz="quarter" idx="34" hasCustomPrompt="1"/>
          </p:nvPr>
        </p:nvSpPr>
        <p:spPr>
          <a:xfrm>
            <a:off x="428626" y="4267200"/>
            <a:ext cx="3678918" cy="1896645"/>
          </a:xfrm>
          <a:prstGeom prst="rect">
            <a:avLst/>
          </a:prstGeom>
        </p:spPr>
        <p:txBody>
          <a:bodyPr lIns="0" rtlCol="0"/>
          <a:lstStyle>
            <a:lvl1pPr marL="0" indent="0">
              <a:lnSpc>
                <a:spcPct val="100000"/>
              </a:lnSpc>
              <a:buNone/>
              <a:defRPr>
                <a:solidFill>
                  <a:schemeClr val="bg1"/>
                </a:solidFill>
              </a:defRPr>
            </a:lvl1pPr>
            <a:lvl5pPr>
              <a:defRPr/>
            </a:lvl5pPr>
          </a:lstStyle>
          <a:p>
            <a:pPr lvl="0" rtl="0"/>
            <a:r>
              <a:rPr lang="ru"/>
              <a:t>Click to add subtitle / presenter name(s)</a:t>
            </a:r>
          </a:p>
        </p:txBody>
      </p:sp>
      <p:sp>
        <p:nvSpPr>
          <p:cNvPr id="22" name="Picture Placeholder 21">
            <a:extLst>
              <a:ext uri="{FF2B5EF4-FFF2-40B4-BE49-F238E27FC236}">
                <a16:creationId xmlns:a16="http://schemas.microsoft.com/office/drawing/2014/main" id="{0486192A-3DB1-49EB-9B2C-D5E68AF24B1A}"/>
              </a:ext>
            </a:extLst>
          </p:cNvPr>
          <p:cNvSpPr>
            <a:spLocks noGrp="1"/>
          </p:cNvSpPr>
          <p:nvPr>
            <p:ph type="pic" sz="quarter" idx="36" hasCustomPrompt="1"/>
          </p:nvPr>
        </p:nvSpPr>
        <p:spPr>
          <a:xfrm>
            <a:off x="3694792" y="-1"/>
            <a:ext cx="8497208" cy="6858001"/>
          </a:xfrm>
          <a:custGeom>
            <a:avLst/>
            <a:gdLst>
              <a:gd name="connsiteX0" fmla="*/ 8001617 w 8497208"/>
              <a:gd name="connsiteY0" fmla="*/ 6414717 h 6858001"/>
              <a:gd name="connsiteX1" fmla="*/ 7980570 w 8497208"/>
              <a:gd name="connsiteY1" fmla="*/ 6439539 h 6858001"/>
              <a:gd name="connsiteX2" fmla="*/ 8034470 w 8497208"/>
              <a:gd name="connsiteY2" fmla="*/ 6517076 h 6858001"/>
              <a:gd name="connsiteX3" fmla="*/ 8090937 w 8497208"/>
              <a:gd name="connsiteY3" fmla="*/ 6510166 h 6858001"/>
              <a:gd name="connsiteX4" fmla="*/ 8091707 w 8497208"/>
              <a:gd name="connsiteY4" fmla="*/ 6506072 h 6858001"/>
              <a:gd name="connsiteX5" fmla="*/ 8095814 w 8497208"/>
              <a:gd name="connsiteY5" fmla="*/ 6478435 h 6858001"/>
              <a:gd name="connsiteX6" fmla="*/ 8062447 w 8497208"/>
              <a:gd name="connsiteY6" fmla="*/ 6464105 h 6858001"/>
              <a:gd name="connsiteX7" fmla="*/ 8064757 w 8497208"/>
              <a:gd name="connsiteY7" fmla="*/ 6499675 h 6858001"/>
              <a:gd name="connsiteX8" fmla="*/ 8064757 w 8497208"/>
              <a:gd name="connsiteY8" fmla="*/ 6504025 h 6858001"/>
              <a:gd name="connsiteX9" fmla="*/ 8048330 w 8497208"/>
              <a:gd name="connsiteY9" fmla="*/ 6515029 h 6858001"/>
              <a:gd name="connsiteX10" fmla="*/ 7993147 w 8497208"/>
              <a:gd name="connsiteY10" fmla="*/ 6433142 h 6858001"/>
              <a:gd name="connsiteX11" fmla="*/ 7994430 w 8497208"/>
              <a:gd name="connsiteY11" fmla="*/ 6431862 h 6858001"/>
              <a:gd name="connsiteX12" fmla="*/ 7995200 w 8497208"/>
              <a:gd name="connsiteY12" fmla="*/ 6432374 h 6858001"/>
              <a:gd name="connsiteX13" fmla="*/ 7995457 w 8497208"/>
              <a:gd name="connsiteY13" fmla="*/ 6432374 h 6858001"/>
              <a:gd name="connsiteX14" fmla="*/ 8062190 w 8497208"/>
              <a:gd name="connsiteY14" fmla="*/ 6459499 h 6858001"/>
              <a:gd name="connsiteX15" fmla="*/ 8096071 w 8497208"/>
              <a:gd name="connsiteY15" fmla="*/ 6474085 h 6858001"/>
              <a:gd name="connsiteX16" fmla="*/ 8122764 w 8497208"/>
              <a:gd name="connsiteY16" fmla="*/ 6486880 h 6858001"/>
              <a:gd name="connsiteX17" fmla="*/ 8134828 w 8497208"/>
              <a:gd name="connsiteY17" fmla="*/ 6503513 h 6858001"/>
              <a:gd name="connsiteX18" fmla="*/ 7984933 w 8497208"/>
              <a:gd name="connsiteY18" fmla="*/ 6615084 h 6858001"/>
              <a:gd name="connsiteX19" fmla="*/ 7984420 w 8497208"/>
              <a:gd name="connsiteY19" fmla="*/ 6615596 h 6858001"/>
              <a:gd name="connsiteX20" fmla="*/ 7983393 w 8497208"/>
              <a:gd name="connsiteY20" fmla="*/ 6617131 h 6858001"/>
              <a:gd name="connsiteX21" fmla="*/ 7983137 w 8497208"/>
              <a:gd name="connsiteY21" fmla="*/ 6617643 h 6858001"/>
              <a:gd name="connsiteX22" fmla="*/ 7978517 w 8497208"/>
              <a:gd name="connsiteY22" fmla="*/ 6631717 h 6858001"/>
              <a:gd name="connsiteX23" fmla="*/ 7997253 w 8497208"/>
              <a:gd name="connsiteY23" fmla="*/ 6655260 h 6858001"/>
              <a:gd name="connsiteX24" fmla="*/ 8009830 w 8497208"/>
              <a:gd name="connsiteY24" fmla="*/ 6657563 h 6858001"/>
              <a:gd name="connsiteX25" fmla="*/ 8012397 w 8497208"/>
              <a:gd name="connsiteY25" fmla="*/ 6657819 h 6858001"/>
              <a:gd name="connsiteX26" fmla="*/ 8136881 w 8497208"/>
              <a:gd name="connsiteY26" fmla="*/ 6633253 h 6858001"/>
              <a:gd name="connsiteX27" fmla="*/ 8146378 w 8497208"/>
              <a:gd name="connsiteY27" fmla="*/ 6607407 h 6858001"/>
              <a:gd name="connsiteX28" fmla="*/ 8103001 w 8497208"/>
              <a:gd name="connsiteY28" fmla="*/ 6582073 h 6858001"/>
              <a:gd name="connsiteX29" fmla="*/ 8093761 w 8497208"/>
              <a:gd name="connsiteY29" fmla="*/ 6588215 h 6858001"/>
              <a:gd name="connsiteX30" fmla="*/ 8128411 w 8497208"/>
              <a:gd name="connsiteY30" fmla="*/ 6611246 h 6858001"/>
              <a:gd name="connsiteX31" fmla="*/ 8126614 w 8497208"/>
              <a:gd name="connsiteY31" fmla="*/ 6614828 h 6858001"/>
              <a:gd name="connsiteX32" fmla="*/ 8124304 w 8497208"/>
              <a:gd name="connsiteY32" fmla="*/ 6614828 h 6858001"/>
              <a:gd name="connsiteX33" fmla="*/ 8047817 w 8497208"/>
              <a:gd name="connsiteY33" fmla="*/ 6619946 h 6858001"/>
              <a:gd name="connsiteX34" fmla="*/ 8040630 w 8497208"/>
              <a:gd name="connsiteY34" fmla="*/ 6620202 h 6858001"/>
              <a:gd name="connsiteX35" fmla="*/ 8052437 w 8497208"/>
              <a:gd name="connsiteY35" fmla="*/ 6610734 h 6858001"/>
              <a:gd name="connsiteX36" fmla="*/ 8173841 w 8497208"/>
              <a:gd name="connsiteY36" fmla="*/ 6529615 h 6858001"/>
              <a:gd name="connsiteX37" fmla="*/ 8144068 w 8497208"/>
              <a:gd name="connsiteY37" fmla="*/ 6452334 h 6858001"/>
              <a:gd name="connsiteX38" fmla="*/ 8001617 w 8497208"/>
              <a:gd name="connsiteY38" fmla="*/ 6414717 h 6858001"/>
              <a:gd name="connsiteX39" fmla="*/ 8063182 w 8497208"/>
              <a:gd name="connsiteY39" fmla="*/ 6306559 h 6858001"/>
              <a:gd name="connsiteX40" fmla="*/ 7947246 w 8497208"/>
              <a:gd name="connsiteY40" fmla="*/ 6409920 h 6858001"/>
              <a:gd name="connsiteX41" fmla="*/ 7903898 w 8497208"/>
              <a:gd name="connsiteY41" fmla="*/ 6477718 h 6858001"/>
              <a:gd name="connsiteX42" fmla="*/ 7922109 w 8497208"/>
              <a:gd name="connsiteY42" fmla="*/ 6498186 h 6858001"/>
              <a:gd name="connsiteX43" fmla="*/ 8041380 w 8497208"/>
              <a:gd name="connsiteY43" fmla="*/ 6559844 h 6858001"/>
              <a:gd name="connsiteX44" fmla="*/ 8050870 w 8497208"/>
              <a:gd name="connsiteY44" fmla="*/ 6553960 h 6858001"/>
              <a:gd name="connsiteX45" fmla="*/ 7945194 w 8497208"/>
              <a:gd name="connsiteY45" fmla="*/ 6495627 h 6858001"/>
              <a:gd name="connsiteX46" fmla="*/ 7928778 w 8497208"/>
              <a:gd name="connsiteY46" fmla="*/ 6480277 h 6858001"/>
              <a:gd name="connsiteX47" fmla="*/ 7958019 w 8497208"/>
              <a:gd name="connsiteY47" fmla="*/ 6449575 h 6858001"/>
              <a:gd name="connsiteX48" fmla="*/ 7974178 w 8497208"/>
              <a:gd name="connsiteY48" fmla="*/ 6433457 h 6858001"/>
              <a:gd name="connsiteX49" fmla="*/ 7976230 w 8497208"/>
              <a:gd name="connsiteY49" fmla="*/ 6416827 h 6858001"/>
              <a:gd name="connsiteX50" fmla="*/ 7997263 w 8497208"/>
              <a:gd name="connsiteY50" fmla="*/ 6410176 h 6858001"/>
              <a:gd name="connsiteX51" fmla="*/ 8024964 w 8497208"/>
              <a:gd name="connsiteY51" fmla="*/ 6382289 h 6858001"/>
              <a:gd name="connsiteX52" fmla="*/ 8047536 w 8497208"/>
              <a:gd name="connsiteY52" fmla="*/ 6364635 h 6858001"/>
              <a:gd name="connsiteX53" fmla="*/ 8053948 w 8497208"/>
              <a:gd name="connsiteY53" fmla="*/ 6376916 h 6858001"/>
              <a:gd name="connsiteX54" fmla="*/ 8058822 w 8497208"/>
              <a:gd name="connsiteY54" fmla="*/ 6421688 h 6858001"/>
              <a:gd name="connsiteX55" fmla="*/ 8097296 w 8497208"/>
              <a:gd name="connsiteY55" fmla="*/ 6432434 h 6858001"/>
              <a:gd name="connsiteX56" fmla="*/ 8063182 w 8497208"/>
              <a:gd name="connsiteY56" fmla="*/ 6306559 h 6858001"/>
              <a:gd name="connsiteX57" fmla="*/ 4802415 w 8497208"/>
              <a:gd name="connsiteY57" fmla="*/ 0 h 6858001"/>
              <a:gd name="connsiteX58" fmla="*/ 5373009 w 8497208"/>
              <a:gd name="connsiteY58" fmla="*/ 0 h 6858001"/>
              <a:gd name="connsiteX59" fmla="*/ 8497208 w 8497208"/>
              <a:gd name="connsiteY59" fmla="*/ 0 h 6858001"/>
              <a:gd name="connsiteX60" fmla="*/ 8497208 w 8497208"/>
              <a:gd name="connsiteY60" fmla="*/ 1 h 6858001"/>
              <a:gd name="connsiteX61" fmla="*/ 8497208 w 8497208"/>
              <a:gd name="connsiteY61" fmla="*/ 2601686 h 6858001"/>
              <a:gd name="connsiteX62" fmla="*/ 8497208 w 8497208"/>
              <a:gd name="connsiteY62" fmla="*/ 6858000 h 6858001"/>
              <a:gd name="connsiteX63" fmla="*/ 8497208 w 8497208"/>
              <a:gd name="connsiteY63" fmla="*/ 6858001 h 6858001"/>
              <a:gd name="connsiteX64" fmla="*/ 0 w 8497208"/>
              <a:gd name="connsiteY64" fmla="*/ 6858001 h 6858001"/>
              <a:gd name="connsiteX65" fmla="*/ 67701 w 8497208"/>
              <a:gd name="connsiteY65" fmla="*/ 6814599 h 6858001"/>
              <a:gd name="connsiteX66" fmla="*/ 1867809 w 8497208"/>
              <a:gd name="connsiteY66" fmla="*/ 3429001 h 6858001"/>
              <a:gd name="connsiteX67" fmla="*/ 67701 w 8497208"/>
              <a:gd name="connsiteY67" fmla="*/ 43403 h 6858001"/>
              <a:gd name="connsiteX68" fmla="*/ 1 w 8497208"/>
              <a:gd name="connsiteY68" fmla="*/ 1 h 6858001"/>
              <a:gd name="connsiteX69" fmla="*/ 4802413 w 8497208"/>
              <a:gd name="connsiteY69"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497208" h="6858001">
                <a:moveTo>
                  <a:pt x="8001617" y="6414717"/>
                </a:moveTo>
                <a:cubicBezTo>
                  <a:pt x="7980570" y="6411902"/>
                  <a:pt x="7972100" y="6419579"/>
                  <a:pt x="7980570" y="6439539"/>
                </a:cubicBezTo>
                <a:cubicBezTo>
                  <a:pt x="7989297" y="6459243"/>
                  <a:pt x="8011370" y="6492254"/>
                  <a:pt x="8034470" y="6517076"/>
                </a:cubicBezTo>
                <a:cubicBezTo>
                  <a:pt x="8057827" y="6541642"/>
                  <a:pt x="8082981" y="6548551"/>
                  <a:pt x="8090937" y="6510166"/>
                </a:cubicBezTo>
                <a:cubicBezTo>
                  <a:pt x="8091194" y="6508887"/>
                  <a:pt x="8091451" y="6507608"/>
                  <a:pt x="8091707" y="6506072"/>
                </a:cubicBezTo>
                <a:cubicBezTo>
                  <a:pt x="8093504" y="6496348"/>
                  <a:pt x="8095044" y="6486880"/>
                  <a:pt x="8095814" y="6478435"/>
                </a:cubicBezTo>
                <a:cubicBezTo>
                  <a:pt x="8085547" y="6473829"/>
                  <a:pt x="8073997" y="6468967"/>
                  <a:pt x="8062447" y="6464105"/>
                </a:cubicBezTo>
                <a:cubicBezTo>
                  <a:pt x="8063217" y="6472806"/>
                  <a:pt x="8064244" y="6487904"/>
                  <a:pt x="8064757" y="6499675"/>
                </a:cubicBezTo>
                <a:cubicBezTo>
                  <a:pt x="8064757" y="6500954"/>
                  <a:pt x="8064757" y="6502490"/>
                  <a:pt x="8064757" y="6504025"/>
                </a:cubicBezTo>
                <a:cubicBezTo>
                  <a:pt x="8065527" y="6522705"/>
                  <a:pt x="8059110" y="6522705"/>
                  <a:pt x="8048330" y="6515029"/>
                </a:cubicBezTo>
                <a:cubicBezTo>
                  <a:pt x="8035754" y="6506072"/>
                  <a:pt x="7997510" y="6455661"/>
                  <a:pt x="7993147" y="6433142"/>
                </a:cubicBezTo>
                <a:cubicBezTo>
                  <a:pt x="7992890" y="6431862"/>
                  <a:pt x="7993660" y="6431606"/>
                  <a:pt x="7994430" y="6431862"/>
                </a:cubicBezTo>
                <a:cubicBezTo>
                  <a:pt x="7994687" y="6432118"/>
                  <a:pt x="7994943" y="6432118"/>
                  <a:pt x="7995200" y="6432374"/>
                </a:cubicBezTo>
                <a:cubicBezTo>
                  <a:pt x="7995200" y="6432374"/>
                  <a:pt x="7995200" y="6432374"/>
                  <a:pt x="7995457" y="6432374"/>
                </a:cubicBezTo>
                <a:cubicBezTo>
                  <a:pt x="8003927" y="6435701"/>
                  <a:pt x="8032930" y="6447216"/>
                  <a:pt x="8062190" y="6459499"/>
                </a:cubicBezTo>
                <a:cubicBezTo>
                  <a:pt x="8073741" y="6464361"/>
                  <a:pt x="8085547" y="6469479"/>
                  <a:pt x="8096071" y="6474085"/>
                </a:cubicBezTo>
                <a:cubicBezTo>
                  <a:pt x="8106594" y="6478691"/>
                  <a:pt x="8115834" y="6483297"/>
                  <a:pt x="8122764" y="6486880"/>
                </a:cubicBezTo>
                <a:cubicBezTo>
                  <a:pt x="8135341" y="6493533"/>
                  <a:pt x="8140218" y="6498139"/>
                  <a:pt x="8134828" y="6503513"/>
                </a:cubicBezTo>
                <a:cubicBezTo>
                  <a:pt x="8108647" y="6530382"/>
                  <a:pt x="8016504" y="6568255"/>
                  <a:pt x="7984933" y="6615084"/>
                </a:cubicBezTo>
                <a:cubicBezTo>
                  <a:pt x="7984933" y="6615084"/>
                  <a:pt x="7984677" y="6615340"/>
                  <a:pt x="7984420" y="6615596"/>
                </a:cubicBezTo>
                <a:cubicBezTo>
                  <a:pt x="7984163" y="6616108"/>
                  <a:pt x="7983650" y="6616619"/>
                  <a:pt x="7983393" y="6617131"/>
                </a:cubicBezTo>
                <a:cubicBezTo>
                  <a:pt x="7983393" y="6617387"/>
                  <a:pt x="7983393" y="6617643"/>
                  <a:pt x="7983137" y="6617643"/>
                </a:cubicBezTo>
                <a:cubicBezTo>
                  <a:pt x="7981597" y="6620714"/>
                  <a:pt x="7979287" y="6625576"/>
                  <a:pt x="7978517" y="6631717"/>
                </a:cubicBezTo>
                <a:cubicBezTo>
                  <a:pt x="7977233" y="6641953"/>
                  <a:pt x="7982623" y="6651421"/>
                  <a:pt x="7997253" y="6655260"/>
                </a:cubicBezTo>
                <a:cubicBezTo>
                  <a:pt x="8001103" y="6656283"/>
                  <a:pt x="8005210" y="6657051"/>
                  <a:pt x="8009830" y="6657563"/>
                </a:cubicBezTo>
                <a:cubicBezTo>
                  <a:pt x="8010600" y="6657819"/>
                  <a:pt x="8011627" y="6657819"/>
                  <a:pt x="8012397" y="6657819"/>
                </a:cubicBezTo>
                <a:cubicBezTo>
                  <a:pt x="8040887" y="6659098"/>
                  <a:pt x="8114551" y="6642977"/>
                  <a:pt x="8136881" y="6633253"/>
                </a:cubicBezTo>
                <a:cubicBezTo>
                  <a:pt x="8159981" y="6623017"/>
                  <a:pt x="8153051" y="6612781"/>
                  <a:pt x="8146378" y="6607407"/>
                </a:cubicBezTo>
                <a:cubicBezTo>
                  <a:pt x="8141244" y="6603313"/>
                  <a:pt x="8115577" y="6588983"/>
                  <a:pt x="8103001" y="6582073"/>
                </a:cubicBezTo>
                <a:cubicBezTo>
                  <a:pt x="8099664" y="6584376"/>
                  <a:pt x="8097097" y="6585912"/>
                  <a:pt x="8093761" y="6588215"/>
                </a:cubicBezTo>
                <a:cubicBezTo>
                  <a:pt x="8115064" y="6601010"/>
                  <a:pt x="8123534" y="6607407"/>
                  <a:pt x="8128411" y="6611246"/>
                </a:cubicBezTo>
                <a:cubicBezTo>
                  <a:pt x="8130464" y="6612781"/>
                  <a:pt x="8129438" y="6614572"/>
                  <a:pt x="8126614" y="6614828"/>
                </a:cubicBezTo>
                <a:cubicBezTo>
                  <a:pt x="8125844" y="6614828"/>
                  <a:pt x="8125074" y="6614828"/>
                  <a:pt x="8124304" y="6614828"/>
                </a:cubicBezTo>
                <a:cubicBezTo>
                  <a:pt x="8104027" y="6616364"/>
                  <a:pt x="8065784" y="6618922"/>
                  <a:pt x="8047817" y="6619946"/>
                </a:cubicBezTo>
                <a:cubicBezTo>
                  <a:pt x="8045250" y="6620202"/>
                  <a:pt x="8042170" y="6620202"/>
                  <a:pt x="8040630" y="6620202"/>
                </a:cubicBezTo>
                <a:cubicBezTo>
                  <a:pt x="8044994" y="6616108"/>
                  <a:pt x="8049870" y="6612525"/>
                  <a:pt x="8052437" y="6610734"/>
                </a:cubicBezTo>
                <a:cubicBezTo>
                  <a:pt x="8090937" y="6583609"/>
                  <a:pt x="8154848" y="6545736"/>
                  <a:pt x="8173841" y="6529615"/>
                </a:cubicBezTo>
                <a:cubicBezTo>
                  <a:pt x="8187701" y="6517587"/>
                  <a:pt x="8225688" y="6480994"/>
                  <a:pt x="8144068" y="6452334"/>
                </a:cubicBezTo>
                <a:cubicBezTo>
                  <a:pt x="8120711" y="6444401"/>
                  <a:pt x="8062704" y="6422906"/>
                  <a:pt x="8001617" y="6414717"/>
                </a:cubicBezTo>
                <a:close/>
                <a:moveTo>
                  <a:pt x="8063182" y="6306559"/>
                </a:moveTo>
                <a:cubicBezTo>
                  <a:pt x="8043432" y="6304000"/>
                  <a:pt x="8013678" y="6328817"/>
                  <a:pt x="7947246" y="6409920"/>
                </a:cubicBezTo>
                <a:cubicBezTo>
                  <a:pt x="7934934" y="6424759"/>
                  <a:pt x="7906206" y="6461088"/>
                  <a:pt x="7903898" y="6477718"/>
                </a:cubicBezTo>
                <a:cubicBezTo>
                  <a:pt x="7902359" y="6489487"/>
                  <a:pt x="7914927" y="6494604"/>
                  <a:pt x="7922109" y="6498186"/>
                </a:cubicBezTo>
                <a:cubicBezTo>
                  <a:pt x="7928778" y="6501768"/>
                  <a:pt x="8005727" y="6539888"/>
                  <a:pt x="8041380" y="6559844"/>
                </a:cubicBezTo>
                <a:cubicBezTo>
                  <a:pt x="8044458" y="6557797"/>
                  <a:pt x="8047536" y="6555751"/>
                  <a:pt x="8050870" y="6553960"/>
                </a:cubicBezTo>
                <a:cubicBezTo>
                  <a:pt x="8029581" y="6542447"/>
                  <a:pt x="7969561" y="6510211"/>
                  <a:pt x="7945194" y="6495627"/>
                </a:cubicBezTo>
                <a:cubicBezTo>
                  <a:pt x="7935190" y="6489743"/>
                  <a:pt x="7928265" y="6484882"/>
                  <a:pt x="7928778" y="6480277"/>
                </a:cubicBezTo>
                <a:cubicBezTo>
                  <a:pt x="7929548" y="6474648"/>
                  <a:pt x="7944168" y="6463391"/>
                  <a:pt x="7958019" y="6449575"/>
                </a:cubicBezTo>
                <a:cubicBezTo>
                  <a:pt x="7961610" y="6445994"/>
                  <a:pt x="7967509" y="6440109"/>
                  <a:pt x="7974178" y="6433457"/>
                </a:cubicBezTo>
                <a:cubicBezTo>
                  <a:pt x="7972382" y="6426550"/>
                  <a:pt x="7973152" y="6420921"/>
                  <a:pt x="7976230" y="6416827"/>
                </a:cubicBezTo>
                <a:cubicBezTo>
                  <a:pt x="7980077" y="6411711"/>
                  <a:pt x="7987003" y="6409664"/>
                  <a:pt x="7997263" y="6410176"/>
                </a:cubicBezTo>
                <a:cubicBezTo>
                  <a:pt x="8009831" y="6397639"/>
                  <a:pt x="8021117" y="6386382"/>
                  <a:pt x="8024964" y="6382289"/>
                </a:cubicBezTo>
                <a:cubicBezTo>
                  <a:pt x="8033941" y="6373334"/>
                  <a:pt x="8043432" y="6364124"/>
                  <a:pt x="8047536" y="6364635"/>
                </a:cubicBezTo>
                <a:cubicBezTo>
                  <a:pt x="8050870" y="6365147"/>
                  <a:pt x="8052666" y="6368217"/>
                  <a:pt x="8053948" y="6376916"/>
                </a:cubicBezTo>
                <a:cubicBezTo>
                  <a:pt x="8054974" y="6384591"/>
                  <a:pt x="8057539" y="6406850"/>
                  <a:pt x="8058822" y="6421688"/>
                </a:cubicBezTo>
                <a:cubicBezTo>
                  <a:pt x="8072672" y="6425014"/>
                  <a:pt x="8085497" y="6428852"/>
                  <a:pt x="8097296" y="6432434"/>
                </a:cubicBezTo>
                <a:cubicBezTo>
                  <a:pt x="8095757" y="6330864"/>
                  <a:pt x="8084215" y="6309373"/>
                  <a:pt x="8063182" y="6306559"/>
                </a:cubicBezTo>
                <a:close/>
                <a:moveTo>
                  <a:pt x="4802415" y="0"/>
                </a:moveTo>
                <a:lnTo>
                  <a:pt x="5373009" y="0"/>
                </a:lnTo>
                <a:lnTo>
                  <a:pt x="8497208" y="0"/>
                </a:lnTo>
                <a:lnTo>
                  <a:pt x="8497208" y="1"/>
                </a:lnTo>
                <a:lnTo>
                  <a:pt x="8497208" y="2601686"/>
                </a:lnTo>
                <a:lnTo>
                  <a:pt x="8497208" y="6858000"/>
                </a:lnTo>
                <a:lnTo>
                  <a:pt x="8497208" y="6858001"/>
                </a:lnTo>
                <a:lnTo>
                  <a:pt x="0" y="6858001"/>
                </a:lnTo>
                <a:lnTo>
                  <a:pt x="67701" y="6814599"/>
                </a:lnTo>
                <a:cubicBezTo>
                  <a:pt x="1153758" y="6080874"/>
                  <a:pt x="1867809" y="4838326"/>
                  <a:pt x="1867809" y="3429001"/>
                </a:cubicBezTo>
                <a:cubicBezTo>
                  <a:pt x="1867809" y="2019677"/>
                  <a:pt x="1153758" y="777128"/>
                  <a:pt x="67701" y="43403"/>
                </a:cubicBezTo>
                <a:lnTo>
                  <a:pt x="1" y="1"/>
                </a:lnTo>
                <a:lnTo>
                  <a:pt x="4802413" y="1"/>
                </a:lnTo>
                <a:close/>
              </a:path>
            </a:pathLst>
          </a:custGeom>
        </p:spPr>
        <p:txBody>
          <a:bodyPr wrap="square" tIns="360000" bIns="900000" rtlCol="0" anchor="ctr" anchorCtr="0">
            <a:noAutofit/>
          </a:bodyPr>
          <a:lstStyle>
            <a:lvl1pPr marL="0" marR="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sz="1600" b="1"/>
            </a:lvl1pPr>
          </a:lstStyle>
          <a:p>
            <a:pPr rtl="0"/>
            <a:r>
              <a:rPr lang="ru"/>
              <a:t>_______________________________</a:t>
            </a:r>
            <a:br>
              <a:rPr lang="en-US" dirty="0"/>
            </a:br>
            <a:br>
              <a:rPr lang="en-US" dirty="0"/>
            </a:br>
            <a:r>
              <a:rPr lang="ru"/>
              <a:t>To add an image here: </a:t>
            </a:r>
            <a:br>
              <a:rPr lang="en-US" dirty="0"/>
            </a:br>
            <a:r>
              <a:rPr lang="ru"/>
              <a:t>Click the icon and insert a file from your computer.</a:t>
            </a:r>
            <a:br>
              <a:rPr lang="en-US" dirty="0"/>
            </a:br>
            <a:r>
              <a:rPr lang="ru"/>
              <a:t>Alternatively, you can fill this shape </a:t>
            </a:r>
            <a:br>
              <a:rPr lang="en-US" dirty="0"/>
            </a:br>
            <a:r>
              <a:rPr lang="ru"/>
              <a:t>with a solid colour.</a:t>
            </a:r>
            <a:br>
              <a:rPr lang="en-US" dirty="0"/>
            </a:br>
            <a:br>
              <a:rPr lang="en-US" dirty="0"/>
            </a:br>
            <a:br>
              <a:rPr lang="en-US" dirty="0"/>
            </a:br>
            <a:br>
              <a:rPr lang="en-US" dirty="0"/>
            </a:br>
            <a:br>
              <a:rPr lang="en-US" dirty="0"/>
            </a:br>
            <a:r>
              <a:rPr lang="ru"/>
              <a:t> Images can be scaled within this frame </a:t>
            </a:r>
            <a:br>
              <a:rPr lang="en-US" dirty="0"/>
            </a:br>
            <a:r>
              <a:rPr lang="ru"/>
              <a:t>by using the Crop feature in </a:t>
            </a:r>
            <a:br>
              <a:rPr lang="en-US" dirty="0"/>
            </a:br>
            <a:r>
              <a:rPr lang="ru"/>
              <a:t>the Picture Format tab of the ribbon.</a:t>
            </a:r>
            <a:br>
              <a:rPr lang="en-US" dirty="0"/>
            </a:br>
            <a:r>
              <a:rPr lang="ru"/>
              <a:t>_______________________________</a:t>
            </a:r>
          </a:p>
        </p:txBody>
      </p:sp>
      <p:sp>
        <p:nvSpPr>
          <p:cNvPr id="10" name="Date Placeholder 9">
            <a:extLst>
              <a:ext uri="{FF2B5EF4-FFF2-40B4-BE49-F238E27FC236}">
                <a16:creationId xmlns:a16="http://schemas.microsoft.com/office/drawing/2014/main" id="{41CC83E6-E70E-43EE-817C-4F68FB75EFD9}"/>
              </a:ext>
            </a:extLst>
          </p:cNvPr>
          <p:cNvSpPr>
            <a:spLocks noGrp="1"/>
          </p:cNvSpPr>
          <p:nvPr>
            <p:ph type="dt" sz="half" idx="35"/>
          </p:nvPr>
        </p:nvSpPr>
        <p:spPr/>
        <p:txBody>
          <a:bodyPr rtlCol="0"/>
          <a:lstStyle>
            <a:lvl1pPr>
              <a:lnSpc>
                <a:spcPct val="100000"/>
              </a:lnSpc>
              <a:defRPr/>
            </a:lvl1pPr>
          </a:lstStyle>
          <a:p>
            <a:pPr rtl="0"/>
            <a:endParaRPr lang="en-GB" dirty="0"/>
          </a:p>
        </p:txBody>
      </p:sp>
      <p:pic>
        <p:nvPicPr>
          <p:cNvPr id="11" name="Picture 10" descr="msd_lg_rgb_tl_dkgry.jpg">
            <a:extLst>
              <a:ext uri="{FF2B5EF4-FFF2-40B4-BE49-F238E27FC236}">
                <a16:creationId xmlns:a16="http://schemas.microsoft.com/office/drawing/2014/main" id="{BD57762E-0941-4001-AABD-01249AFFEED7}"/>
              </a:ext>
            </a:extLst>
          </p:cNvPr>
          <p:cNvPicPr>
            <a:picLocks noChangeAspect="1"/>
          </p:cNvPicPr>
          <p:nvPr userDrawn="1"/>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31338" y="6289435"/>
            <a:ext cx="436685" cy="397931"/>
          </a:xfrm>
          <a:prstGeom prst="rect">
            <a:avLst/>
          </a:prstGeom>
        </p:spPr>
      </p:pic>
    </p:spTree>
    <p:custDataLst>
      <p:tags r:id="rId1"/>
    </p:custDataLst>
    <p:extLst>
      <p:ext uri="{BB962C8B-B14F-4D97-AF65-F5344CB8AC3E}">
        <p14:creationId xmlns:p14="http://schemas.microsoft.com/office/powerpoint/2010/main" val="1195826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Slide_DTC_Horizontal_Lake">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32DE645C-83FF-00DB-788A-4C522B7247DB}"/>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pic>
        <p:nvPicPr>
          <p:cNvPr id="9" name="Lynparza Logo">
            <a:extLst>
              <a:ext uri="{FF2B5EF4-FFF2-40B4-BE49-F238E27FC236}">
                <a16:creationId xmlns:a16="http://schemas.microsoft.com/office/drawing/2014/main" id="{BC657260-CC8D-42DE-5DA4-E088547307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sp>
        <p:nvSpPr>
          <p:cNvPr id="3" name="Title">
            <a:extLst>
              <a:ext uri="{FF2B5EF4-FFF2-40B4-BE49-F238E27FC236}">
                <a16:creationId xmlns:a16="http://schemas.microsoft.com/office/drawing/2014/main" id="{5CA53828-154C-D641-8343-8B3D780BD1F2}"/>
              </a:ext>
            </a:extLst>
          </p:cNvPr>
          <p:cNvSpPr>
            <a:spLocks noGrp="1"/>
          </p:cNvSpPr>
          <p:nvPr>
            <p:ph type="body" sz="quarter" idx="10" hasCustomPrompt="1"/>
          </p:nvPr>
        </p:nvSpPr>
        <p:spPr>
          <a:xfrm>
            <a:off x="838800" y="4006800"/>
            <a:ext cx="9986400" cy="1170000"/>
          </a:xfrm>
          <a:prstGeom prst="rect">
            <a:avLst/>
          </a:prstGeom>
        </p:spPr>
        <p:txBody>
          <a:bodyPr lIns="0" tIns="46800" rIns="90000" bIns="0" anchor="b">
            <a:normAutofit/>
          </a:bodyPr>
          <a:lstStyle>
            <a:lvl1pPr marL="0" indent="0">
              <a:buNone/>
              <a:defRPr sz="5000" b="1">
                <a:solidFill>
                  <a:srgbClr val="004D7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Title slide</a:t>
            </a:r>
          </a:p>
        </p:txBody>
      </p:sp>
      <p:sp>
        <p:nvSpPr>
          <p:cNvPr id="5" name="Sub Header">
            <a:extLst>
              <a:ext uri="{FF2B5EF4-FFF2-40B4-BE49-F238E27FC236}">
                <a16:creationId xmlns:a16="http://schemas.microsoft.com/office/drawing/2014/main" id="{231BA7C0-06C8-C848-850E-20175F0EC59E}"/>
              </a:ext>
            </a:extLst>
          </p:cNvPr>
          <p:cNvSpPr>
            <a:spLocks noGrp="1"/>
          </p:cNvSpPr>
          <p:nvPr>
            <p:ph type="body" sz="quarter" idx="11" hasCustomPrompt="1"/>
          </p:nvPr>
        </p:nvSpPr>
        <p:spPr>
          <a:xfrm>
            <a:off x="838800" y="5234400"/>
            <a:ext cx="9986400" cy="781200"/>
          </a:xfrm>
          <a:prstGeom prst="rect">
            <a:avLst/>
          </a:prstGeom>
        </p:spPr>
        <p:txBody>
          <a:bodyPr lIns="0" tIns="46800" rIns="90000" bIns="0">
            <a:normAutofit/>
          </a:bodyPr>
          <a:lstStyle>
            <a:lvl1pPr marL="0" indent="0">
              <a:buNone/>
              <a:defRPr sz="2300" i="1">
                <a:solidFill>
                  <a:srgbClr val="004D74"/>
                </a:solidFill>
              </a:defRPr>
            </a:lvl1pPr>
          </a:lstStyle>
          <a:p>
            <a:pPr lvl="0"/>
            <a:r>
              <a:rPr lang="en-US" dirty="0"/>
              <a:t>SUB HEADER</a:t>
            </a:r>
          </a:p>
        </p:txBody>
      </p:sp>
      <p:pic>
        <p:nvPicPr>
          <p:cNvPr id="11" name="Picture 10" descr="A person with his arms crossed&#10;&#10;Description automatically generated with medium confidence">
            <a:extLst>
              <a:ext uri="{FF2B5EF4-FFF2-40B4-BE49-F238E27FC236}">
                <a16:creationId xmlns:a16="http://schemas.microsoft.com/office/drawing/2014/main" id="{2D60D64D-28F2-BF0F-5C16-11D1A16026F6}"/>
              </a:ext>
            </a:extLst>
          </p:cNvPr>
          <p:cNvPicPr>
            <a:picLocks noChangeAspect="1"/>
          </p:cNvPicPr>
          <p:nvPr userDrawn="1"/>
        </p:nvPicPr>
        <p:blipFill rotWithShape="1">
          <a:blip r:embed="rId3"/>
          <a:srcRect t="-2" b="43358"/>
          <a:stretch/>
        </p:blipFill>
        <p:spPr>
          <a:xfrm>
            <a:off x="0" y="0"/>
            <a:ext cx="12192000" cy="3884613"/>
          </a:xfrm>
          <a:prstGeom prst="rect">
            <a:avLst/>
          </a:prstGeom>
        </p:spPr>
      </p:pic>
      <p:pic>
        <p:nvPicPr>
          <p:cNvPr id="4" name="AZ Logo">
            <a:extLst>
              <a:ext uri="{FF2B5EF4-FFF2-40B4-BE49-F238E27FC236}">
                <a16:creationId xmlns:a16="http://schemas.microsoft.com/office/drawing/2014/main" id="{BAF022EA-B715-ECEA-F817-A25B1AA28F6C}"/>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13781" y="6218640"/>
            <a:ext cx="1147048" cy="275941"/>
          </a:xfrm>
          <a:prstGeom prst="rect">
            <a:avLst/>
          </a:prstGeom>
        </p:spPr>
      </p:pic>
      <p:pic>
        <p:nvPicPr>
          <p:cNvPr id="7" name="MSD Logo">
            <a:extLst>
              <a:ext uri="{FF2B5EF4-FFF2-40B4-BE49-F238E27FC236}">
                <a16:creationId xmlns:a16="http://schemas.microsoft.com/office/drawing/2014/main" id="{27211294-3528-ACC7-1998-6ACE1BB7EEE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221791" y="6307032"/>
            <a:ext cx="668100" cy="244800"/>
          </a:xfrm>
          <a:prstGeom prst="rect">
            <a:avLst/>
          </a:prstGeom>
        </p:spPr>
      </p:pic>
      <p:sp>
        <p:nvSpPr>
          <p:cNvPr id="8" name="Copy">
            <a:extLst>
              <a:ext uri="{FF2B5EF4-FFF2-40B4-BE49-F238E27FC236}">
                <a16:creationId xmlns:a16="http://schemas.microsoft.com/office/drawing/2014/main" id="{4AE24A23-514F-FCD0-1911-DC197C776A90}"/>
              </a:ext>
            </a:extLst>
          </p:cNvPr>
          <p:cNvSpPr/>
          <p:nvPr userDrawn="1"/>
        </p:nvSpPr>
        <p:spPr>
          <a:xfrm>
            <a:off x="3769070" y="6340693"/>
            <a:ext cx="6277455" cy="153888"/>
          </a:xfrm>
          <a:prstGeom prst="rect">
            <a:avLst/>
          </a:prstGeom>
        </p:spPr>
        <p:txBody>
          <a:bodyPr wrap="square" lIns="0"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48496262"/>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guide id="3" orient="horz" pos="2447"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447ADDD-920E-4BEB-819B-9759B3CF06AB}"/>
              </a:ext>
            </a:extLst>
          </p:cNvPr>
          <p:cNvSpPr>
            <a:spLocks noGrp="1"/>
          </p:cNvSpPr>
          <p:nvPr>
            <p:ph type="title" hasCustomPrompt="1"/>
          </p:nvPr>
        </p:nvSpPr>
        <p:spPr>
          <a:xfrm>
            <a:off x="1" y="0"/>
            <a:ext cx="5562601" cy="6858000"/>
          </a:xfrm>
          <a:custGeom>
            <a:avLst/>
            <a:gdLst>
              <a:gd name="connsiteX0" fmla="*/ 0 w 5562601"/>
              <a:gd name="connsiteY0" fmla="*/ 0 h 6858000"/>
              <a:gd name="connsiteX1" fmla="*/ 3124199 w 5562601"/>
              <a:gd name="connsiteY1" fmla="*/ 0 h 6858000"/>
              <a:gd name="connsiteX2" fmla="*/ 3694793 w 5562601"/>
              <a:gd name="connsiteY2" fmla="*/ 0 h 6858000"/>
              <a:gd name="connsiteX3" fmla="*/ 3762493 w 5562601"/>
              <a:gd name="connsiteY3" fmla="*/ 43402 h 6858000"/>
              <a:gd name="connsiteX4" fmla="*/ 5562601 w 5562601"/>
              <a:gd name="connsiteY4" fmla="*/ 3429000 h 6858000"/>
              <a:gd name="connsiteX5" fmla="*/ 3762493 w 5562601"/>
              <a:gd name="connsiteY5" fmla="*/ 6814598 h 6858000"/>
              <a:gd name="connsiteX6" fmla="*/ 3694792 w 5562601"/>
              <a:gd name="connsiteY6" fmla="*/ 6858000 h 6858000"/>
              <a:gd name="connsiteX7" fmla="*/ 0 w 5562601"/>
              <a:gd name="connsiteY7" fmla="*/ 6858000 h 6858000"/>
              <a:gd name="connsiteX8" fmla="*/ 0 w 5562601"/>
              <a:gd name="connsiteY8" fmla="*/ 26016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2601" h="6858000">
                <a:moveTo>
                  <a:pt x="0" y="0"/>
                </a:moveTo>
                <a:lnTo>
                  <a:pt x="3124199" y="0"/>
                </a:lnTo>
                <a:lnTo>
                  <a:pt x="3694793" y="0"/>
                </a:lnTo>
                <a:lnTo>
                  <a:pt x="3762493" y="43402"/>
                </a:lnTo>
                <a:cubicBezTo>
                  <a:pt x="4848549" y="777127"/>
                  <a:pt x="5562601" y="2019676"/>
                  <a:pt x="5562601" y="3429000"/>
                </a:cubicBezTo>
                <a:cubicBezTo>
                  <a:pt x="5562601" y="4838325"/>
                  <a:pt x="4848549" y="6080873"/>
                  <a:pt x="3762493" y="6814598"/>
                </a:cubicBezTo>
                <a:lnTo>
                  <a:pt x="3694792" y="6858000"/>
                </a:lnTo>
                <a:lnTo>
                  <a:pt x="0" y="6858000"/>
                </a:lnTo>
                <a:lnTo>
                  <a:pt x="0" y="2601686"/>
                </a:lnTo>
                <a:close/>
              </a:path>
            </a:pathLst>
          </a:custGeom>
          <a:solidFill>
            <a:schemeClr val="tx1"/>
          </a:solidFill>
        </p:spPr>
        <p:txBody>
          <a:bodyPr wrap="square" lIns="396000" tIns="2160000" bIns="2880000" rtlCol="0" anchor="b" anchorCtr="0">
            <a:normAutofit/>
          </a:bodyPr>
          <a:lstStyle>
            <a:lvl1pPr>
              <a:lnSpc>
                <a:spcPct val="100000"/>
              </a:lnSpc>
              <a:defRPr sz="4000">
                <a:solidFill>
                  <a:schemeClr val="bg1"/>
                </a:solidFill>
              </a:defRPr>
            </a:lvl1pPr>
          </a:lstStyle>
          <a:p>
            <a:pPr rtl="0"/>
            <a:r>
              <a:rPr lang="ru"/>
              <a:t>Click to enter</a:t>
            </a:r>
            <a:br>
              <a:rPr lang="en-US"/>
            </a:br>
            <a:r>
              <a:rPr lang="ru"/>
              <a:t>section title here</a:t>
            </a:r>
            <a:endParaRPr lang="en-GB"/>
          </a:p>
        </p:txBody>
      </p:sp>
      <p:sp>
        <p:nvSpPr>
          <p:cNvPr id="20" name="Text Placeholder 30">
            <a:extLst>
              <a:ext uri="{FF2B5EF4-FFF2-40B4-BE49-F238E27FC236}">
                <a16:creationId xmlns:a16="http://schemas.microsoft.com/office/drawing/2014/main" id="{9A77974F-FF01-4E3F-957B-CC5A44F8CE16}"/>
              </a:ext>
            </a:extLst>
          </p:cNvPr>
          <p:cNvSpPr txBox="1">
            <a:spLocks/>
          </p:cNvSpPr>
          <p:nvPr userDrawn="1"/>
        </p:nvSpPr>
        <p:spPr>
          <a:xfrm>
            <a:off x="11597151" y="6303999"/>
            <a:ext cx="294812" cy="355098"/>
          </a:xfrm>
          <a:prstGeom prst="rect">
            <a:avLst/>
          </a:pr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rtlCol="0"/>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lnSpc>
                <a:spcPct val="100000"/>
              </a:lnSpc>
            </a:pPr>
            <a:r>
              <a:rPr lang="ru"/>
              <a:t> </a:t>
            </a:r>
          </a:p>
        </p:txBody>
      </p:sp>
      <p:pic>
        <p:nvPicPr>
          <p:cNvPr id="11" name="Picture 10" descr="msd_lg_rgb_tl_dkgry.jpg">
            <a:extLst>
              <a:ext uri="{FF2B5EF4-FFF2-40B4-BE49-F238E27FC236}">
                <a16:creationId xmlns:a16="http://schemas.microsoft.com/office/drawing/2014/main" id="{BD57762E-0941-4001-AABD-01249AFFEED7}"/>
              </a:ext>
            </a:extLst>
          </p:cNvPr>
          <p:cNvPicPr>
            <a:picLocks noChangeAspect="1"/>
          </p:cNvPicPr>
          <p:nvPr userDrawn="1"/>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31338" y="6289435"/>
            <a:ext cx="436685" cy="397931"/>
          </a:xfrm>
          <a:prstGeom prst="rect">
            <a:avLst/>
          </a:prstGeom>
        </p:spPr>
      </p:pic>
    </p:spTree>
    <p:custDataLst>
      <p:tags r:id="rId1"/>
    </p:custDataLst>
    <p:extLst>
      <p:ext uri="{BB962C8B-B14F-4D97-AF65-F5344CB8AC3E}">
        <p14:creationId xmlns:p14="http://schemas.microsoft.com/office/powerpoint/2010/main" val="38349492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3_Section Divider">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447ADDD-920E-4BEB-819B-9759B3CF06AB}"/>
              </a:ext>
            </a:extLst>
          </p:cNvPr>
          <p:cNvSpPr>
            <a:spLocks noGrp="1"/>
          </p:cNvSpPr>
          <p:nvPr>
            <p:ph type="title" hasCustomPrompt="1"/>
          </p:nvPr>
        </p:nvSpPr>
        <p:spPr>
          <a:xfrm>
            <a:off x="1" y="0"/>
            <a:ext cx="5562601" cy="6858000"/>
          </a:xfrm>
          <a:custGeom>
            <a:avLst/>
            <a:gdLst>
              <a:gd name="connsiteX0" fmla="*/ 0 w 5562601"/>
              <a:gd name="connsiteY0" fmla="*/ 0 h 6858000"/>
              <a:gd name="connsiteX1" fmla="*/ 3124199 w 5562601"/>
              <a:gd name="connsiteY1" fmla="*/ 0 h 6858000"/>
              <a:gd name="connsiteX2" fmla="*/ 3694793 w 5562601"/>
              <a:gd name="connsiteY2" fmla="*/ 0 h 6858000"/>
              <a:gd name="connsiteX3" fmla="*/ 3762493 w 5562601"/>
              <a:gd name="connsiteY3" fmla="*/ 43402 h 6858000"/>
              <a:gd name="connsiteX4" fmla="*/ 5562601 w 5562601"/>
              <a:gd name="connsiteY4" fmla="*/ 3429000 h 6858000"/>
              <a:gd name="connsiteX5" fmla="*/ 3762493 w 5562601"/>
              <a:gd name="connsiteY5" fmla="*/ 6814598 h 6858000"/>
              <a:gd name="connsiteX6" fmla="*/ 3694792 w 5562601"/>
              <a:gd name="connsiteY6" fmla="*/ 6858000 h 6858000"/>
              <a:gd name="connsiteX7" fmla="*/ 0 w 5562601"/>
              <a:gd name="connsiteY7" fmla="*/ 6858000 h 6858000"/>
              <a:gd name="connsiteX8" fmla="*/ 0 w 5562601"/>
              <a:gd name="connsiteY8" fmla="*/ 26016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2601" h="6858000">
                <a:moveTo>
                  <a:pt x="0" y="0"/>
                </a:moveTo>
                <a:lnTo>
                  <a:pt x="3124199" y="0"/>
                </a:lnTo>
                <a:lnTo>
                  <a:pt x="3694793" y="0"/>
                </a:lnTo>
                <a:lnTo>
                  <a:pt x="3762493" y="43402"/>
                </a:lnTo>
                <a:cubicBezTo>
                  <a:pt x="4848549" y="777127"/>
                  <a:pt x="5562601" y="2019676"/>
                  <a:pt x="5562601" y="3429000"/>
                </a:cubicBezTo>
                <a:cubicBezTo>
                  <a:pt x="5562601" y="4838325"/>
                  <a:pt x="4848549" y="6080873"/>
                  <a:pt x="3762493" y="6814598"/>
                </a:cubicBezTo>
                <a:lnTo>
                  <a:pt x="3694792" y="6858000"/>
                </a:lnTo>
                <a:lnTo>
                  <a:pt x="0" y="6858000"/>
                </a:lnTo>
                <a:lnTo>
                  <a:pt x="0" y="2601686"/>
                </a:lnTo>
                <a:close/>
              </a:path>
            </a:pathLst>
          </a:custGeom>
          <a:solidFill>
            <a:schemeClr val="accent3"/>
          </a:solidFill>
        </p:spPr>
        <p:txBody>
          <a:bodyPr wrap="square" lIns="396000" tIns="2160000" bIns="2880000" rtlCol="0" anchor="b" anchorCtr="0">
            <a:normAutofit/>
          </a:bodyPr>
          <a:lstStyle>
            <a:lvl1pPr>
              <a:lnSpc>
                <a:spcPct val="100000"/>
              </a:lnSpc>
              <a:defRPr sz="4000">
                <a:solidFill>
                  <a:schemeClr val="bg1"/>
                </a:solidFill>
              </a:defRPr>
            </a:lvl1pPr>
          </a:lstStyle>
          <a:p>
            <a:pPr rtl="0"/>
            <a:r>
              <a:rPr lang="ru"/>
              <a:t>Click to enter</a:t>
            </a:r>
            <a:br>
              <a:rPr lang="en-US"/>
            </a:br>
            <a:r>
              <a:rPr lang="ru"/>
              <a:t>section title here</a:t>
            </a:r>
            <a:endParaRPr lang="en-GB"/>
          </a:p>
        </p:txBody>
      </p:sp>
      <p:sp>
        <p:nvSpPr>
          <p:cNvPr id="20" name="Text Placeholder 30">
            <a:extLst>
              <a:ext uri="{FF2B5EF4-FFF2-40B4-BE49-F238E27FC236}">
                <a16:creationId xmlns:a16="http://schemas.microsoft.com/office/drawing/2014/main" id="{9A77974F-FF01-4E3F-957B-CC5A44F8CE16}"/>
              </a:ext>
            </a:extLst>
          </p:cNvPr>
          <p:cNvSpPr txBox="1">
            <a:spLocks/>
          </p:cNvSpPr>
          <p:nvPr userDrawn="1"/>
        </p:nvSpPr>
        <p:spPr>
          <a:xfrm>
            <a:off x="11597151" y="6303999"/>
            <a:ext cx="294812" cy="355098"/>
          </a:xfrm>
          <a:prstGeom prst="rect">
            <a:avLst/>
          </a:pr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rtlCol="0"/>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lnSpc>
                <a:spcPct val="100000"/>
              </a:lnSpc>
            </a:pPr>
            <a:r>
              <a:rPr lang="ru"/>
              <a:t> </a:t>
            </a:r>
          </a:p>
        </p:txBody>
      </p:sp>
      <p:pic>
        <p:nvPicPr>
          <p:cNvPr id="11" name="Picture 10" descr="msd_lg_rgb_tl_dkgry.jpg">
            <a:extLst>
              <a:ext uri="{FF2B5EF4-FFF2-40B4-BE49-F238E27FC236}">
                <a16:creationId xmlns:a16="http://schemas.microsoft.com/office/drawing/2014/main" id="{BD57762E-0941-4001-AABD-01249AFFEED7}"/>
              </a:ext>
            </a:extLst>
          </p:cNvPr>
          <p:cNvPicPr>
            <a:picLocks noChangeAspect="1"/>
          </p:cNvPicPr>
          <p:nvPr userDrawn="1"/>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31338" y="6289435"/>
            <a:ext cx="436685" cy="397931"/>
          </a:xfrm>
          <a:prstGeom prst="rect">
            <a:avLst/>
          </a:prstGeom>
        </p:spPr>
      </p:pic>
    </p:spTree>
    <p:custDataLst>
      <p:tags r:id="rId1"/>
    </p:custDataLst>
    <p:extLst>
      <p:ext uri="{BB962C8B-B14F-4D97-AF65-F5344CB8AC3E}">
        <p14:creationId xmlns:p14="http://schemas.microsoft.com/office/powerpoint/2010/main" val="135739795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2_Section Divider">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447ADDD-920E-4BEB-819B-9759B3CF06AB}"/>
              </a:ext>
            </a:extLst>
          </p:cNvPr>
          <p:cNvSpPr>
            <a:spLocks noGrp="1"/>
          </p:cNvSpPr>
          <p:nvPr>
            <p:ph type="title" hasCustomPrompt="1"/>
          </p:nvPr>
        </p:nvSpPr>
        <p:spPr>
          <a:xfrm>
            <a:off x="0" y="0"/>
            <a:ext cx="5562601" cy="6858000"/>
          </a:xfrm>
          <a:custGeom>
            <a:avLst/>
            <a:gdLst>
              <a:gd name="connsiteX0" fmla="*/ 0 w 5562601"/>
              <a:gd name="connsiteY0" fmla="*/ 0 h 6858000"/>
              <a:gd name="connsiteX1" fmla="*/ 3124199 w 5562601"/>
              <a:gd name="connsiteY1" fmla="*/ 0 h 6858000"/>
              <a:gd name="connsiteX2" fmla="*/ 3694793 w 5562601"/>
              <a:gd name="connsiteY2" fmla="*/ 0 h 6858000"/>
              <a:gd name="connsiteX3" fmla="*/ 3762493 w 5562601"/>
              <a:gd name="connsiteY3" fmla="*/ 43402 h 6858000"/>
              <a:gd name="connsiteX4" fmla="*/ 5562601 w 5562601"/>
              <a:gd name="connsiteY4" fmla="*/ 3429000 h 6858000"/>
              <a:gd name="connsiteX5" fmla="*/ 3762493 w 5562601"/>
              <a:gd name="connsiteY5" fmla="*/ 6814598 h 6858000"/>
              <a:gd name="connsiteX6" fmla="*/ 3694792 w 5562601"/>
              <a:gd name="connsiteY6" fmla="*/ 6858000 h 6858000"/>
              <a:gd name="connsiteX7" fmla="*/ 0 w 5562601"/>
              <a:gd name="connsiteY7" fmla="*/ 6858000 h 6858000"/>
              <a:gd name="connsiteX8" fmla="*/ 0 w 5562601"/>
              <a:gd name="connsiteY8" fmla="*/ 26016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2601" h="6858000">
                <a:moveTo>
                  <a:pt x="0" y="0"/>
                </a:moveTo>
                <a:lnTo>
                  <a:pt x="3124199" y="0"/>
                </a:lnTo>
                <a:lnTo>
                  <a:pt x="3694793" y="0"/>
                </a:lnTo>
                <a:lnTo>
                  <a:pt x="3762493" y="43402"/>
                </a:lnTo>
                <a:cubicBezTo>
                  <a:pt x="4848549" y="777127"/>
                  <a:pt x="5562601" y="2019676"/>
                  <a:pt x="5562601" y="3429000"/>
                </a:cubicBezTo>
                <a:cubicBezTo>
                  <a:pt x="5562601" y="4838325"/>
                  <a:pt x="4848549" y="6080873"/>
                  <a:pt x="3762493" y="6814598"/>
                </a:cubicBezTo>
                <a:lnTo>
                  <a:pt x="3694792" y="6858000"/>
                </a:lnTo>
                <a:lnTo>
                  <a:pt x="0" y="6858000"/>
                </a:lnTo>
                <a:lnTo>
                  <a:pt x="0" y="2601686"/>
                </a:lnTo>
                <a:close/>
              </a:path>
            </a:pathLst>
          </a:custGeom>
          <a:solidFill>
            <a:schemeClr val="accent2"/>
          </a:solidFill>
        </p:spPr>
        <p:txBody>
          <a:bodyPr wrap="square" lIns="396000" tIns="2160000" bIns="2880000" rtlCol="0" anchor="b" anchorCtr="0">
            <a:normAutofit/>
          </a:bodyPr>
          <a:lstStyle>
            <a:lvl1pPr>
              <a:lnSpc>
                <a:spcPct val="100000"/>
              </a:lnSpc>
              <a:defRPr sz="4000">
                <a:solidFill>
                  <a:schemeClr val="bg1"/>
                </a:solidFill>
              </a:defRPr>
            </a:lvl1pPr>
          </a:lstStyle>
          <a:p>
            <a:pPr rtl="0"/>
            <a:r>
              <a:rPr lang="ru"/>
              <a:t>Click to enter</a:t>
            </a:r>
            <a:br>
              <a:rPr lang="en-US"/>
            </a:br>
            <a:r>
              <a:rPr lang="ru"/>
              <a:t>section title here</a:t>
            </a:r>
            <a:endParaRPr lang="en-GB"/>
          </a:p>
        </p:txBody>
      </p:sp>
      <p:sp>
        <p:nvSpPr>
          <p:cNvPr id="20" name="Text Placeholder 30">
            <a:extLst>
              <a:ext uri="{FF2B5EF4-FFF2-40B4-BE49-F238E27FC236}">
                <a16:creationId xmlns:a16="http://schemas.microsoft.com/office/drawing/2014/main" id="{9A77974F-FF01-4E3F-957B-CC5A44F8CE16}"/>
              </a:ext>
            </a:extLst>
          </p:cNvPr>
          <p:cNvSpPr txBox="1">
            <a:spLocks/>
          </p:cNvSpPr>
          <p:nvPr userDrawn="1"/>
        </p:nvSpPr>
        <p:spPr>
          <a:xfrm>
            <a:off x="11597151" y="6303999"/>
            <a:ext cx="294812" cy="355098"/>
          </a:xfrm>
          <a:prstGeom prst="rect">
            <a:avLst/>
          </a:pr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rtlCol="0"/>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lnSpc>
                <a:spcPct val="100000"/>
              </a:lnSpc>
            </a:pPr>
            <a:r>
              <a:rPr lang="ru"/>
              <a:t> </a:t>
            </a:r>
          </a:p>
        </p:txBody>
      </p:sp>
      <p:pic>
        <p:nvPicPr>
          <p:cNvPr id="11" name="Picture 10" descr="msd_lg_rgb_tl_dkgry.jpg">
            <a:extLst>
              <a:ext uri="{FF2B5EF4-FFF2-40B4-BE49-F238E27FC236}">
                <a16:creationId xmlns:a16="http://schemas.microsoft.com/office/drawing/2014/main" id="{BD57762E-0941-4001-AABD-01249AFFEED7}"/>
              </a:ext>
            </a:extLst>
          </p:cNvPr>
          <p:cNvPicPr>
            <a:picLocks noChangeAspect="1"/>
          </p:cNvPicPr>
          <p:nvPr userDrawn="1"/>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31338" y="6289435"/>
            <a:ext cx="436685" cy="397931"/>
          </a:xfrm>
          <a:prstGeom prst="rect">
            <a:avLst/>
          </a:prstGeom>
        </p:spPr>
      </p:pic>
    </p:spTree>
    <p:custDataLst>
      <p:tags r:id="rId1"/>
    </p:custDataLst>
    <p:extLst>
      <p:ext uri="{BB962C8B-B14F-4D97-AF65-F5344CB8AC3E}">
        <p14:creationId xmlns:p14="http://schemas.microsoft.com/office/powerpoint/2010/main" val="3099900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Key Statem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CFFF0-7218-4B33-8DFC-E37157D920C0}"/>
              </a:ext>
            </a:extLst>
          </p:cNvPr>
          <p:cNvSpPr>
            <a:spLocks noGrp="1"/>
          </p:cNvSpPr>
          <p:nvPr>
            <p:ph type="title" hasCustomPrompt="1"/>
          </p:nvPr>
        </p:nvSpPr>
        <p:spPr>
          <a:xfrm>
            <a:off x="3288323" y="555585"/>
            <a:ext cx="5615354" cy="5614274"/>
          </a:xfrm>
          <a:prstGeom prst="ellipse">
            <a:avLst/>
          </a:prstGeom>
          <a:solidFill>
            <a:schemeClr val="bg1"/>
          </a:solidFill>
        </p:spPr>
        <p:txBody>
          <a:bodyPr rtlCol="0" anchor="ctr" anchorCtr="0">
            <a:normAutofit/>
          </a:bodyPr>
          <a:lstStyle>
            <a:lvl1pPr algn="ctr">
              <a:defRPr sz="4000">
                <a:solidFill>
                  <a:schemeClr val="accent1"/>
                </a:solidFill>
              </a:defRPr>
            </a:lvl1pPr>
          </a:lstStyle>
          <a:p>
            <a:pPr rtl="0"/>
            <a:r>
              <a:rPr lang="ru"/>
              <a:t>Click to add key statement</a:t>
            </a:r>
          </a:p>
        </p:txBody>
      </p:sp>
      <p:sp>
        <p:nvSpPr>
          <p:cNvPr id="3" name="Date Placeholder 2">
            <a:extLst>
              <a:ext uri="{FF2B5EF4-FFF2-40B4-BE49-F238E27FC236}">
                <a16:creationId xmlns:a16="http://schemas.microsoft.com/office/drawing/2014/main" id="{BA8931D2-AD7B-454A-86A6-EA48B20C0CCA}"/>
              </a:ext>
            </a:extLst>
          </p:cNvPr>
          <p:cNvSpPr>
            <a:spLocks noGrp="1"/>
          </p:cNvSpPr>
          <p:nvPr>
            <p:ph type="dt" sz="half" idx="10"/>
          </p:nvPr>
        </p:nvSpPr>
        <p:spPr/>
        <p:txBody>
          <a:bodyPr rtlCol="0"/>
          <a:lstStyle>
            <a:lvl1pPr>
              <a:defRPr>
                <a:solidFill>
                  <a:schemeClr val="bg1"/>
                </a:solidFill>
              </a:defRPr>
            </a:lvl1pPr>
          </a:lstStyle>
          <a:p>
            <a:pPr rtl="0"/>
            <a:endParaRPr lang="en-GB" dirty="0"/>
          </a:p>
        </p:txBody>
      </p:sp>
      <p:sp>
        <p:nvSpPr>
          <p:cNvPr id="5" name="Slide Number Placeholder 4">
            <a:extLst>
              <a:ext uri="{FF2B5EF4-FFF2-40B4-BE49-F238E27FC236}">
                <a16:creationId xmlns:a16="http://schemas.microsoft.com/office/drawing/2014/main" id="{5C0FD97D-3F39-4649-B10A-ECD97F370F22}"/>
              </a:ext>
            </a:extLst>
          </p:cNvPr>
          <p:cNvSpPr>
            <a:spLocks noGrp="1"/>
          </p:cNvSpPr>
          <p:nvPr>
            <p:ph type="sldNum" sz="quarter" idx="12"/>
          </p:nvPr>
        </p:nvSpPr>
        <p:spPr/>
        <p:txBody>
          <a:bodyPr rtlCol="0"/>
          <a:lstStyle>
            <a:lvl1pPr>
              <a:defRPr>
                <a:solidFill>
                  <a:schemeClr val="bg1"/>
                </a:solidFill>
              </a:defRPr>
            </a:lvl1pPr>
          </a:lstStyle>
          <a:p>
            <a:pPr rtl="0"/>
            <a:fld id="{F8E47D07-9D1E-4FE9-B31A-2F5863681021}" type="slidenum">
              <a:rPr lang="en-GB" smtClean="0"/>
              <a:pPr/>
              <a:t>‹#›</a:t>
            </a:fld>
            <a:endParaRPr lang="en-GB" dirty="0"/>
          </a:p>
        </p:txBody>
      </p:sp>
    </p:spTree>
    <p:custDataLst>
      <p:tags r:id="rId1"/>
    </p:custDataLst>
    <p:extLst>
      <p:ext uri="{BB962C8B-B14F-4D97-AF65-F5344CB8AC3E}">
        <p14:creationId xmlns:p14="http://schemas.microsoft.com/office/powerpoint/2010/main" val="226937718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rtlCol="0"/>
          <a:lstStyle>
            <a:lvl1pPr>
              <a:defRPr/>
            </a:lvl1pPr>
          </a:lstStyle>
          <a:p>
            <a:pPr rtl="0"/>
            <a:r>
              <a:rPr lang="ru"/>
              <a:t>Click to enter title here</a:t>
            </a:r>
          </a:p>
        </p:txBody>
      </p:sp>
      <p:sp>
        <p:nvSpPr>
          <p:cNvPr id="8" name="Date Placeholder 7">
            <a:extLst>
              <a:ext uri="{FF2B5EF4-FFF2-40B4-BE49-F238E27FC236}">
                <a16:creationId xmlns:a16="http://schemas.microsoft.com/office/drawing/2014/main" id="{11075AA4-1FA9-4704-A587-D8E88C1D1EF9}"/>
              </a:ext>
            </a:extLst>
          </p:cNvPr>
          <p:cNvSpPr>
            <a:spLocks noGrp="1"/>
          </p:cNvSpPr>
          <p:nvPr>
            <p:ph type="dt" sz="half" idx="10"/>
          </p:nvPr>
        </p:nvSpPr>
        <p:spPr/>
        <p:txBody>
          <a:bodyPr rtlCol="0"/>
          <a:lstStyle/>
          <a:p>
            <a:pPr rtl="0"/>
            <a:endParaRPr lang="en-GB" dirty="0"/>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rtlCol="0"/>
          <a:lstStyle/>
          <a:p>
            <a:pPr rtl="0"/>
            <a:fld id="{F8E47D07-9D1E-4FE9-B31A-2F5863681021}" type="slidenum">
              <a:rPr lang="en-GB" smtClean="0"/>
              <a:pPr/>
              <a:t>‹#›</a:t>
            </a:fld>
            <a:endParaRPr lang="en-GB" dirty="0"/>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8" y="6200774"/>
            <a:ext cx="9729787" cy="657225"/>
          </a:xfrm>
        </p:spPr>
        <p:txBody>
          <a:bodyPr rtlCol="0" anchor="b" anchorCtr="0">
            <a:noAutofit/>
          </a:bodyPr>
          <a:lstStyle>
            <a:lvl1pPr>
              <a:spcAft>
                <a:spcPts val="300"/>
              </a:spcAft>
              <a:buNone/>
              <a:defRPr sz="800">
                <a:solidFill>
                  <a:srgbClr val="7F7F7F"/>
                </a:solidFill>
              </a:defRPr>
            </a:lvl1pPr>
          </a:lstStyle>
          <a:p>
            <a:pPr lvl="0" rtl="0"/>
            <a:r>
              <a:rPr lang="ru"/>
              <a:t>Footnotes</a:t>
            </a:r>
          </a:p>
        </p:txBody>
      </p:sp>
      <p:pic>
        <p:nvPicPr>
          <p:cNvPr id="7" name="Picture 6" descr="msd_lg_rgb_tl_dkgry.jpg">
            <a:extLst>
              <a:ext uri="{FF2B5EF4-FFF2-40B4-BE49-F238E27FC236}">
                <a16:creationId xmlns:a16="http://schemas.microsoft.com/office/drawing/2014/main" id="{775E8429-CF06-41CB-BCA4-917B8E8ECBD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338" y="6289435"/>
            <a:ext cx="436685" cy="397931"/>
          </a:xfrm>
          <a:prstGeom prst="rect">
            <a:avLst/>
          </a:prstGeom>
        </p:spPr>
      </p:pic>
    </p:spTree>
    <p:custDataLst>
      <p:tags r:id="rId1"/>
    </p:custDataLst>
    <p:extLst>
      <p:ext uri="{BB962C8B-B14F-4D97-AF65-F5344CB8AC3E}">
        <p14:creationId xmlns:p14="http://schemas.microsoft.com/office/powerpoint/2010/main" val="4258506156"/>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rtlCol="0"/>
          <a:lstStyle>
            <a:lvl1pPr>
              <a:defRPr/>
            </a:lvl1pPr>
          </a:lstStyle>
          <a:p>
            <a:pPr rtl="0"/>
            <a:r>
              <a:rPr lang="ru"/>
              <a:t>Click to enter title here</a:t>
            </a:r>
          </a:p>
        </p:txBody>
      </p:sp>
      <p:sp>
        <p:nvSpPr>
          <p:cNvPr id="8" name="Date Placeholder 7">
            <a:extLst>
              <a:ext uri="{FF2B5EF4-FFF2-40B4-BE49-F238E27FC236}">
                <a16:creationId xmlns:a16="http://schemas.microsoft.com/office/drawing/2014/main" id="{11075AA4-1FA9-4704-A587-D8E88C1D1EF9}"/>
              </a:ext>
            </a:extLst>
          </p:cNvPr>
          <p:cNvSpPr>
            <a:spLocks noGrp="1"/>
          </p:cNvSpPr>
          <p:nvPr>
            <p:ph type="dt" sz="half" idx="10"/>
          </p:nvPr>
        </p:nvSpPr>
        <p:spPr/>
        <p:txBody>
          <a:bodyPr rtlCol="0"/>
          <a:lstStyle/>
          <a:p>
            <a:pPr rtl="0"/>
            <a:endParaRPr lang="en-GB" dirty="0"/>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rtlCol="0"/>
          <a:lstStyle/>
          <a:p>
            <a:pPr rtl="0"/>
            <a:fld id="{F8E47D07-9D1E-4FE9-B31A-2F5863681021}" type="slidenum">
              <a:rPr lang="en-GB" smtClean="0"/>
              <a:pPr/>
              <a:t>‹#›</a:t>
            </a:fld>
            <a:endParaRPr lang="en-GB" dirty="0"/>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8" y="6200774"/>
            <a:ext cx="9729787" cy="657225"/>
          </a:xfrm>
        </p:spPr>
        <p:txBody>
          <a:bodyPr rtlCol="0" anchor="b" anchorCtr="0">
            <a:noAutofit/>
          </a:bodyPr>
          <a:lstStyle>
            <a:lvl1pPr>
              <a:spcAft>
                <a:spcPts val="300"/>
              </a:spcAft>
              <a:buNone/>
              <a:defRPr sz="800">
                <a:solidFill>
                  <a:srgbClr val="7F7F7F"/>
                </a:solidFill>
              </a:defRPr>
            </a:lvl1pPr>
          </a:lstStyle>
          <a:p>
            <a:pPr lvl="0" rtl="0"/>
            <a:r>
              <a:rPr lang="ru"/>
              <a:t>Footnotes</a:t>
            </a:r>
          </a:p>
        </p:txBody>
      </p:sp>
      <p:pic>
        <p:nvPicPr>
          <p:cNvPr id="7" name="Picture 6" descr="msd_lg_rgb_tl_dkgry.jpg">
            <a:extLst>
              <a:ext uri="{FF2B5EF4-FFF2-40B4-BE49-F238E27FC236}">
                <a16:creationId xmlns:a16="http://schemas.microsoft.com/office/drawing/2014/main" id="{775E8429-CF06-41CB-BCA4-917B8E8ECBD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1338" y="6306061"/>
            <a:ext cx="436685" cy="397931"/>
          </a:xfrm>
          <a:prstGeom prst="rect">
            <a:avLst/>
          </a:prstGeom>
        </p:spPr>
      </p:pic>
      <p:graphicFrame>
        <p:nvGraphicFramePr>
          <p:cNvPr id="119" name="Table 56">
            <a:extLst>
              <a:ext uri="{FF2B5EF4-FFF2-40B4-BE49-F238E27FC236}">
                <a16:creationId xmlns:a16="http://schemas.microsoft.com/office/drawing/2014/main" id="{AAB25B58-B778-493E-982C-1E0206D6829A}"/>
              </a:ext>
            </a:extLst>
          </p:cNvPr>
          <p:cNvGraphicFramePr>
            <a:graphicFrameLocks noGrp="1"/>
          </p:cNvGraphicFramePr>
          <p:nvPr userDrawn="1">
            <p:extLst>
              <p:ext uri="{D42A27DB-BD31-4B8C-83A1-F6EECF244321}">
                <p14:modId xmlns:p14="http://schemas.microsoft.com/office/powerpoint/2010/main" val="68659216"/>
              </p:ext>
            </p:extLst>
          </p:nvPr>
        </p:nvGraphicFramePr>
        <p:xfrm>
          <a:off x="399024" y="1463971"/>
          <a:ext cx="11184565" cy="4682358"/>
        </p:xfrm>
        <a:graphic>
          <a:graphicData uri="http://schemas.openxmlformats.org/drawingml/2006/table">
            <a:tbl>
              <a:tblPr firstRow="1" bandRow="1"/>
              <a:tblGrid>
                <a:gridCol w="1177405">
                  <a:extLst>
                    <a:ext uri="{9D8B030D-6E8A-4147-A177-3AD203B41FA5}">
                      <a16:colId xmlns:a16="http://schemas.microsoft.com/office/drawing/2014/main" val="3588416118"/>
                    </a:ext>
                  </a:extLst>
                </a:gridCol>
                <a:gridCol w="10007160">
                  <a:extLst>
                    <a:ext uri="{9D8B030D-6E8A-4147-A177-3AD203B41FA5}">
                      <a16:colId xmlns:a16="http://schemas.microsoft.com/office/drawing/2014/main" val="3304543107"/>
                    </a:ext>
                  </a:extLst>
                </a:gridCol>
              </a:tblGrid>
              <a:tr h="61695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rtl="0"/>
                      <a:r>
                        <a:rPr lang="ru" sz="1000" b="1">
                          <a:solidFill>
                            <a:schemeClr val="tx1"/>
                          </a:solidFill>
                          <a:latin typeface="+mn-lt"/>
                          <a:cs typeface="Arial" panose="020B0604020202020204" pitchFamily="34" charset="0"/>
                        </a:rPr>
                        <a:t>Trial design</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rtl="0"/>
                      <a:endParaRPr lang="en-GB" sz="1000" b="1" dirty="0">
                        <a:solidFill>
                          <a:schemeClr val="tx1"/>
                        </a:solidFill>
                        <a:latin typeface="+mn-lt"/>
                        <a:cs typeface="Arial" panose="020B0604020202020204" pitchFamily="34" charset="0"/>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6890114"/>
                  </a:ext>
                </a:extLst>
              </a:tr>
              <a:tr h="57508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r>
                        <a:rPr lang="ru" sz="1000" b="1">
                          <a:solidFill>
                            <a:schemeClr val="tx1"/>
                          </a:solidFill>
                          <a:latin typeface="+mn-lt"/>
                          <a:cs typeface="Arial" panose="020B0604020202020204" pitchFamily="34" charset="0"/>
                        </a:rPr>
                        <a:t>Treatment</a:t>
                      </a:r>
                      <a:br>
                        <a:rPr lang="en-GB" sz="1000" b="1" dirty="0">
                          <a:solidFill>
                            <a:schemeClr val="tx1"/>
                          </a:solidFill>
                          <a:latin typeface="+mn-lt"/>
                          <a:cs typeface="Arial" panose="020B0604020202020204" pitchFamily="34" charset="0"/>
                        </a:rPr>
                      </a:br>
                      <a:r>
                        <a:rPr lang="ru" sz="1000" b="1">
                          <a:solidFill>
                            <a:schemeClr val="tx1"/>
                          </a:solidFill>
                          <a:latin typeface="+mn-lt"/>
                          <a:cs typeface="Arial" panose="020B0604020202020204" pitchFamily="34" charset="0"/>
                        </a:rPr>
                        <a:t>and dosing</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endParaRPr lang="en-GB" sz="1000" b="1" dirty="0">
                        <a:solidFill>
                          <a:schemeClr val="tx1"/>
                        </a:solidFill>
                        <a:latin typeface="+mn-lt"/>
                        <a:cs typeface="Arial" panose="020B0604020202020204" pitchFamily="34" charset="0"/>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2009073"/>
                  </a:ext>
                </a:extLst>
              </a:tr>
              <a:tr h="360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r>
                        <a:rPr lang="ru" sz="1000" b="1">
                          <a:solidFill>
                            <a:schemeClr val="tx1"/>
                          </a:solidFill>
                          <a:latin typeface="+mn-lt"/>
                          <a:cs typeface="Arial" panose="020B0604020202020204" pitchFamily="34" charset="0"/>
                        </a:rPr>
                        <a:t>Primary population</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endParaRPr lang="en-GB" sz="1000" b="1" dirty="0">
                        <a:solidFill>
                          <a:schemeClr val="tx1"/>
                        </a:solidFill>
                        <a:latin typeface="+mn-lt"/>
                        <a:cs typeface="Arial" panose="020B0604020202020204" pitchFamily="34" charset="0"/>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6848735"/>
                  </a:ext>
                </a:extLst>
              </a:tr>
              <a:tr h="74986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r>
                        <a:rPr lang="ru" sz="1000" b="1">
                          <a:solidFill>
                            <a:schemeClr val="tx1"/>
                          </a:solidFill>
                          <a:latin typeface="+mn-lt"/>
                          <a:cs typeface="Arial" panose="020B0604020202020204" pitchFamily="34" charset="0"/>
                        </a:rPr>
                        <a:t>Stratification</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endParaRPr lang="en-GB" sz="1000" b="1" dirty="0">
                        <a:solidFill>
                          <a:schemeClr val="tx1"/>
                        </a:solidFill>
                        <a:latin typeface="+mn-lt"/>
                        <a:cs typeface="Arial" panose="020B0604020202020204" pitchFamily="34" charset="0"/>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1801425"/>
                  </a:ext>
                </a:extLst>
              </a:tr>
              <a:tr h="78457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r>
                        <a:rPr lang="ru" sz="1000" b="1">
                          <a:solidFill>
                            <a:schemeClr val="tx1"/>
                          </a:solidFill>
                          <a:latin typeface="+mn-lt"/>
                          <a:cs typeface="Arial" panose="020B0604020202020204" pitchFamily="34" charset="0"/>
                        </a:rPr>
                        <a:t>HRRm gene </a:t>
                      </a:r>
                      <a:br>
                        <a:rPr lang="en-GB" sz="1000" b="1" dirty="0">
                          <a:solidFill>
                            <a:schemeClr val="tx1"/>
                          </a:solidFill>
                          <a:latin typeface="+mn-lt"/>
                          <a:cs typeface="Arial" panose="020B0604020202020204" pitchFamily="34" charset="0"/>
                        </a:rPr>
                      </a:br>
                      <a:r>
                        <a:rPr lang="ru" sz="1000" b="1">
                          <a:solidFill>
                            <a:schemeClr val="tx1"/>
                          </a:solidFill>
                          <a:latin typeface="+mn-lt"/>
                          <a:cs typeface="Arial" panose="020B0604020202020204" pitchFamily="34" charset="0"/>
                        </a:rPr>
                        <a:t>panel</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endParaRPr lang="en-GB" sz="1000" b="1" dirty="0">
                        <a:solidFill>
                          <a:schemeClr val="tx1"/>
                        </a:solidFill>
                        <a:latin typeface="+mn-lt"/>
                        <a:cs typeface="Arial" panose="020B0604020202020204" pitchFamily="34" charset="0"/>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842752"/>
                  </a:ext>
                </a:extLst>
              </a:tr>
              <a:tr h="56896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r>
                        <a:rPr lang="ru" sz="1000" b="1">
                          <a:solidFill>
                            <a:schemeClr val="tx1"/>
                          </a:solidFill>
                          <a:latin typeface="+mn-lt"/>
                          <a:cs typeface="Arial" panose="020B0604020202020204" pitchFamily="34" charset="0"/>
                        </a:rPr>
                        <a:t>Primary </a:t>
                      </a:r>
                      <a:br>
                        <a:rPr lang="en-GB" sz="1000" b="1" dirty="0">
                          <a:solidFill>
                            <a:schemeClr val="tx1"/>
                          </a:solidFill>
                          <a:latin typeface="+mn-lt"/>
                          <a:cs typeface="Arial" panose="020B0604020202020204" pitchFamily="34" charset="0"/>
                        </a:rPr>
                      </a:br>
                      <a:r>
                        <a:rPr lang="ru" sz="1000" b="1">
                          <a:solidFill>
                            <a:schemeClr val="tx1"/>
                          </a:solidFill>
                          <a:latin typeface="+mn-lt"/>
                          <a:cs typeface="Arial" panose="020B0604020202020204" pitchFamily="34" charset="0"/>
                        </a:rPr>
                        <a:t>endpoint</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endParaRPr lang="en-GB" sz="1000" b="1" dirty="0">
                        <a:solidFill>
                          <a:schemeClr val="tx1"/>
                        </a:solidFill>
                        <a:latin typeface="+mn-lt"/>
                        <a:cs typeface="Arial" panose="020B0604020202020204" pitchFamily="34" charset="0"/>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2424578"/>
                  </a:ext>
                </a:extLst>
              </a:tr>
              <a:tr h="4921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r>
                        <a:rPr lang="ru" sz="1000" b="1">
                          <a:solidFill>
                            <a:schemeClr val="tx1"/>
                          </a:solidFill>
                          <a:latin typeface="+mn-lt"/>
                          <a:cs typeface="Arial" panose="020B0604020202020204" pitchFamily="34" charset="0"/>
                        </a:rPr>
                        <a:t>Patient </a:t>
                      </a:r>
                      <a:br>
                        <a:rPr lang="en-GB" sz="1000" b="1" dirty="0">
                          <a:solidFill>
                            <a:schemeClr val="tx1"/>
                          </a:solidFill>
                          <a:latin typeface="+mn-lt"/>
                          <a:cs typeface="Arial" panose="020B0604020202020204" pitchFamily="34" charset="0"/>
                        </a:rPr>
                      </a:br>
                      <a:r>
                        <a:rPr lang="ru" sz="1000" b="1">
                          <a:solidFill>
                            <a:schemeClr val="tx1"/>
                          </a:solidFill>
                          <a:latin typeface="+mn-lt"/>
                          <a:cs typeface="Arial" panose="020B0604020202020204" pitchFamily="34" charset="0"/>
                        </a:rPr>
                        <a:t>numbers</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endParaRPr lang="en-GB" sz="1000" b="1" dirty="0">
                        <a:solidFill>
                          <a:schemeClr val="tx1"/>
                        </a:solidFill>
                        <a:latin typeface="+mn-lt"/>
                        <a:cs typeface="Arial" panose="020B0604020202020204" pitchFamily="34" charset="0"/>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932048"/>
                  </a:ext>
                </a:extLst>
              </a:tr>
              <a:tr h="468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 sz="1000" b="1">
                          <a:solidFill>
                            <a:schemeClr val="tx1"/>
                          </a:solidFill>
                          <a:latin typeface="+mn-lt"/>
                          <a:cs typeface="Arial" panose="020B0604020202020204" pitchFamily="34" charset="0"/>
                        </a:rPr>
                        <a:t>Primary completion</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endParaRPr lang="en-GB" sz="1000" b="1" dirty="0">
                        <a:solidFill>
                          <a:schemeClr val="tx1"/>
                        </a:solidFill>
                        <a:latin typeface="+mn-lt"/>
                        <a:cs typeface="Arial" panose="020B0604020202020204" pitchFamily="34" charset="0"/>
                      </a:endParaRP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lumMod val="50000"/>
                          <a:lumOff val="50000"/>
                        </a:sysClr>
                      </a:solidFill>
                      <a:prstDash val="sysDot"/>
                      <a:round/>
                      <a:headEnd type="none" w="med" len="med"/>
                      <a:tailEnd type="none" w="med" len="med"/>
                    </a:lnT>
                    <a:lnB w="12700" cap="flat" cmpd="sng" algn="ctr">
                      <a:solidFill>
                        <a:sysClr val="windowText" lastClr="000000">
                          <a:lumMod val="50000"/>
                          <a:lumOff val="50000"/>
                        </a:sys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9132678"/>
                  </a:ext>
                </a:extLst>
              </a:tr>
            </a:tbl>
          </a:graphicData>
        </a:graphic>
      </p:graphicFrame>
      <p:sp>
        <p:nvSpPr>
          <p:cNvPr id="120" name="Rectangle 119">
            <a:extLst>
              <a:ext uri="{FF2B5EF4-FFF2-40B4-BE49-F238E27FC236}">
                <a16:creationId xmlns:a16="http://schemas.microsoft.com/office/drawing/2014/main" id="{A3F1597A-0473-4940-882B-347DB1746F43}"/>
              </a:ext>
            </a:extLst>
          </p:cNvPr>
          <p:cNvSpPr/>
          <p:nvPr userDrawn="1"/>
        </p:nvSpPr>
        <p:spPr>
          <a:xfrm>
            <a:off x="3102869" y="1047908"/>
            <a:ext cx="1585192" cy="341405"/>
          </a:xfrm>
          <a:prstGeom prst="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lIns="128000" rIns="128000"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1" i="0" u="none" strike="noStrike" kern="0" cap="none" spc="0" normalizeH="0" baseline="30000" noProof="0" dirty="0">
              <a:ln>
                <a:noFill/>
              </a:ln>
              <a:solidFill>
                <a:prstClr val="black"/>
              </a:solidFill>
              <a:effectLst/>
              <a:highlight>
                <a:srgbClr val="0000FF"/>
              </a:highlight>
              <a:uLnTx/>
              <a:uFillTx/>
              <a:latin typeface="Arial"/>
            </a:endParaRPr>
          </a:p>
        </p:txBody>
      </p:sp>
      <p:sp>
        <p:nvSpPr>
          <p:cNvPr id="121" name="Rectangle 120">
            <a:extLst>
              <a:ext uri="{FF2B5EF4-FFF2-40B4-BE49-F238E27FC236}">
                <a16:creationId xmlns:a16="http://schemas.microsoft.com/office/drawing/2014/main" id="{369D7871-30EC-413A-8615-21BDCDE7F649}"/>
              </a:ext>
            </a:extLst>
          </p:cNvPr>
          <p:cNvSpPr/>
          <p:nvPr userDrawn="1"/>
        </p:nvSpPr>
        <p:spPr>
          <a:xfrm>
            <a:off x="1390781" y="1047908"/>
            <a:ext cx="1585191" cy="341405"/>
          </a:xfrm>
          <a:prstGeom prst="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lIns="128000" rIns="128000"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1" i="0" u="none" strike="noStrike" kern="0" cap="none" spc="0" normalizeH="0" baseline="30000" noProof="0" dirty="0">
              <a:ln>
                <a:noFill/>
              </a:ln>
              <a:solidFill>
                <a:prstClr val="black"/>
              </a:solidFill>
              <a:effectLst/>
              <a:uLnTx/>
              <a:uFillTx/>
              <a:latin typeface="Arial"/>
            </a:endParaRPr>
          </a:p>
        </p:txBody>
      </p:sp>
      <p:sp>
        <p:nvSpPr>
          <p:cNvPr id="122" name="Rectangle: Rounded Corners 121">
            <a:extLst>
              <a:ext uri="{FF2B5EF4-FFF2-40B4-BE49-F238E27FC236}">
                <a16:creationId xmlns:a16="http://schemas.microsoft.com/office/drawing/2014/main" id="{210B65D1-5B3B-47AC-8F88-D478C523388B}"/>
              </a:ext>
            </a:extLst>
          </p:cNvPr>
          <p:cNvSpPr/>
          <p:nvPr userDrawn="1"/>
        </p:nvSpPr>
        <p:spPr>
          <a:xfrm>
            <a:off x="1390781" y="1554434"/>
            <a:ext cx="1585191" cy="446745"/>
          </a:xfrm>
          <a:prstGeom prst="round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23" name="Rectangle: Rounded Corners 122">
            <a:extLst>
              <a:ext uri="{FF2B5EF4-FFF2-40B4-BE49-F238E27FC236}">
                <a16:creationId xmlns:a16="http://schemas.microsoft.com/office/drawing/2014/main" id="{BF722268-F1A6-4C37-8D96-C3E275B6475F}"/>
              </a:ext>
            </a:extLst>
          </p:cNvPr>
          <p:cNvSpPr/>
          <p:nvPr userDrawn="1"/>
        </p:nvSpPr>
        <p:spPr>
          <a:xfrm>
            <a:off x="3102871" y="1554434"/>
            <a:ext cx="1585192" cy="446745"/>
          </a:xfrm>
          <a:prstGeom prst="round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24" name="Rectangle: Rounded Corners 123">
            <a:extLst>
              <a:ext uri="{FF2B5EF4-FFF2-40B4-BE49-F238E27FC236}">
                <a16:creationId xmlns:a16="http://schemas.microsoft.com/office/drawing/2014/main" id="{CE593B16-5F67-4F86-B9FC-E49AB34B2D5C}"/>
              </a:ext>
            </a:extLst>
          </p:cNvPr>
          <p:cNvSpPr/>
          <p:nvPr userDrawn="1"/>
        </p:nvSpPr>
        <p:spPr>
          <a:xfrm>
            <a:off x="1390781" y="2141407"/>
            <a:ext cx="1585191" cy="438049"/>
          </a:xfrm>
          <a:prstGeom prst="round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25" name="Rectangle: Rounded Corners 124">
            <a:extLst>
              <a:ext uri="{FF2B5EF4-FFF2-40B4-BE49-F238E27FC236}">
                <a16:creationId xmlns:a16="http://schemas.microsoft.com/office/drawing/2014/main" id="{16F226EF-60C0-40CD-8DA3-FFEE9C01EA19}"/>
              </a:ext>
            </a:extLst>
          </p:cNvPr>
          <p:cNvSpPr/>
          <p:nvPr userDrawn="1"/>
        </p:nvSpPr>
        <p:spPr>
          <a:xfrm>
            <a:off x="3102871" y="2141407"/>
            <a:ext cx="1585192" cy="438049"/>
          </a:xfrm>
          <a:prstGeom prst="round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26" name="Rectangle: Rounded Corners 125">
            <a:extLst>
              <a:ext uri="{FF2B5EF4-FFF2-40B4-BE49-F238E27FC236}">
                <a16:creationId xmlns:a16="http://schemas.microsoft.com/office/drawing/2014/main" id="{C2A1AE7C-4E11-4B98-85F1-226DF8603E95}"/>
              </a:ext>
            </a:extLst>
          </p:cNvPr>
          <p:cNvSpPr/>
          <p:nvPr userDrawn="1"/>
        </p:nvSpPr>
        <p:spPr>
          <a:xfrm>
            <a:off x="1390781" y="3106650"/>
            <a:ext cx="1585191" cy="629736"/>
          </a:xfrm>
          <a:prstGeom prst="round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27" name="Rectangle: Rounded Corners 126">
            <a:extLst>
              <a:ext uri="{FF2B5EF4-FFF2-40B4-BE49-F238E27FC236}">
                <a16:creationId xmlns:a16="http://schemas.microsoft.com/office/drawing/2014/main" id="{32092923-D34B-4BF2-8D48-C0F0517C5351}"/>
              </a:ext>
            </a:extLst>
          </p:cNvPr>
          <p:cNvSpPr/>
          <p:nvPr userDrawn="1"/>
        </p:nvSpPr>
        <p:spPr>
          <a:xfrm>
            <a:off x="3102871" y="3106650"/>
            <a:ext cx="1585192" cy="629736"/>
          </a:xfrm>
          <a:prstGeom prst="round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28" name="Rectangle: Rounded Corners 127">
            <a:extLst>
              <a:ext uri="{FF2B5EF4-FFF2-40B4-BE49-F238E27FC236}">
                <a16:creationId xmlns:a16="http://schemas.microsoft.com/office/drawing/2014/main" id="{A5C3C432-75A4-480C-827E-EEA0657AE697}"/>
              </a:ext>
            </a:extLst>
          </p:cNvPr>
          <p:cNvSpPr/>
          <p:nvPr userDrawn="1"/>
        </p:nvSpPr>
        <p:spPr>
          <a:xfrm>
            <a:off x="1390781" y="3855781"/>
            <a:ext cx="1585191" cy="642239"/>
          </a:xfrm>
          <a:prstGeom prst="round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29" name="Rectangle: Rounded Corners 128">
            <a:extLst>
              <a:ext uri="{FF2B5EF4-FFF2-40B4-BE49-F238E27FC236}">
                <a16:creationId xmlns:a16="http://schemas.microsoft.com/office/drawing/2014/main" id="{C90CF7F1-46FA-4F16-BB15-6352614EF009}"/>
              </a:ext>
            </a:extLst>
          </p:cNvPr>
          <p:cNvSpPr/>
          <p:nvPr userDrawn="1"/>
        </p:nvSpPr>
        <p:spPr>
          <a:xfrm>
            <a:off x="3102871" y="3855781"/>
            <a:ext cx="1585192" cy="642239"/>
          </a:xfrm>
          <a:prstGeom prst="round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30" name="Rectangle: Rounded Corners 129">
            <a:extLst>
              <a:ext uri="{FF2B5EF4-FFF2-40B4-BE49-F238E27FC236}">
                <a16:creationId xmlns:a16="http://schemas.microsoft.com/office/drawing/2014/main" id="{6F83B621-5F1D-4358-86C4-9806D679B9B7}"/>
              </a:ext>
            </a:extLst>
          </p:cNvPr>
          <p:cNvSpPr/>
          <p:nvPr userDrawn="1"/>
        </p:nvSpPr>
        <p:spPr>
          <a:xfrm>
            <a:off x="1390781" y="4641987"/>
            <a:ext cx="1585191" cy="432000"/>
          </a:xfrm>
          <a:prstGeom prst="round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31" name="Rectangle: Rounded Corners 130">
            <a:extLst>
              <a:ext uri="{FF2B5EF4-FFF2-40B4-BE49-F238E27FC236}">
                <a16:creationId xmlns:a16="http://schemas.microsoft.com/office/drawing/2014/main" id="{53A1F887-3908-452A-AA83-87899CA5382B}"/>
              </a:ext>
            </a:extLst>
          </p:cNvPr>
          <p:cNvSpPr/>
          <p:nvPr userDrawn="1"/>
        </p:nvSpPr>
        <p:spPr>
          <a:xfrm>
            <a:off x="3102871" y="4641987"/>
            <a:ext cx="1585192" cy="432000"/>
          </a:xfrm>
          <a:prstGeom prst="round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32" name="Rectangle: Rounded Corners 131">
            <a:extLst>
              <a:ext uri="{FF2B5EF4-FFF2-40B4-BE49-F238E27FC236}">
                <a16:creationId xmlns:a16="http://schemas.microsoft.com/office/drawing/2014/main" id="{EF66A242-1CC1-41BC-A8A0-96C90A5E8CED}"/>
              </a:ext>
            </a:extLst>
          </p:cNvPr>
          <p:cNvSpPr/>
          <p:nvPr userDrawn="1"/>
        </p:nvSpPr>
        <p:spPr>
          <a:xfrm>
            <a:off x="1390781" y="5214720"/>
            <a:ext cx="1585191" cy="341537"/>
          </a:xfrm>
          <a:prstGeom prst="round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33" name="Rectangle: Rounded Corners 132">
            <a:extLst>
              <a:ext uri="{FF2B5EF4-FFF2-40B4-BE49-F238E27FC236}">
                <a16:creationId xmlns:a16="http://schemas.microsoft.com/office/drawing/2014/main" id="{B986D426-0763-4CA5-A036-276B3BBF45FF}"/>
              </a:ext>
            </a:extLst>
          </p:cNvPr>
          <p:cNvSpPr/>
          <p:nvPr userDrawn="1"/>
        </p:nvSpPr>
        <p:spPr>
          <a:xfrm>
            <a:off x="3102871" y="5214720"/>
            <a:ext cx="1585192" cy="341537"/>
          </a:xfrm>
          <a:prstGeom prst="round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34" name="Rectangle: Rounded Corners 133">
            <a:extLst>
              <a:ext uri="{FF2B5EF4-FFF2-40B4-BE49-F238E27FC236}">
                <a16:creationId xmlns:a16="http://schemas.microsoft.com/office/drawing/2014/main" id="{A1BCD61E-0A9E-4CA6-BEF3-BA2FEBB0630A}"/>
              </a:ext>
            </a:extLst>
          </p:cNvPr>
          <p:cNvSpPr/>
          <p:nvPr userDrawn="1"/>
        </p:nvSpPr>
        <p:spPr>
          <a:xfrm>
            <a:off x="1390781" y="5725952"/>
            <a:ext cx="1585191" cy="341537"/>
          </a:xfrm>
          <a:prstGeom prst="round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35" name="Rectangle: Rounded Corners 134">
            <a:extLst>
              <a:ext uri="{FF2B5EF4-FFF2-40B4-BE49-F238E27FC236}">
                <a16:creationId xmlns:a16="http://schemas.microsoft.com/office/drawing/2014/main" id="{F09FCAEA-2D45-4048-B447-615B6E31CE7E}"/>
              </a:ext>
            </a:extLst>
          </p:cNvPr>
          <p:cNvSpPr/>
          <p:nvPr userDrawn="1"/>
        </p:nvSpPr>
        <p:spPr>
          <a:xfrm>
            <a:off x="3102871" y="5725952"/>
            <a:ext cx="1585192" cy="341537"/>
          </a:xfrm>
          <a:prstGeom prst="round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37" name="Text Placeholder 6">
            <a:extLst>
              <a:ext uri="{FF2B5EF4-FFF2-40B4-BE49-F238E27FC236}">
                <a16:creationId xmlns:a16="http://schemas.microsoft.com/office/drawing/2014/main" id="{D4C21DCB-884C-4970-96C9-13DE89FBD884}"/>
              </a:ext>
            </a:extLst>
          </p:cNvPr>
          <p:cNvSpPr txBox="1">
            <a:spLocks/>
          </p:cNvSpPr>
          <p:nvPr userDrawn="1"/>
        </p:nvSpPr>
        <p:spPr>
          <a:xfrm>
            <a:off x="3104126" y="1051213"/>
            <a:ext cx="1587500" cy="334795"/>
          </a:xfrm>
          <a:prstGeom prst="rect">
            <a:avLst/>
          </a:prstGeom>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1200" b="1"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0" name="Text Placeholder 6">
            <a:extLst>
              <a:ext uri="{FF2B5EF4-FFF2-40B4-BE49-F238E27FC236}">
                <a16:creationId xmlns:a16="http://schemas.microsoft.com/office/drawing/2014/main" id="{8D74AF0A-86F0-40D8-8C3C-ADA79D58CC2F}"/>
              </a:ext>
            </a:extLst>
          </p:cNvPr>
          <p:cNvSpPr txBox="1">
            <a:spLocks/>
          </p:cNvSpPr>
          <p:nvPr userDrawn="1"/>
        </p:nvSpPr>
        <p:spPr>
          <a:xfrm>
            <a:off x="3104126" y="2138737"/>
            <a:ext cx="1587500" cy="446745"/>
          </a:xfrm>
          <a:prstGeom prst="rect">
            <a:avLst/>
          </a:prstGeom>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1" name="Text Placeholder 6">
            <a:extLst>
              <a:ext uri="{FF2B5EF4-FFF2-40B4-BE49-F238E27FC236}">
                <a16:creationId xmlns:a16="http://schemas.microsoft.com/office/drawing/2014/main" id="{251B8A90-923E-4C36-BD08-CBB6AD63F19A}"/>
              </a:ext>
            </a:extLst>
          </p:cNvPr>
          <p:cNvSpPr txBox="1">
            <a:spLocks/>
          </p:cNvSpPr>
          <p:nvPr userDrawn="1"/>
        </p:nvSpPr>
        <p:spPr>
          <a:xfrm>
            <a:off x="1400402" y="2138737"/>
            <a:ext cx="1587500" cy="446745"/>
          </a:xfrm>
          <a:prstGeom prst="rect">
            <a:avLst/>
          </a:prstGeom>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2" name="Text Placeholder 6">
            <a:extLst>
              <a:ext uri="{FF2B5EF4-FFF2-40B4-BE49-F238E27FC236}">
                <a16:creationId xmlns:a16="http://schemas.microsoft.com/office/drawing/2014/main" id="{DE653DC8-B0AE-488F-8D0F-C99353895F42}"/>
              </a:ext>
            </a:extLst>
          </p:cNvPr>
          <p:cNvSpPr txBox="1">
            <a:spLocks/>
          </p:cNvSpPr>
          <p:nvPr userDrawn="1"/>
        </p:nvSpPr>
        <p:spPr>
          <a:xfrm>
            <a:off x="1400402" y="3100399"/>
            <a:ext cx="1587500" cy="642239"/>
          </a:xfrm>
          <a:prstGeom prst="rect">
            <a:avLst/>
          </a:prstGeom>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3" name="Text Placeholder 6">
            <a:extLst>
              <a:ext uri="{FF2B5EF4-FFF2-40B4-BE49-F238E27FC236}">
                <a16:creationId xmlns:a16="http://schemas.microsoft.com/office/drawing/2014/main" id="{6E29090E-5954-422A-A130-87AE91C90ECF}"/>
              </a:ext>
            </a:extLst>
          </p:cNvPr>
          <p:cNvSpPr txBox="1">
            <a:spLocks/>
          </p:cNvSpPr>
          <p:nvPr userDrawn="1"/>
        </p:nvSpPr>
        <p:spPr>
          <a:xfrm>
            <a:off x="3104126" y="3100399"/>
            <a:ext cx="1587500" cy="642239"/>
          </a:xfrm>
          <a:prstGeom prst="rect">
            <a:avLst/>
          </a:prstGeom>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4" name="Text Placeholder 6">
            <a:extLst>
              <a:ext uri="{FF2B5EF4-FFF2-40B4-BE49-F238E27FC236}">
                <a16:creationId xmlns:a16="http://schemas.microsoft.com/office/drawing/2014/main" id="{0DAE46F1-6B90-4623-A1D8-8A211E7851F0}"/>
              </a:ext>
            </a:extLst>
          </p:cNvPr>
          <p:cNvSpPr txBox="1">
            <a:spLocks/>
          </p:cNvSpPr>
          <p:nvPr userDrawn="1"/>
        </p:nvSpPr>
        <p:spPr>
          <a:xfrm>
            <a:off x="1400402" y="3859285"/>
            <a:ext cx="1587500" cy="665976"/>
          </a:xfrm>
          <a:prstGeom prst="rect">
            <a:avLst/>
          </a:prstGeom>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6" name="Text Placeholder 6">
            <a:extLst>
              <a:ext uri="{FF2B5EF4-FFF2-40B4-BE49-F238E27FC236}">
                <a16:creationId xmlns:a16="http://schemas.microsoft.com/office/drawing/2014/main" id="{87F8DA29-BE2B-4CFC-AF51-70FA0C9797F4}"/>
              </a:ext>
            </a:extLst>
          </p:cNvPr>
          <p:cNvSpPr txBox="1">
            <a:spLocks/>
          </p:cNvSpPr>
          <p:nvPr userDrawn="1"/>
        </p:nvSpPr>
        <p:spPr>
          <a:xfrm>
            <a:off x="1400402" y="4647585"/>
            <a:ext cx="1587500" cy="447967"/>
          </a:xfrm>
          <a:prstGeom prst="rect">
            <a:avLst/>
          </a:prstGeom>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7" name="Text Placeholder 6">
            <a:extLst>
              <a:ext uri="{FF2B5EF4-FFF2-40B4-BE49-F238E27FC236}">
                <a16:creationId xmlns:a16="http://schemas.microsoft.com/office/drawing/2014/main" id="{C5D0E37A-1372-4ED3-92F9-9FCC74834F2A}"/>
              </a:ext>
            </a:extLst>
          </p:cNvPr>
          <p:cNvSpPr txBox="1">
            <a:spLocks/>
          </p:cNvSpPr>
          <p:nvPr userDrawn="1"/>
        </p:nvSpPr>
        <p:spPr>
          <a:xfrm>
            <a:off x="3104126" y="4647585"/>
            <a:ext cx="1587500" cy="447967"/>
          </a:xfrm>
          <a:prstGeom prst="rect">
            <a:avLst/>
          </a:prstGeom>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8" name="Text Placeholder 6">
            <a:extLst>
              <a:ext uri="{FF2B5EF4-FFF2-40B4-BE49-F238E27FC236}">
                <a16:creationId xmlns:a16="http://schemas.microsoft.com/office/drawing/2014/main" id="{54A51D3D-3D49-42E9-BA9E-46039CB63FDA}"/>
              </a:ext>
            </a:extLst>
          </p:cNvPr>
          <p:cNvSpPr txBox="1">
            <a:spLocks/>
          </p:cNvSpPr>
          <p:nvPr userDrawn="1"/>
        </p:nvSpPr>
        <p:spPr>
          <a:xfrm>
            <a:off x="1400402" y="5222773"/>
            <a:ext cx="1587500" cy="354160"/>
          </a:xfrm>
          <a:prstGeom prst="rect">
            <a:avLst/>
          </a:prstGeom>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49" name="Text Placeholder 6">
            <a:extLst>
              <a:ext uri="{FF2B5EF4-FFF2-40B4-BE49-F238E27FC236}">
                <a16:creationId xmlns:a16="http://schemas.microsoft.com/office/drawing/2014/main" id="{C606F5A4-0C2F-46F3-8564-73B1D227FF99}"/>
              </a:ext>
            </a:extLst>
          </p:cNvPr>
          <p:cNvSpPr txBox="1">
            <a:spLocks/>
          </p:cNvSpPr>
          <p:nvPr userDrawn="1"/>
        </p:nvSpPr>
        <p:spPr>
          <a:xfrm>
            <a:off x="3104126" y="5222773"/>
            <a:ext cx="1587500" cy="354160"/>
          </a:xfrm>
          <a:prstGeom prst="rect">
            <a:avLst/>
          </a:prstGeom>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50" name="Text Placeholder 6">
            <a:extLst>
              <a:ext uri="{FF2B5EF4-FFF2-40B4-BE49-F238E27FC236}">
                <a16:creationId xmlns:a16="http://schemas.microsoft.com/office/drawing/2014/main" id="{9AC28F23-6DEF-4E31-B040-4A495F1C7671}"/>
              </a:ext>
            </a:extLst>
          </p:cNvPr>
          <p:cNvSpPr txBox="1">
            <a:spLocks/>
          </p:cNvSpPr>
          <p:nvPr userDrawn="1"/>
        </p:nvSpPr>
        <p:spPr>
          <a:xfrm>
            <a:off x="1400402" y="5719640"/>
            <a:ext cx="1587500" cy="354160"/>
          </a:xfrm>
          <a:prstGeom prst="rect">
            <a:avLst/>
          </a:prstGeom>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51" name="Text Placeholder 6">
            <a:extLst>
              <a:ext uri="{FF2B5EF4-FFF2-40B4-BE49-F238E27FC236}">
                <a16:creationId xmlns:a16="http://schemas.microsoft.com/office/drawing/2014/main" id="{EA2D14F1-E69D-4E7B-A18C-33912ACA7C9A}"/>
              </a:ext>
            </a:extLst>
          </p:cNvPr>
          <p:cNvSpPr txBox="1">
            <a:spLocks/>
          </p:cNvSpPr>
          <p:nvPr userDrawn="1"/>
        </p:nvSpPr>
        <p:spPr>
          <a:xfrm>
            <a:off x="3104126" y="5719640"/>
            <a:ext cx="1587500" cy="354160"/>
          </a:xfrm>
          <a:prstGeom prst="rect">
            <a:avLst/>
          </a:prstGeom>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52" name="Rectangle: Rounded Corners 151">
            <a:extLst>
              <a:ext uri="{FF2B5EF4-FFF2-40B4-BE49-F238E27FC236}">
                <a16:creationId xmlns:a16="http://schemas.microsoft.com/office/drawing/2014/main" id="{EB272B5F-FF0C-415A-ABCE-F1B06D9E7CF2}"/>
              </a:ext>
            </a:extLst>
          </p:cNvPr>
          <p:cNvSpPr/>
          <p:nvPr userDrawn="1"/>
        </p:nvSpPr>
        <p:spPr>
          <a:xfrm>
            <a:off x="1387218" y="2705354"/>
            <a:ext cx="1585191" cy="281412"/>
          </a:xfrm>
          <a:prstGeom prst="roundRect">
            <a:avLst/>
          </a:prstGeom>
          <a:solidFill>
            <a:srgbClr val="F0E1E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53" name="Rectangle: Rounded Corners 152">
            <a:extLst>
              <a:ext uri="{FF2B5EF4-FFF2-40B4-BE49-F238E27FC236}">
                <a16:creationId xmlns:a16="http://schemas.microsoft.com/office/drawing/2014/main" id="{2F3ADFCF-DBA1-45DB-8BF8-9D3663472EA0}"/>
              </a:ext>
            </a:extLst>
          </p:cNvPr>
          <p:cNvSpPr/>
          <p:nvPr userDrawn="1"/>
        </p:nvSpPr>
        <p:spPr>
          <a:xfrm>
            <a:off x="3099308" y="2694903"/>
            <a:ext cx="1585192" cy="291863"/>
          </a:xfrm>
          <a:prstGeom prst="roundRect">
            <a:avLst/>
          </a:prstGeom>
          <a:solidFill>
            <a:srgbClr val="E2F0D9"/>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54" name="Text Placeholder 6">
            <a:extLst>
              <a:ext uri="{FF2B5EF4-FFF2-40B4-BE49-F238E27FC236}">
                <a16:creationId xmlns:a16="http://schemas.microsoft.com/office/drawing/2014/main" id="{6E9675CC-E125-4DFC-96DE-38C7A40FDE79}"/>
              </a:ext>
            </a:extLst>
          </p:cNvPr>
          <p:cNvSpPr txBox="1">
            <a:spLocks/>
          </p:cNvSpPr>
          <p:nvPr userDrawn="1"/>
        </p:nvSpPr>
        <p:spPr>
          <a:xfrm>
            <a:off x="1396839" y="2522296"/>
            <a:ext cx="1587500" cy="489529"/>
          </a:xfrm>
          <a:prstGeom prst="rect">
            <a:avLst/>
          </a:prstGeom>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55" name="Text Placeholder 6">
            <a:extLst>
              <a:ext uri="{FF2B5EF4-FFF2-40B4-BE49-F238E27FC236}">
                <a16:creationId xmlns:a16="http://schemas.microsoft.com/office/drawing/2014/main" id="{7998AE61-C223-4C11-AD84-32D678B9EC19}"/>
              </a:ext>
            </a:extLst>
          </p:cNvPr>
          <p:cNvSpPr txBox="1">
            <a:spLocks/>
          </p:cNvSpPr>
          <p:nvPr userDrawn="1"/>
        </p:nvSpPr>
        <p:spPr>
          <a:xfrm>
            <a:off x="3100563" y="2522296"/>
            <a:ext cx="1587500" cy="489529"/>
          </a:xfrm>
          <a:prstGeom prst="rect">
            <a:avLst/>
          </a:prstGeom>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56" name="Rectangle 155">
            <a:extLst>
              <a:ext uri="{FF2B5EF4-FFF2-40B4-BE49-F238E27FC236}">
                <a16:creationId xmlns:a16="http://schemas.microsoft.com/office/drawing/2014/main" id="{BAB65EAC-D4C9-4D39-952B-05708DB8FD44}"/>
              </a:ext>
            </a:extLst>
          </p:cNvPr>
          <p:cNvSpPr/>
          <p:nvPr userDrawn="1"/>
        </p:nvSpPr>
        <p:spPr>
          <a:xfrm>
            <a:off x="6524745" y="1047908"/>
            <a:ext cx="1585192" cy="341405"/>
          </a:xfrm>
          <a:prstGeom prst="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lIns="128000" rIns="128000"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1" i="0" u="none" strike="noStrike" kern="0" cap="none" spc="0" normalizeH="0" baseline="30000" noProof="0" dirty="0">
              <a:ln>
                <a:noFill/>
              </a:ln>
              <a:solidFill>
                <a:prstClr val="black"/>
              </a:solidFill>
              <a:effectLst/>
              <a:highlight>
                <a:srgbClr val="0000FF"/>
              </a:highlight>
              <a:uLnTx/>
              <a:uFillTx/>
              <a:latin typeface="Arial"/>
            </a:endParaRPr>
          </a:p>
        </p:txBody>
      </p:sp>
      <p:sp>
        <p:nvSpPr>
          <p:cNvPr id="157" name="Rectangle 156">
            <a:extLst>
              <a:ext uri="{FF2B5EF4-FFF2-40B4-BE49-F238E27FC236}">
                <a16:creationId xmlns:a16="http://schemas.microsoft.com/office/drawing/2014/main" id="{235CD588-26A2-47A3-B02A-DC1DF5238478}"/>
              </a:ext>
            </a:extLst>
          </p:cNvPr>
          <p:cNvSpPr/>
          <p:nvPr userDrawn="1"/>
        </p:nvSpPr>
        <p:spPr>
          <a:xfrm>
            <a:off x="4812657" y="1047908"/>
            <a:ext cx="1585191" cy="341405"/>
          </a:xfrm>
          <a:prstGeom prst="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lIns="128000" rIns="128000"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1" i="0" u="none" strike="noStrike" kern="0" cap="none" spc="0" normalizeH="0" baseline="30000" noProof="0" dirty="0">
              <a:ln>
                <a:noFill/>
              </a:ln>
              <a:solidFill>
                <a:prstClr val="black"/>
              </a:solidFill>
              <a:effectLst/>
              <a:uLnTx/>
              <a:uFillTx/>
              <a:latin typeface="Arial"/>
            </a:endParaRPr>
          </a:p>
        </p:txBody>
      </p:sp>
      <p:sp>
        <p:nvSpPr>
          <p:cNvPr id="158" name="Rectangle: Rounded Corners 157">
            <a:extLst>
              <a:ext uri="{FF2B5EF4-FFF2-40B4-BE49-F238E27FC236}">
                <a16:creationId xmlns:a16="http://schemas.microsoft.com/office/drawing/2014/main" id="{54A8271A-87A5-451E-BC79-E2804DDADEF8}"/>
              </a:ext>
            </a:extLst>
          </p:cNvPr>
          <p:cNvSpPr/>
          <p:nvPr userDrawn="1"/>
        </p:nvSpPr>
        <p:spPr>
          <a:xfrm>
            <a:off x="4812657" y="1554434"/>
            <a:ext cx="1585191" cy="446745"/>
          </a:xfrm>
          <a:prstGeom prst="round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59" name="Rectangle: Rounded Corners 158">
            <a:extLst>
              <a:ext uri="{FF2B5EF4-FFF2-40B4-BE49-F238E27FC236}">
                <a16:creationId xmlns:a16="http://schemas.microsoft.com/office/drawing/2014/main" id="{D46DFFA6-CFDD-4E1A-AE68-D0F64343A78F}"/>
              </a:ext>
            </a:extLst>
          </p:cNvPr>
          <p:cNvSpPr/>
          <p:nvPr userDrawn="1"/>
        </p:nvSpPr>
        <p:spPr>
          <a:xfrm>
            <a:off x="6524747" y="1554434"/>
            <a:ext cx="1585192" cy="446745"/>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60" name="Rectangle: Rounded Corners 159">
            <a:extLst>
              <a:ext uri="{FF2B5EF4-FFF2-40B4-BE49-F238E27FC236}">
                <a16:creationId xmlns:a16="http://schemas.microsoft.com/office/drawing/2014/main" id="{76589F03-A2AE-445F-8097-90EA45FBBAF3}"/>
              </a:ext>
            </a:extLst>
          </p:cNvPr>
          <p:cNvSpPr/>
          <p:nvPr userDrawn="1"/>
        </p:nvSpPr>
        <p:spPr>
          <a:xfrm>
            <a:off x="4812657" y="2133493"/>
            <a:ext cx="1585191" cy="438049"/>
          </a:xfrm>
          <a:prstGeom prst="round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61" name="Rectangle: Rounded Corners 160">
            <a:extLst>
              <a:ext uri="{FF2B5EF4-FFF2-40B4-BE49-F238E27FC236}">
                <a16:creationId xmlns:a16="http://schemas.microsoft.com/office/drawing/2014/main" id="{F536DF5D-C124-452A-8942-8AC73F7CD08B}"/>
              </a:ext>
            </a:extLst>
          </p:cNvPr>
          <p:cNvSpPr/>
          <p:nvPr userDrawn="1"/>
        </p:nvSpPr>
        <p:spPr>
          <a:xfrm>
            <a:off x="6524747" y="2133493"/>
            <a:ext cx="1585192" cy="438049"/>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62" name="Rectangle: Rounded Corners 161">
            <a:extLst>
              <a:ext uri="{FF2B5EF4-FFF2-40B4-BE49-F238E27FC236}">
                <a16:creationId xmlns:a16="http://schemas.microsoft.com/office/drawing/2014/main" id="{DC2B0296-5D0C-4EE6-A151-4376B1396F23}"/>
              </a:ext>
            </a:extLst>
          </p:cNvPr>
          <p:cNvSpPr/>
          <p:nvPr userDrawn="1"/>
        </p:nvSpPr>
        <p:spPr>
          <a:xfrm>
            <a:off x="4812657" y="3106650"/>
            <a:ext cx="1585191" cy="629736"/>
          </a:xfrm>
          <a:prstGeom prst="round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63" name="Rectangle: Rounded Corners 162">
            <a:extLst>
              <a:ext uri="{FF2B5EF4-FFF2-40B4-BE49-F238E27FC236}">
                <a16:creationId xmlns:a16="http://schemas.microsoft.com/office/drawing/2014/main" id="{418D0857-4B7D-4D81-AF88-EB86BA0128A3}"/>
              </a:ext>
            </a:extLst>
          </p:cNvPr>
          <p:cNvSpPr/>
          <p:nvPr userDrawn="1"/>
        </p:nvSpPr>
        <p:spPr>
          <a:xfrm>
            <a:off x="6524747" y="3106650"/>
            <a:ext cx="1585192" cy="629736"/>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64" name="Rectangle: Rounded Corners 163">
            <a:extLst>
              <a:ext uri="{FF2B5EF4-FFF2-40B4-BE49-F238E27FC236}">
                <a16:creationId xmlns:a16="http://schemas.microsoft.com/office/drawing/2014/main" id="{3F45DBFD-FE0C-474F-AC73-24AB28DA2E23}"/>
              </a:ext>
            </a:extLst>
          </p:cNvPr>
          <p:cNvSpPr/>
          <p:nvPr userDrawn="1"/>
        </p:nvSpPr>
        <p:spPr>
          <a:xfrm>
            <a:off x="4812657" y="3847867"/>
            <a:ext cx="1585191" cy="642239"/>
          </a:xfrm>
          <a:prstGeom prst="round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65" name="Rectangle: Rounded Corners 164">
            <a:extLst>
              <a:ext uri="{FF2B5EF4-FFF2-40B4-BE49-F238E27FC236}">
                <a16:creationId xmlns:a16="http://schemas.microsoft.com/office/drawing/2014/main" id="{852DF971-1321-44D0-A352-CD61AB0762B4}"/>
              </a:ext>
            </a:extLst>
          </p:cNvPr>
          <p:cNvSpPr/>
          <p:nvPr userDrawn="1"/>
        </p:nvSpPr>
        <p:spPr>
          <a:xfrm>
            <a:off x="6524747" y="3847867"/>
            <a:ext cx="1585192" cy="642239"/>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66" name="Rectangle: Rounded Corners 165">
            <a:extLst>
              <a:ext uri="{FF2B5EF4-FFF2-40B4-BE49-F238E27FC236}">
                <a16:creationId xmlns:a16="http://schemas.microsoft.com/office/drawing/2014/main" id="{1A3B068C-36BD-4041-9941-5DFB8B8272A9}"/>
              </a:ext>
            </a:extLst>
          </p:cNvPr>
          <p:cNvSpPr/>
          <p:nvPr userDrawn="1"/>
        </p:nvSpPr>
        <p:spPr>
          <a:xfrm>
            <a:off x="4812657" y="4634073"/>
            <a:ext cx="1585191" cy="432000"/>
          </a:xfrm>
          <a:prstGeom prst="round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67" name="Rectangle: Rounded Corners 166">
            <a:extLst>
              <a:ext uri="{FF2B5EF4-FFF2-40B4-BE49-F238E27FC236}">
                <a16:creationId xmlns:a16="http://schemas.microsoft.com/office/drawing/2014/main" id="{E411233E-21AB-4369-939F-8C62AE479E29}"/>
              </a:ext>
            </a:extLst>
          </p:cNvPr>
          <p:cNvSpPr/>
          <p:nvPr userDrawn="1"/>
        </p:nvSpPr>
        <p:spPr>
          <a:xfrm>
            <a:off x="6524747" y="4634073"/>
            <a:ext cx="1585192" cy="432000"/>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68" name="Rectangle: Rounded Corners 167">
            <a:extLst>
              <a:ext uri="{FF2B5EF4-FFF2-40B4-BE49-F238E27FC236}">
                <a16:creationId xmlns:a16="http://schemas.microsoft.com/office/drawing/2014/main" id="{DA19B572-8D8C-4FFF-93B7-6ED9E1C881E3}"/>
              </a:ext>
            </a:extLst>
          </p:cNvPr>
          <p:cNvSpPr/>
          <p:nvPr userDrawn="1"/>
        </p:nvSpPr>
        <p:spPr>
          <a:xfrm>
            <a:off x="4812657" y="5206806"/>
            <a:ext cx="1585191" cy="341537"/>
          </a:xfrm>
          <a:prstGeom prst="round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69" name="Rectangle: Rounded Corners 168">
            <a:extLst>
              <a:ext uri="{FF2B5EF4-FFF2-40B4-BE49-F238E27FC236}">
                <a16:creationId xmlns:a16="http://schemas.microsoft.com/office/drawing/2014/main" id="{A03D1CF3-5B98-4E88-A7DD-32ED27F07508}"/>
              </a:ext>
            </a:extLst>
          </p:cNvPr>
          <p:cNvSpPr/>
          <p:nvPr userDrawn="1"/>
        </p:nvSpPr>
        <p:spPr>
          <a:xfrm>
            <a:off x="6524747" y="5206806"/>
            <a:ext cx="1585192" cy="341537"/>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70" name="Rectangle: Rounded Corners 169">
            <a:extLst>
              <a:ext uri="{FF2B5EF4-FFF2-40B4-BE49-F238E27FC236}">
                <a16:creationId xmlns:a16="http://schemas.microsoft.com/office/drawing/2014/main" id="{0AEBABE8-5AC1-4731-B659-6B42A899DEE8}"/>
              </a:ext>
            </a:extLst>
          </p:cNvPr>
          <p:cNvSpPr/>
          <p:nvPr userDrawn="1"/>
        </p:nvSpPr>
        <p:spPr>
          <a:xfrm>
            <a:off x="4812657" y="5725952"/>
            <a:ext cx="1585191" cy="341537"/>
          </a:xfrm>
          <a:prstGeom prst="round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71" name="Rectangle: Rounded Corners 170">
            <a:extLst>
              <a:ext uri="{FF2B5EF4-FFF2-40B4-BE49-F238E27FC236}">
                <a16:creationId xmlns:a16="http://schemas.microsoft.com/office/drawing/2014/main" id="{3D479919-0EC9-432D-9217-179995C4CF7E}"/>
              </a:ext>
            </a:extLst>
          </p:cNvPr>
          <p:cNvSpPr/>
          <p:nvPr userDrawn="1"/>
        </p:nvSpPr>
        <p:spPr>
          <a:xfrm>
            <a:off x="6524747" y="5725952"/>
            <a:ext cx="1585192" cy="341537"/>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82" name="Text Placeholder 6">
            <a:extLst>
              <a:ext uri="{FF2B5EF4-FFF2-40B4-BE49-F238E27FC236}">
                <a16:creationId xmlns:a16="http://schemas.microsoft.com/office/drawing/2014/main" id="{8E078F2F-BA86-40C8-97FF-39B8A5CBE23F}"/>
              </a:ext>
            </a:extLst>
          </p:cNvPr>
          <p:cNvSpPr txBox="1">
            <a:spLocks/>
          </p:cNvSpPr>
          <p:nvPr userDrawn="1"/>
        </p:nvSpPr>
        <p:spPr>
          <a:xfrm>
            <a:off x="4822278" y="4639671"/>
            <a:ext cx="1587500" cy="447967"/>
          </a:xfrm>
          <a:prstGeom prst="rect">
            <a:avLst/>
          </a:prstGeom>
          <a:solidFill>
            <a:srgbClr val="70AD47">
              <a:lumMod val="20000"/>
              <a:lumOff val="80000"/>
            </a:srgbClr>
          </a:solidFill>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84" name="Text Placeholder 6">
            <a:extLst>
              <a:ext uri="{FF2B5EF4-FFF2-40B4-BE49-F238E27FC236}">
                <a16:creationId xmlns:a16="http://schemas.microsoft.com/office/drawing/2014/main" id="{D09BD0F6-C705-45E4-94BE-AA6224200D93}"/>
              </a:ext>
            </a:extLst>
          </p:cNvPr>
          <p:cNvSpPr txBox="1">
            <a:spLocks/>
          </p:cNvSpPr>
          <p:nvPr userDrawn="1"/>
        </p:nvSpPr>
        <p:spPr>
          <a:xfrm>
            <a:off x="4822278" y="5214860"/>
            <a:ext cx="1587500" cy="354160"/>
          </a:xfrm>
          <a:prstGeom prst="rect">
            <a:avLst/>
          </a:prstGeom>
          <a:solidFill>
            <a:srgbClr val="70AD47">
              <a:lumMod val="20000"/>
              <a:lumOff val="80000"/>
            </a:srgbClr>
          </a:solidFill>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86" name="Text Placeholder 6">
            <a:extLst>
              <a:ext uri="{FF2B5EF4-FFF2-40B4-BE49-F238E27FC236}">
                <a16:creationId xmlns:a16="http://schemas.microsoft.com/office/drawing/2014/main" id="{ED33C132-9C8D-49BB-B791-BDE9B94A8321}"/>
              </a:ext>
            </a:extLst>
          </p:cNvPr>
          <p:cNvSpPr txBox="1">
            <a:spLocks/>
          </p:cNvSpPr>
          <p:nvPr userDrawn="1"/>
        </p:nvSpPr>
        <p:spPr>
          <a:xfrm>
            <a:off x="4822278" y="5719640"/>
            <a:ext cx="1587500" cy="354160"/>
          </a:xfrm>
          <a:prstGeom prst="rect">
            <a:avLst/>
          </a:prstGeom>
          <a:solidFill>
            <a:srgbClr val="70AD47">
              <a:lumMod val="20000"/>
              <a:lumOff val="80000"/>
            </a:srgbClr>
          </a:solidFill>
        </p:spPr>
        <p:txBody>
          <a:bodyPr rtlCol="0" anchor="ctr"/>
          <a:lstStyle>
            <a:lvl1pPr marL="0" indent="0" algn="ctr" defTabSz="914400" rtl="0" eaLnBrk="1" latinLnBrk="0" hangingPunct="1">
              <a:lnSpc>
                <a:spcPct val="100000"/>
              </a:lnSpc>
              <a:spcBef>
                <a:spcPts val="0"/>
              </a:spcBef>
              <a:spcAft>
                <a:spcPts val="1200"/>
              </a:spcAft>
              <a:buFont typeface="Arial" panose="020B0604020202020204" pitchFamily="34" charset="0"/>
              <a:buNone/>
              <a:defRPr sz="933" b="0" kern="1200">
                <a:solidFill>
                  <a:schemeClr val="tx1"/>
                </a:solidFill>
                <a:latin typeface="Arial" panose="020B0604020202020204" pitchFamily="34" charset="0"/>
                <a:ea typeface="+mn-ea"/>
                <a:cs typeface="Arial" panose="020B0604020202020204" pitchFamily="34" charset="0"/>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kumimoji="0" lang="en-GB" sz="933"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188" name="Rectangle: Rounded Corners 187">
            <a:extLst>
              <a:ext uri="{FF2B5EF4-FFF2-40B4-BE49-F238E27FC236}">
                <a16:creationId xmlns:a16="http://schemas.microsoft.com/office/drawing/2014/main" id="{50AC598B-4B33-4901-B95B-D11E6C4A682A}"/>
              </a:ext>
            </a:extLst>
          </p:cNvPr>
          <p:cNvSpPr/>
          <p:nvPr userDrawn="1"/>
        </p:nvSpPr>
        <p:spPr>
          <a:xfrm>
            <a:off x="4809094" y="2673671"/>
            <a:ext cx="1585191" cy="305181"/>
          </a:xfrm>
          <a:prstGeom prst="roundRect">
            <a:avLst/>
          </a:prstGeom>
          <a:solidFill>
            <a:srgbClr val="70AD47">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89" name="Rectangle: Rounded Corners 188">
            <a:extLst>
              <a:ext uri="{FF2B5EF4-FFF2-40B4-BE49-F238E27FC236}">
                <a16:creationId xmlns:a16="http://schemas.microsoft.com/office/drawing/2014/main" id="{D07EF106-1328-4584-94D8-F4D50DB9D13A}"/>
              </a:ext>
            </a:extLst>
          </p:cNvPr>
          <p:cNvSpPr/>
          <p:nvPr userDrawn="1"/>
        </p:nvSpPr>
        <p:spPr>
          <a:xfrm>
            <a:off x="6521184" y="2673671"/>
            <a:ext cx="1585192" cy="305182"/>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92" name="Rectangle 191">
            <a:extLst>
              <a:ext uri="{FF2B5EF4-FFF2-40B4-BE49-F238E27FC236}">
                <a16:creationId xmlns:a16="http://schemas.microsoft.com/office/drawing/2014/main" id="{538F4A46-D310-46A7-948C-E0786DCAA702}"/>
              </a:ext>
            </a:extLst>
          </p:cNvPr>
          <p:cNvSpPr/>
          <p:nvPr userDrawn="1"/>
        </p:nvSpPr>
        <p:spPr>
          <a:xfrm>
            <a:off x="8234531" y="1047908"/>
            <a:ext cx="1585191" cy="341405"/>
          </a:xfrm>
          <a:prstGeom prst="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lIns="128000" rIns="128000"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1" i="0" u="none" strike="noStrike" kern="0" cap="none" spc="0" normalizeH="0" baseline="30000" noProof="0" dirty="0">
              <a:ln>
                <a:noFill/>
              </a:ln>
              <a:solidFill>
                <a:prstClr val="black"/>
              </a:solidFill>
              <a:effectLst/>
              <a:uLnTx/>
              <a:uFillTx/>
              <a:latin typeface="Arial"/>
            </a:endParaRPr>
          </a:p>
        </p:txBody>
      </p:sp>
      <p:sp>
        <p:nvSpPr>
          <p:cNvPr id="193" name="Rectangle: Rounded Corners 192">
            <a:extLst>
              <a:ext uri="{FF2B5EF4-FFF2-40B4-BE49-F238E27FC236}">
                <a16:creationId xmlns:a16="http://schemas.microsoft.com/office/drawing/2014/main" id="{91099929-9199-4DCA-81B6-C610F93E7960}"/>
              </a:ext>
            </a:extLst>
          </p:cNvPr>
          <p:cNvSpPr/>
          <p:nvPr userDrawn="1"/>
        </p:nvSpPr>
        <p:spPr>
          <a:xfrm>
            <a:off x="8234531" y="1554434"/>
            <a:ext cx="1585191" cy="446745"/>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94" name="Rectangle: Rounded Corners 193">
            <a:extLst>
              <a:ext uri="{FF2B5EF4-FFF2-40B4-BE49-F238E27FC236}">
                <a16:creationId xmlns:a16="http://schemas.microsoft.com/office/drawing/2014/main" id="{41B2FF21-AD8D-4D05-9879-404E8FE97708}"/>
              </a:ext>
            </a:extLst>
          </p:cNvPr>
          <p:cNvSpPr/>
          <p:nvPr userDrawn="1"/>
        </p:nvSpPr>
        <p:spPr>
          <a:xfrm>
            <a:off x="8234531" y="2133493"/>
            <a:ext cx="1585191" cy="438049"/>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95" name="Rectangle: Rounded Corners 194">
            <a:extLst>
              <a:ext uri="{FF2B5EF4-FFF2-40B4-BE49-F238E27FC236}">
                <a16:creationId xmlns:a16="http://schemas.microsoft.com/office/drawing/2014/main" id="{4D9C41DA-CE28-4956-A7E8-F5C7C11AA90E}"/>
              </a:ext>
            </a:extLst>
          </p:cNvPr>
          <p:cNvSpPr/>
          <p:nvPr userDrawn="1"/>
        </p:nvSpPr>
        <p:spPr>
          <a:xfrm>
            <a:off x="8234531" y="3106650"/>
            <a:ext cx="1585191" cy="629736"/>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96" name="Rectangle: Rounded Corners 195">
            <a:extLst>
              <a:ext uri="{FF2B5EF4-FFF2-40B4-BE49-F238E27FC236}">
                <a16:creationId xmlns:a16="http://schemas.microsoft.com/office/drawing/2014/main" id="{6C3051B7-49AE-4764-A2AE-CB5979E4DED5}"/>
              </a:ext>
            </a:extLst>
          </p:cNvPr>
          <p:cNvSpPr/>
          <p:nvPr userDrawn="1"/>
        </p:nvSpPr>
        <p:spPr>
          <a:xfrm>
            <a:off x="8234531" y="3847867"/>
            <a:ext cx="1585191" cy="642239"/>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97" name="Rectangle: Rounded Corners 196">
            <a:extLst>
              <a:ext uri="{FF2B5EF4-FFF2-40B4-BE49-F238E27FC236}">
                <a16:creationId xmlns:a16="http://schemas.microsoft.com/office/drawing/2014/main" id="{B222962C-E61F-4504-A6BE-C7E4205D73F9}"/>
              </a:ext>
            </a:extLst>
          </p:cNvPr>
          <p:cNvSpPr/>
          <p:nvPr userDrawn="1"/>
        </p:nvSpPr>
        <p:spPr>
          <a:xfrm>
            <a:off x="8234531" y="4634073"/>
            <a:ext cx="1585191" cy="432000"/>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98" name="Rectangle: Rounded Corners 197">
            <a:extLst>
              <a:ext uri="{FF2B5EF4-FFF2-40B4-BE49-F238E27FC236}">
                <a16:creationId xmlns:a16="http://schemas.microsoft.com/office/drawing/2014/main" id="{EE26855D-A9C3-46ED-8771-E00DB2FBDDC0}"/>
              </a:ext>
            </a:extLst>
          </p:cNvPr>
          <p:cNvSpPr/>
          <p:nvPr userDrawn="1"/>
        </p:nvSpPr>
        <p:spPr>
          <a:xfrm>
            <a:off x="8234531" y="5206806"/>
            <a:ext cx="1585191" cy="341537"/>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199" name="Rectangle: Rounded Corners 198">
            <a:extLst>
              <a:ext uri="{FF2B5EF4-FFF2-40B4-BE49-F238E27FC236}">
                <a16:creationId xmlns:a16="http://schemas.microsoft.com/office/drawing/2014/main" id="{ACAB9066-66E5-432D-B10F-1C0164B09188}"/>
              </a:ext>
            </a:extLst>
          </p:cNvPr>
          <p:cNvSpPr/>
          <p:nvPr userDrawn="1"/>
        </p:nvSpPr>
        <p:spPr>
          <a:xfrm>
            <a:off x="8234531" y="5725952"/>
            <a:ext cx="1585191" cy="341537"/>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208" name="Rectangle: Rounded Corners 207">
            <a:extLst>
              <a:ext uri="{FF2B5EF4-FFF2-40B4-BE49-F238E27FC236}">
                <a16:creationId xmlns:a16="http://schemas.microsoft.com/office/drawing/2014/main" id="{5EB91675-04D2-4069-AAC8-325283122434}"/>
              </a:ext>
            </a:extLst>
          </p:cNvPr>
          <p:cNvSpPr/>
          <p:nvPr userDrawn="1"/>
        </p:nvSpPr>
        <p:spPr>
          <a:xfrm>
            <a:off x="8230969" y="2673671"/>
            <a:ext cx="1585191" cy="305182"/>
          </a:xfrm>
          <a:prstGeom prst="roundRect">
            <a:avLst/>
          </a:prstGeom>
          <a:solidFill>
            <a:srgbClr val="FFC000">
              <a:lumMod val="20000"/>
              <a:lumOff val="80000"/>
            </a:srgbClr>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210" name="Rectangle 209">
            <a:extLst>
              <a:ext uri="{FF2B5EF4-FFF2-40B4-BE49-F238E27FC236}">
                <a16:creationId xmlns:a16="http://schemas.microsoft.com/office/drawing/2014/main" id="{E0E5D895-792B-4EF4-977F-E6CC70675D31}"/>
              </a:ext>
            </a:extLst>
          </p:cNvPr>
          <p:cNvSpPr/>
          <p:nvPr userDrawn="1"/>
        </p:nvSpPr>
        <p:spPr>
          <a:xfrm>
            <a:off x="9927567" y="1055974"/>
            <a:ext cx="1585191" cy="325272"/>
          </a:xfrm>
          <a:prstGeom prst="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lIns="128000" rIns="128000"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1" i="0" u="none" strike="noStrike" kern="0" cap="none" spc="0" normalizeH="0" baseline="30000" noProof="0" dirty="0">
              <a:ln>
                <a:noFill/>
              </a:ln>
              <a:solidFill>
                <a:prstClr val="black"/>
              </a:solidFill>
              <a:effectLst/>
              <a:uLnTx/>
              <a:uFillTx/>
              <a:latin typeface="Arial"/>
            </a:endParaRPr>
          </a:p>
        </p:txBody>
      </p:sp>
      <p:sp>
        <p:nvSpPr>
          <p:cNvPr id="211" name="Rectangle: Rounded Corners 210">
            <a:extLst>
              <a:ext uri="{FF2B5EF4-FFF2-40B4-BE49-F238E27FC236}">
                <a16:creationId xmlns:a16="http://schemas.microsoft.com/office/drawing/2014/main" id="{A46A7DCC-D47A-4E86-9E0A-16E24F6E2CBF}"/>
              </a:ext>
            </a:extLst>
          </p:cNvPr>
          <p:cNvSpPr/>
          <p:nvPr userDrawn="1"/>
        </p:nvSpPr>
        <p:spPr>
          <a:xfrm>
            <a:off x="9927567" y="1554434"/>
            <a:ext cx="1585191" cy="446745"/>
          </a:xfrm>
          <a:prstGeom prst="round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212" name="Rectangle: Rounded Corners 211">
            <a:extLst>
              <a:ext uri="{FF2B5EF4-FFF2-40B4-BE49-F238E27FC236}">
                <a16:creationId xmlns:a16="http://schemas.microsoft.com/office/drawing/2014/main" id="{C50A70E2-6238-4C37-8210-3BCAB251EAE2}"/>
              </a:ext>
            </a:extLst>
          </p:cNvPr>
          <p:cNvSpPr/>
          <p:nvPr userDrawn="1"/>
        </p:nvSpPr>
        <p:spPr>
          <a:xfrm>
            <a:off x="9927567" y="2147787"/>
            <a:ext cx="1585191" cy="438049"/>
          </a:xfrm>
          <a:prstGeom prst="round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213" name="Rectangle: Rounded Corners 212">
            <a:extLst>
              <a:ext uri="{FF2B5EF4-FFF2-40B4-BE49-F238E27FC236}">
                <a16:creationId xmlns:a16="http://schemas.microsoft.com/office/drawing/2014/main" id="{61819D75-522A-410B-94CE-4C75BA04C41B}"/>
              </a:ext>
            </a:extLst>
          </p:cNvPr>
          <p:cNvSpPr/>
          <p:nvPr userDrawn="1"/>
        </p:nvSpPr>
        <p:spPr>
          <a:xfrm>
            <a:off x="9927567" y="3106650"/>
            <a:ext cx="1585191" cy="629736"/>
          </a:xfrm>
          <a:prstGeom prst="round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214" name="Rectangle: Rounded Corners 213">
            <a:extLst>
              <a:ext uri="{FF2B5EF4-FFF2-40B4-BE49-F238E27FC236}">
                <a16:creationId xmlns:a16="http://schemas.microsoft.com/office/drawing/2014/main" id="{14B8B956-FAE7-40B8-BF0D-474CE95B799B}"/>
              </a:ext>
            </a:extLst>
          </p:cNvPr>
          <p:cNvSpPr/>
          <p:nvPr userDrawn="1"/>
        </p:nvSpPr>
        <p:spPr>
          <a:xfrm>
            <a:off x="9927567" y="3862161"/>
            <a:ext cx="1585191" cy="642239"/>
          </a:xfrm>
          <a:prstGeom prst="round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215" name="Rectangle: Rounded Corners 214">
            <a:extLst>
              <a:ext uri="{FF2B5EF4-FFF2-40B4-BE49-F238E27FC236}">
                <a16:creationId xmlns:a16="http://schemas.microsoft.com/office/drawing/2014/main" id="{3628DFD0-11D0-4871-BF7F-EAA28804D778}"/>
              </a:ext>
            </a:extLst>
          </p:cNvPr>
          <p:cNvSpPr/>
          <p:nvPr userDrawn="1"/>
        </p:nvSpPr>
        <p:spPr>
          <a:xfrm>
            <a:off x="9927567" y="4648367"/>
            <a:ext cx="1585191" cy="432000"/>
          </a:xfrm>
          <a:prstGeom prst="round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216" name="Rectangle: Rounded Corners 215">
            <a:extLst>
              <a:ext uri="{FF2B5EF4-FFF2-40B4-BE49-F238E27FC236}">
                <a16:creationId xmlns:a16="http://schemas.microsoft.com/office/drawing/2014/main" id="{1168E6CE-276D-4EED-9155-ECBAD5C077E1}"/>
              </a:ext>
            </a:extLst>
          </p:cNvPr>
          <p:cNvSpPr/>
          <p:nvPr userDrawn="1"/>
        </p:nvSpPr>
        <p:spPr>
          <a:xfrm>
            <a:off x="9927567" y="5210940"/>
            <a:ext cx="1585191" cy="341537"/>
          </a:xfrm>
          <a:prstGeom prst="round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217" name="Rectangle: Rounded Corners 216">
            <a:extLst>
              <a:ext uri="{FF2B5EF4-FFF2-40B4-BE49-F238E27FC236}">
                <a16:creationId xmlns:a16="http://schemas.microsoft.com/office/drawing/2014/main" id="{3C5C2E93-66D9-426F-901F-9842900EF1BC}"/>
              </a:ext>
            </a:extLst>
          </p:cNvPr>
          <p:cNvSpPr/>
          <p:nvPr userDrawn="1"/>
        </p:nvSpPr>
        <p:spPr>
          <a:xfrm>
            <a:off x="9927567" y="5725952"/>
            <a:ext cx="1585191" cy="341537"/>
          </a:xfrm>
          <a:prstGeom prst="round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
        <p:nvSpPr>
          <p:cNvPr id="226" name="Rectangle: Rounded Corners 225">
            <a:extLst>
              <a:ext uri="{FF2B5EF4-FFF2-40B4-BE49-F238E27FC236}">
                <a16:creationId xmlns:a16="http://schemas.microsoft.com/office/drawing/2014/main" id="{3868CF18-5606-43CA-B642-90256C41F71B}"/>
              </a:ext>
            </a:extLst>
          </p:cNvPr>
          <p:cNvSpPr/>
          <p:nvPr userDrawn="1"/>
        </p:nvSpPr>
        <p:spPr>
          <a:xfrm>
            <a:off x="9924005" y="2673671"/>
            <a:ext cx="1585191" cy="319476"/>
          </a:xfrm>
          <a:prstGeom prst="roundRect">
            <a:avLst/>
          </a:prstGeom>
          <a:solidFill>
            <a:srgbClr val="E7E6E6"/>
          </a:solidFill>
          <a:ln w="6350" cap="flat" cmpd="sng" algn="ctr">
            <a:solidFill>
              <a:sysClr val="window" lastClr="FFFFFF"/>
            </a:solidFill>
            <a:prstDash val="solid"/>
          </a:ln>
          <a:effectLst>
            <a:outerShdw blurRad="50800" dist="38100" dir="2700000" algn="tl" rotWithShape="0">
              <a:prstClr val="black">
                <a:alpha val="20000"/>
              </a:prstClr>
            </a:outerShdw>
          </a:effectLst>
        </p:spPr>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GB" sz="1067" b="0" i="0" u="none" strike="noStrike" kern="0" cap="none" spc="0" normalizeH="0" baseline="0" noProof="0" dirty="0">
              <a:ln>
                <a:noFill/>
              </a:ln>
              <a:solidFill>
                <a:prstClr val="black"/>
              </a:solidFill>
              <a:effectLst/>
              <a:uLnTx/>
              <a:uFillTx/>
              <a:latin typeface="Arial"/>
            </a:endParaRPr>
          </a:p>
        </p:txBody>
      </p:sp>
    </p:spTree>
    <p:custDataLst>
      <p:tags r:id="rId1"/>
    </p:custDataLst>
    <p:extLst>
      <p:ext uri="{BB962C8B-B14F-4D97-AF65-F5344CB8AC3E}">
        <p14:creationId xmlns:p14="http://schemas.microsoft.com/office/powerpoint/2010/main" val="3115365358"/>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fidentiality Notic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848B27A-10B7-4200-88E7-16263562F97B}"/>
              </a:ext>
            </a:extLst>
          </p:cNvPr>
          <p:cNvSpPr txBox="1"/>
          <p:nvPr userDrawn="1"/>
        </p:nvSpPr>
        <p:spPr>
          <a:xfrm>
            <a:off x="419100" y="4864100"/>
            <a:ext cx="9156700" cy="1028700"/>
          </a:xfrm>
          <a:prstGeom prst="rect">
            <a:avLst/>
          </a:prstGeom>
          <a:noFill/>
        </p:spPr>
        <p:txBody>
          <a:bodyPr wrap="square" rtlCol="0">
            <a:noAutofit/>
          </a:bodyPr>
          <a:lstStyle/>
          <a:p>
            <a:pPr marL="12700" rtl="0">
              <a:lnSpc>
                <a:spcPct val="100000"/>
              </a:lnSpc>
              <a:spcBef>
                <a:spcPts val="100"/>
              </a:spcBef>
            </a:pPr>
            <a:r>
              <a:rPr lang="ru" sz="1200" b="1" spc="-5">
                <a:solidFill>
                  <a:schemeClr val="tx1"/>
                </a:solidFill>
                <a:latin typeface="+mn-lt"/>
                <a:cs typeface="Arial"/>
              </a:rPr>
              <a:t>Confidentiality</a:t>
            </a:r>
            <a:r>
              <a:rPr lang="ru" sz="1200" b="1" spc="-10">
                <a:solidFill>
                  <a:schemeClr val="tx1"/>
                </a:solidFill>
                <a:latin typeface="+mn-lt"/>
                <a:cs typeface="Arial"/>
              </a:rPr>
              <a:t> </a:t>
            </a:r>
            <a:r>
              <a:rPr lang="ru" sz="1200" b="1" spc="-5">
                <a:solidFill>
                  <a:schemeClr val="tx1"/>
                </a:solidFill>
                <a:latin typeface="+mn-lt"/>
                <a:cs typeface="Arial"/>
              </a:rPr>
              <a:t>Notice</a:t>
            </a:r>
            <a:endParaRPr lang="en-US" sz="1200" dirty="0">
              <a:solidFill>
                <a:schemeClr val="tx1"/>
              </a:solidFill>
              <a:latin typeface="+mn-lt"/>
              <a:cs typeface="Arial"/>
            </a:endParaRPr>
          </a:p>
          <a:p>
            <a:pPr marL="26670" marR="5080" rtl="0">
              <a:lnSpc>
                <a:spcPct val="102699"/>
              </a:lnSpc>
              <a:spcBef>
                <a:spcPts val="780"/>
              </a:spcBef>
            </a:pPr>
            <a:r>
              <a:rPr lang="ru" sz="1200" spc="5">
                <a:solidFill>
                  <a:schemeClr val="tx1"/>
                </a:solidFill>
                <a:latin typeface="+mn-lt"/>
                <a:cs typeface="Arial"/>
              </a:rPr>
              <a:t>This </a:t>
            </a:r>
            <a:r>
              <a:rPr lang="ru" sz="1200">
                <a:solidFill>
                  <a:schemeClr val="tx1"/>
                </a:solidFill>
                <a:latin typeface="+mn-lt"/>
                <a:cs typeface="Arial"/>
              </a:rPr>
              <a:t>file is </a:t>
            </a:r>
            <a:r>
              <a:rPr lang="ru" sz="1200" spc="5">
                <a:solidFill>
                  <a:schemeClr val="tx1"/>
                </a:solidFill>
                <a:latin typeface="+mn-lt"/>
                <a:cs typeface="Arial"/>
              </a:rPr>
              <a:t>private </a:t>
            </a:r>
            <a:r>
              <a:rPr lang="ru" sz="1200" spc="10">
                <a:solidFill>
                  <a:schemeClr val="tx1"/>
                </a:solidFill>
                <a:latin typeface="+mn-lt"/>
                <a:cs typeface="Arial"/>
              </a:rPr>
              <a:t>and may contain confidential and proprietary information. </a:t>
            </a:r>
            <a:r>
              <a:rPr lang="ru" sz="1200">
                <a:solidFill>
                  <a:schemeClr val="tx1"/>
                </a:solidFill>
                <a:latin typeface="+mn-lt"/>
                <a:cs typeface="Arial"/>
              </a:rPr>
              <a:t>If </a:t>
            </a:r>
            <a:r>
              <a:rPr lang="ru" sz="1200" spc="10">
                <a:solidFill>
                  <a:schemeClr val="tx1"/>
                </a:solidFill>
                <a:latin typeface="+mn-lt"/>
                <a:cs typeface="Arial"/>
              </a:rPr>
              <a:t>you have received </a:t>
            </a:r>
            <a:r>
              <a:rPr lang="ru" sz="1200" spc="5">
                <a:solidFill>
                  <a:schemeClr val="tx1"/>
                </a:solidFill>
                <a:latin typeface="+mn-lt"/>
                <a:cs typeface="Arial"/>
              </a:rPr>
              <a:t>this </a:t>
            </a:r>
            <a:r>
              <a:rPr lang="ru" sz="1200">
                <a:solidFill>
                  <a:schemeClr val="tx1"/>
                </a:solidFill>
                <a:latin typeface="+mn-lt"/>
                <a:cs typeface="Arial"/>
              </a:rPr>
              <a:t>file in </a:t>
            </a:r>
            <a:r>
              <a:rPr lang="ru" sz="1200" spc="10">
                <a:solidFill>
                  <a:schemeClr val="tx1"/>
                </a:solidFill>
                <a:latin typeface="+mn-lt"/>
                <a:cs typeface="Arial"/>
              </a:rPr>
              <a:t>error, please </a:t>
            </a:r>
            <a:r>
              <a:rPr lang="ru" sz="1200" spc="5">
                <a:solidFill>
                  <a:schemeClr val="tx1"/>
                </a:solidFill>
                <a:latin typeface="+mn-lt"/>
                <a:cs typeface="Arial"/>
              </a:rPr>
              <a:t>notify us </a:t>
            </a:r>
            <a:r>
              <a:rPr lang="ru" sz="1200" spc="10">
                <a:solidFill>
                  <a:schemeClr val="tx1"/>
                </a:solidFill>
                <a:latin typeface="+mn-lt"/>
                <a:cs typeface="Arial"/>
              </a:rPr>
              <a:t>and remove  </a:t>
            </a:r>
            <a:r>
              <a:rPr lang="ru" sz="1200">
                <a:solidFill>
                  <a:schemeClr val="tx1"/>
                </a:solidFill>
                <a:latin typeface="+mn-lt"/>
                <a:cs typeface="Arial"/>
              </a:rPr>
              <a:t>it </a:t>
            </a:r>
            <a:r>
              <a:rPr lang="ru" sz="1200" spc="5">
                <a:solidFill>
                  <a:schemeClr val="tx1"/>
                </a:solidFill>
                <a:latin typeface="+mn-lt"/>
                <a:cs typeface="Arial"/>
              </a:rPr>
              <a:t>from </a:t>
            </a:r>
            <a:r>
              <a:rPr lang="ru" sz="1200" spc="10">
                <a:solidFill>
                  <a:schemeClr val="tx1"/>
                </a:solidFill>
                <a:latin typeface="+mn-lt"/>
                <a:cs typeface="Arial"/>
              </a:rPr>
              <a:t>your system and </a:t>
            </a:r>
            <a:r>
              <a:rPr lang="ru" sz="1200" spc="5">
                <a:solidFill>
                  <a:schemeClr val="tx1"/>
                </a:solidFill>
                <a:latin typeface="+mn-lt"/>
                <a:cs typeface="Arial"/>
              </a:rPr>
              <a:t>note that </a:t>
            </a:r>
            <a:r>
              <a:rPr lang="ru" sz="1200" spc="10">
                <a:solidFill>
                  <a:schemeClr val="tx1"/>
                </a:solidFill>
                <a:latin typeface="+mn-lt"/>
                <a:cs typeface="Arial"/>
              </a:rPr>
              <a:t>you must not copy, </a:t>
            </a:r>
            <a:r>
              <a:rPr lang="ru" sz="1200" spc="5">
                <a:solidFill>
                  <a:schemeClr val="tx1"/>
                </a:solidFill>
                <a:latin typeface="+mn-lt"/>
                <a:cs typeface="Arial"/>
              </a:rPr>
              <a:t>distribute or take </a:t>
            </a:r>
            <a:r>
              <a:rPr lang="ru" sz="1200" spc="10">
                <a:solidFill>
                  <a:schemeClr val="tx1"/>
                </a:solidFill>
                <a:latin typeface="+mn-lt"/>
                <a:cs typeface="Arial"/>
              </a:rPr>
              <a:t>any </a:t>
            </a:r>
            <a:r>
              <a:rPr lang="ru" sz="1200" spc="5">
                <a:solidFill>
                  <a:schemeClr val="tx1"/>
                </a:solidFill>
                <a:latin typeface="+mn-lt"/>
                <a:cs typeface="Arial"/>
              </a:rPr>
              <a:t>action </a:t>
            </a:r>
            <a:r>
              <a:rPr lang="ru" sz="1200">
                <a:solidFill>
                  <a:schemeClr val="tx1"/>
                </a:solidFill>
                <a:latin typeface="+mn-lt"/>
                <a:cs typeface="Arial"/>
              </a:rPr>
              <a:t>in </a:t>
            </a:r>
            <a:r>
              <a:rPr lang="ru" sz="1200" spc="10">
                <a:solidFill>
                  <a:schemeClr val="tx1"/>
                </a:solidFill>
                <a:latin typeface="+mn-lt"/>
                <a:cs typeface="Arial"/>
              </a:rPr>
              <a:t>reliance </a:t>
            </a:r>
            <a:r>
              <a:rPr lang="ru" sz="1200" spc="5">
                <a:solidFill>
                  <a:schemeClr val="tx1"/>
                </a:solidFill>
                <a:latin typeface="+mn-lt"/>
                <a:cs typeface="Arial"/>
              </a:rPr>
              <a:t>on </a:t>
            </a:r>
            <a:r>
              <a:rPr lang="ru" sz="1200">
                <a:solidFill>
                  <a:schemeClr val="tx1"/>
                </a:solidFill>
                <a:latin typeface="+mn-lt"/>
                <a:cs typeface="Arial"/>
              </a:rPr>
              <a:t>it. </a:t>
            </a:r>
            <a:r>
              <a:rPr lang="ru" sz="1200" spc="10">
                <a:solidFill>
                  <a:schemeClr val="tx1"/>
                </a:solidFill>
                <a:latin typeface="+mn-lt"/>
                <a:cs typeface="Arial"/>
              </a:rPr>
              <a:t>Any unauthorized use </a:t>
            </a:r>
            <a:r>
              <a:rPr lang="ru" sz="1200" spc="5">
                <a:solidFill>
                  <a:schemeClr val="tx1"/>
                </a:solidFill>
                <a:latin typeface="+mn-lt"/>
                <a:cs typeface="Arial"/>
              </a:rPr>
              <a:t>or </a:t>
            </a:r>
            <a:r>
              <a:rPr lang="ru" sz="1200" spc="10">
                <a:solidFill>
                  <a:schemeClr val="tx1"/>
                </a:solidFill>
                <a:latin typeface="+mn-lt"/>
                <a:cs typeface="Arial"/>
              </a:rPr>
              <a:t>disclosure </a:t>
            </a:r>
            <a:r>
              <a:rPr lang="ru" sz="1200" spc="5">
                <a:solidFill>
                  <a:schemeClr val="tx1"/>
                </a:solidFill>
                <a:latin typeface="+mn-lt"/>
                <a:cs typeface="Arial"/>
              </a:rPr>
              <a:t>of the  </a:t>
            </a:r>
            <a:r>
              <a:rPr lang="ru" sz="1200" spc="10">
                <a:solidFill>
                  <a:schemeClr val="tx1"/>
                </a:solidFill>
                <a:latin typeface="+mn-lt"/>
                <a:cs typeface="Arial"/>
              </a:rPr>
              <a:t>contents </a:t>
            </a:r>
            <a:r>
              <a:rPr lang="ru" sz="1200" spc="5">
                <a:solidFill>
                  <a:schemeClr val="tx1"/>
                </a:solidFill>
                <a:latin typeface="+mn-lt"/>
                <a:cs typeface="Arial"/>
              </a:rPr>
              <a:t>of this </a:t>
            </a:r>
            <a:r>
              <a:rPr lang="ru" sz="1200">
                <a:solidFill>
                  <a:schemeClr val="tx1"/>
                </a:solidFill>
                <a:latin typeface="+mn-lt"/>
                <a:cs typeface="Arial"/>
              </a:rPr>
              <a:t>file is </a:t>
            </a:r>
            <a:r>
              <a:rPr lang="ru" sz="1200" spc="10">
                <a:solidFill>
                  <a:schemeClr val="tx1"/>
                </a:solidFill>
                <a:latin typeface="+mn-lt"/>
                <a:cs typeface="Arial"/>
              </a:rPr>
              <a:t>not permitted and may </a:t>
            </a:r>
            <a:r>
              <a:rPr lang="ru" sz="1200" spc="5">
                <a:solidFill>
                  <a:schemeClr val="tx1"/>
                </a:solidFill>
                <a:latin typeface="+mn-lt"/>
                <a:cs typeface="Arial"/>
              </a:rPr>
              <a:t>be </a:t>
            </a:r>
            <a:r>
              <a:rPr lang="ru" sz="1200" spc="10">
                <a:solidFill>
                  <a:schemeClr val="tx1"/>
                </a:solidFill>
                <a:latin typeface="+mn-lt"/>
                <a:cs typeface="Arial"/>
              </a:rPr>
              <a:t>unlawful. AstraZeneca PLC, </a:t>
            </a:r>
            <a:r>
              <a:rPr lang="ru" sz="1200">
                <a:solidFill>
                  <a:schemeClr val="tx1"/>
                </a:solidFill>
                <a:latin typeface="+mn-lt"/>
                <a:cs typeface="Arial"/>
              </a:rPr>
              <a:t>1 </a:t>
            </a:r>
            <a:r>
              <a:rPr lang="ru" sz="1200" spc="10">
                <a:solidFill>
                  <a:schemeClr val="tx1"/>
                </a:solidFill>
                <a:latin typeface="+mn-lt"/>
                <a:cs typeface="Arial"/>
              </a:rPr>
              <a:t>Francis Crick Avenue, Cambridge Biomedical </a:t>
            </a:r>
            <a:r>
              <a:rPr lang="ru" sz="1200" spc="15">
                <a:solidFill>
                  <a:schemeClr val="tx1"/>
                </a:solidFill>
                <a:latin typeface="+mn-lt"/>
                <a:cs typeface="Arial"/>
              </a:rPr>
              <a:t>Campus,  </a:t>
            </a:r>
            <a:r>
              <a:rPr lang="ru" sz="1200" spc="10">
                <a:solidFill>
                  <a:schemeClr val="tx1"/>
                </a:solidFill>
                <a:latin typeface="+mn-lt"/>
                <a:cs typeface="Arial"/>
              </a:rPr>
              <a:t>Cambridge, CB2 0AA, UK, </a:t>
            </a:r>
            <a:r>
              <a:rPr lang="ru" sz="1200" spc="5">
                <a:solidFill>
                  <a:schemeClr val="tx1"/>
                </a:solidFill>
                <a:latin typeface="+mn-lt"/>
                <a:cs typeface="Arial"/>
              </a:rPr>
              <a:t>T: </a:t>
            </a:r>
            <a:r>
              <a:rPr lang="ru" sz="1200" spc="10">
                <a:solidFill>
                  <a:schemeClr val="tx1"/>
                </a:solidFill>
                <a:latin typeface="+mn-lt"/>
                <a:cs typeface="Arial"/>
              </a:rPr>
              <a:t>+44(0)203 749 5000,</a:t>
            </a:r>
            <a:r>
              <a:rPr lang="ru" sz="1200" spc="85">
                <a:solidFill>
                  <a:schemeClr val="tx1"/>
                </a:solidFill>
                <a:latin typeface="+mn-lt"/>
                <a:cs typeface="Arial"/>
              </a:rPr>
              <a:t> </a:t>
            </a:r>
            <a:r>
              <a:rPr lang="ru" sz="1200" u="none" spc="10">
                <a:solidFill>
                  <a:schemeClr val="tx1"/>
                </a:solidFill>
                <a:latin typeface="+mn-lt"/>
                <a:cs typeface="Arial"/>
              </a:rPr>
              <a:t>www.astrazeneca.com</a:t>
            </a:r>
            <a:endParaRPr lang="en-US" sz="1200" dirty="0">
              <a:solidFill>
                <a:schemeClr val="tx1"/>
              </a:solidFill>
            </a:endParaRPr>
          </a:p>
        </p:txBody>
      </p:sp>
      <p:sp>
        <p:nvSpPr>
          <p:cNvPr id="4" name="Date Placeholder 3">
            <a:extLst>
              <a:ext uri="{FF2B5EF4-FFF2-40B4-BE49-F238E27FC236}">
                <a16:creationId xmlns:a16="http://schemas.microsoft.com/office/drawing/2014/main" id="{2AB750B5-01B2-430D-BF92-6E5CD93388D3}"/>
              </a:ext>
            </a:extLst>
          </p:cNvPr>
          <p:cNvSpPr>
            <a:spLocks noGrp="1"/>
          </p:cNvSpPr>
          <p:nvPr>
            <p:ph type="dt" sz="half" idx="10"/>
          </p:nvPr>
        </p:nvSpPr>
        <p:spPr/>
        <p:txBody>
          <a:bodyPr rtlCol="0"/>
          <a:lstStyle/>
          <a:p>
            <a:pPr rtl="0"/>
            <a:endParaRPr lang="en-GB" dirty="0"/>
          </a:p>
        </p:txBody>
      </p:sp>
      <p:sp>
        <p:nvSpPr>
          <p:cNvPr id="8" name="Slide Number Placeholder 7">
            <a:extLst>
              <a:ext uri="{FF2B5EF4-FFF2-40B4-BE49-F238E27FC236}">
                <a16:creationId xmlns:a16="http://schemas.microsoft.com/office/drawing/2014/main" id="{25C10CA0-7F28-40CE-9633-59C6800E7665}"/>
              </a:ext>
            </a:extLst>
          </p:cNvPr>
          <p:cNvSpPr>
            <a:spLocks noGrp="1"/>
          </p:cNvSpPr>
          <p:nvPr>
            <p:ph type="sldNum" sz="quarter" idx="12"/>
          </p:nvPr>
        </p:nvSpPr>
        <p:spPr/>
        <p:txBody>
          <a:bodyPr rtlCol="0"/>
          <a:lstStyle/>
          <a:p>
            <a:pPr rtl="0"/>
            <a:fld id="{F8E47D07-9D1E-4FE9-B31A-2F5863681021}" type="slidenum">
              <a:rPr lang="en-GB" smtClean="0"/>
              <a:pPr/>
              <a:t>‹#›</a:t>
            </a:fld>
            <a:endParaRPr lang="en-GB" dirty="0"/>
          </a:p>
        </p:txBody>
      </p:sp>
    </p:spTree>
    <p:custDataLst>
      <p:tags r:id="rId1"/>
    </p:custDataLst>
    <p:extLst>
      <p:ext uri="{BB962C8B-B14F-4D97-AF65-F5344CB8AC3E}">
        <p14:creationId xmlns:p14="http://schemas.microsoft.com/office/powerpoint/2010/main" val="196557662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rtl="0"/>
            <a:r>
              <a:rPr lang="ru" sz="9600"/>
              <a:t>Do not use layouts</a:t>
            </a:r>
            <a:br>
              <a:rPr lang="en-US" sz="9600" dirty="0"/>
            </a:br>
            <a:r>
              <a:rPr lang="ru" sz="9600"/>
              <a:t>in this section appearing after this point. </a:t>
            </a:r>
          </a:p>
        </p:txBody>
      </p:sp>
      <p:sp>
        <p:nvSpPr>
          <p:cNvPr id="4" name="DO NOT DELETE (BRANDIN)">
            <a:extLst>
              <a:ext uri="{FF2B5EF4-FFF2-40B4-BE49-F238E27FC236}">
                <a16:creationId xmlns:a16="http://schemas.microsoft.com/office/drawing/2014/main" id="{F1299135-0714-4CF7-A974-069E1C738F33}"/>
              </a:ext>
            </a:extLst>
          </p:cNvPr>
          <p:cNvSpPr/>
          <p:nvPr userDrawn="1"/>
        </p:nvSpPr>
        <p:spPr>
          <a:xfrm>
            <a:off x="0" y="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rtl="0">
              <a:lnSpc>
                <a:spcPct val="90000"/>
              </a:lnSpc>
              <a:spcAft>
                <a:spcPts val="600"/>
              </a:spcAft>
            </a:pPr>
            <a:endParaRPr lang="en-US" dirty="0"/>
          </a:p>
        </p:txBody>
      </p:sp>
    </p:spTree>
    <p:custDataLst>
      <p:tags r:id="rId1"/>
    </p:custDataLst>
    <p:extLst>
      <p:ext uri="{BB962C8B-B14F-4D97-AF65-F5344CB8AC3E}">
        <p14:creationId xmlns:p14="http://schemas.microsoft.com/office/powerpoint/2010/main" val="11494563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Global Cover Sheet">
    <p:spTree>
      <p:nvGrpSpPr>
        <p:cNvPr id="1" name=""/>
        <p:cNvGrpSpPr/>
        <p:nvPr/>
      </p:nvGrpSpPr>
      <p:grpSpPr>
        <a:xfrm>
          <a:off x="0" y="0"/>
          <a:ext cx="0" cy="0"/>
          <a:chOff x="0" y="0"/>
          <a:chExt cx="0" cy="0"/>
        </a:xfrm>
      </p:grpSpPr>
      <p:sp>
        <p:nvSpPr>
          <p:cNvPr id="79" name="TextBox 78">
            <a:extLst>
              <a:ext uri="{FF2B5EF4-FFF2-40B4-BE49-F238E27FC236}">
                <a16:creationId xmlns:a16="http://schemas.microsoft.com/office/drawing/2014/main" id="{86D12817-4053-40BC-82BB-7AF5EE51AEBA}"/>
              </a:ext>
            </a:extLst>
          </p:cNvPr>
          <p:cNvSpPr txBox="1"/>
          <p:nvPr userDrawn="1"/>
        </p:nvSpPr>
        <p:spPr>
          <a:xfrm>
            <a:off x="526473" y="6034668"/>
            <a:ext cx="11208327" cy="830997"/>
          </a:xfrm>
          <a:prstGeom prst="rect">
            <a:avLst/>
          </a:prstGeom>
          <a:noFill/>
          <a:ln>
            <a:noFill/>
          </a:ln>
        </p:spPr>
        <p:txBody>
          <a:bodyPr wrap="square" rtlCol="0" anchor="b">
            <a:spAutoFit/>
          </a:bodyPr>
          <a:lstStyle/>
          <a:p>
            <a:pPr marL="0" indent="0" algn="ctr" rtl="0">
              <a:buClr>
                <a:schemeClr val="accent1"/>
              </a:buClr>
              <a:buFont typeface="Arial" panose="020B0604020202020204" pitchFamily="34" charset="0"/>
              <a:buNone/>
            </a:pPr>
            <a:r>
              <a:rPr lang="ru" sz="1400" b="1">
                <a:solidFill>
                  <a:schemeClr val="tx1"/>
                </a:solidFill>
              </a:rPr>
              <a:t>External use of any of the content must be approved for release </a:t>
            </a:r>
            <a:br>
              <a:rPr lang="en-US" sz="1400" b="1" dirty="0">
                <a:solidFill>
                  <a:schemeClr val="tx1"/>
                </a:solidFill>
              </a:rPr>
            </a:br>
            <a:r>
              <a:rPr lang="ru" sz="1400" b="1">
                <a:solidFill>
                  <a:schemeClr val="tx1"/>
                </a:solidFill>
              </a:rPr>
              <a:t>by your local nominated signatory/local medical process to ensure compliance with local regulations. </a:t>
            </a:r>
          </a:p>
          <a:p>
            <a:pPr marL="0" indent="0" algn="ctr" rtl="0">
              <a:buClr>
                <a:schemeClr val="accent1"/>
              </a:buClr>
              <a:buFont typeface="Arial" panose="020B0604020202020204" pitchFamily="34" charset="0"/>
              <a:buNone/>
            </a:pPr>
            <a:r>
              <a:rPr lang="ru" sz="1000" b="0">
                <a:solidFill>
                  <a:schemeClr val="tx1"/>
                </a:solidFill>
              </a:rPr>
              <a:t>Refer to the General Properties for this asset in GMIP Content (Veeva Vault MedComms) for additional details. </a:t>
            </a:r>
          </a:p>
          <a:p>
            <a:pPr marL="0" indent="0" algn="ctr" rtl="0">
              <a:buClr>
                <a:schemeClr val="accent1"/>
              </a:buClr>
              <a:buFont typeface="Arial" panose="020B0604020202020204" pitchFamily="34" charset="0"/>
              <a:buNone/>
            </a:pPr>
            <a:r>
              <a:rPr lang="ru" sz="1000" b="0">
                <a:solidFill>
                  <a:schemeClr val="tx1"/>
                </a:solidFill>
              </a:rPr>
              <a:t>Questions on this asset should be directed to asset owners.</a:t>
            </a:r>
          </a:p>
        </p:txBody>
      </p:sp>
      <p:graphicFrame>
        <p:nvGraphicFramePr>
          <p:cNvPr id="50" name="Table 49">
            <a:extLst>
              <a:ext uri="{FF2B5EF4-FFF2-40B4-BE49-F238E27FC236}">
                <a16:creationId xmlns:a16="http://schemas.microsoft.com/office/drawing/2014/main" id="{83D05D04-05CE-47AA-8F7B-B08C33B32C3F}"/>
              </a:ext>
            </a:extLst>
          </p:cNvPr>
          <p:cNvGraphicFramePr>
            <a:graphicFrameLocks noGrp="1"/>
          </p:cNvGraphicFramePr>
          <p:nvPr userDrawn="1">
            <p:extLst>
              <p:ext uri="{D42A27DB-BD31-4B8C-83A1-F6EECF244321}">
                <p14:modId xmlns:p14="http://schemas.microsoft.com/office/powerpoint/2010/main" val="429134625"/>
              </p:ext>
            </p:extLst>
          </p:nvPr>
        </p:nvGraphicFramePr>
        <p:xfrm>
          <a:off x="1128801" y="2274791"/>
          <a:ext cx="9949787" cy="1529404"/>
        </p:xfrm>
        <a:graphic>
          <a:graphicData uri="http://schemas.openxmlformats.org/drawingml/2006/table">
            <a:tbl>
              <a:tblPr>
                <a:tableStyleId>{21E4AEA4-8DFA-4A89-87EB-49C32662AFE0}</a:tableStyleId>
              </a:tblPr>
              <a:tblGrid>
                <a:gridCol w="2931948">
                  <a:extLst>
                    <a:ext uri="{9D8B030D-6E8A-4147-A177-3AD203B41FA5}">
                      <a16:colId xmlns:a16="http://schemas.microsoft.com/office/drawing/2014/main" val="3458750997"/>
                    </a:ext>
                  </a:extLst>
                </a:gridCol>
                <a:gridCol w="3701243">
                  <a:extLst>
                    <a:ext uri="{9D8B030D-6E8A-4147-A177-3AD203B41FA5}">
                      <a16:colId xmlns:a16="http://schemas.microsoft.com/office/drawing/2014/main" val="4071395440"/>
                    </a:ext>
                  </a:extLst>
                </a:gridCol>
                <a:gridCol w="3316596">
                  <a:extLst>
                    <a:ext uri="{9D8B030D-6E8A-4147-A177-3AD203B41FA5}">
                      <a16:colId xmlns:a16="http://schemas.microsoft.com/office/drawing/2014/main" val="668771908"/>
                    </a:ext>
                  </a:extLst>
                </a:gridCol>
              </a:tblGrid>
              <a:tr h="382351">
                <a:tc>
                  <a:txBody>
                    <a:bodyPr/>
                    <a:lstStyle/>
                    <a:p>
                      <a:pPr rtl="0"/>
                      <a:endParaRPr lang="en-US" sz="1800" dirty="0"/>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rtl="0"/>
                      <a:endParaRPr lang="en-US" sz="18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rtl="0"/>
                      <a:endParaRPr lang="en-US" sz="1800" dirty="0"/>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989134820"/>
                  </a:ext>
                </a:extLst>
              </a:tr>
              <a:tr h="382351">
                <a:tc>
                  <a:txBody>
                    <a:bodyPr/>
                    <a:lstStyle/>
                    <a:p>
                      <a:pPr rtl="0"/>
                      <a:endParaRPr lang="en-US" sz="1800" dirty="0"/>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rtl="0"/>
                      <a:endParaRPr lang="en-US" sz="18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rtl="0"/>
                      <a:endParaRPr lang="en-US" sz="1800" dirty="0"/>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89025149"/>
                  </a:ext>
                </a:extLst>
              </a:tr>
              <a:tr h="382351">
                <a:tc>
                  <a:txBody>
                    <a:bodyPr/>
                    <a:lstStyle/>
                    <a:p>
                      <a:pPr rtl="0"/>
                      <a:endParaRPr lang="en-US" sz="1800" dirty="0"/>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rtl="0"/>
                      <a:endParaRPr lang="en-US" sz="18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rtl="0"/>
                      <a:endParaRPr lang="en-US" sz="1800" dirty="0"/>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532524754"/>
                  </a:ext>
                </a:extLst>
              </a:tr>
              <a:tr h="382351">
                <a:tc>
                  <a:txBody>
                    <a:bodyPr/>
                    <a:lstStyle/>
                    <a:p>
                      <a:pPr rtl="0"/>
                      <a:endParaRPr lang="en-US" sz="1800" dirty="0"/>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rtl="0"/>
                      <a:endParaRPr lang="en-US" sz="18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rtl="0"/>
                      <a:endParaRPr lang="en-US" sz="1800" dirty="0"/>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152630277"/>
                  </a:ext>
                </a:extLst>
              </a:tr>
            </a:tbl>
          </a:graphicData>
        </a:graphic>
      </p:graphicFrame>
      <p:graphicFrame>
        <p:nvGraphicFramePr>
          <p:cNvPr id="5" name="Table 4">
            <a:extLst>
              <a:ext uri="{FF2B5EF4-FFF2-40B4-BE49-F238E27FC236}">
                <a16:creationId xmlns:a16="http://schemas.microsoft.com/office/drawing/2014/main" id="{3C8DCB22-4BDC-4256-9886-290008A41E58}"/>
              </a:ext>
            </a:extLst>
          </p:cNvPr>
          <p:cNvGraphicFramePr>
            <a:graphicFrameLocks noGrp="1"/>
          </p:cNvGraphicFramePr>
          <p:nvPr userDrawn="1">
            <p:extLst>
              <p:ext uri="{D42A27DB-BD31-4B8C-83A1-F6EECF244321}">
                <p14:modId xmlns:p14="http://schemas.microsoft.com/office/powerpoint/2010/main" val="4120293828"/>
              </p:ext>
            </p:extLst>
          </p:nvPr>
        </p:nvGraphicFramePr>
        <p:xfrm>
          <a:off x="1128801" y="1039471"/>
          <a:ext cx="9949787" cy="1147053"/>
        </p:xfrm>
        <a:graphic>
          <a:graphicData uri="http://schemas.openxmlformats.org/drawingml/2006/table">
            <a:tbl>
              <a:tblPr>
                <a:tableStyleId>{21E4AEA4-8DFA-4A89-87EB-49C32662AFE0}</a:tableStyleId>
              </a:tblPr>
              <a:tblGrid>
                <a:gridCol w="2931948">
                  <a:extLst>
                    <a:ext uri="{9D8B030D-6E8A-4147-A177-3AD203B41FA5}">
                      <a16:colId xmlns:a16="http://schemas.microsoft.com/office/drawing/2014/main" val="3458750997"/>
                    </a:ext>
                  </a:extLst>
                </a:gridCol>
                <a:gridCol w="3701243">
                  <a:extLst>
                    <a:ext uri="{9D8B030D-6E8A-4147-A177-3AD203B41FA5}">
                      <a16:colId xmlns:a16="http://schemas.microsoft.com/office/drawing/2014/main" val="4071395440"/>
                    </a:ext>
                  </a:extLst>
                </a:gridCol>
                <a:gridCol w="3316596">
                  <a:extLst>
                    <a:ext uri="{9D8B030D-6E8A-4147-A177-3AD203B41FA5}">
                      <a16:colId xmlns:a16="http://schemas.microsoft.com/office/drawing/2014/main" val="668771908"/>
                    </a:ext>
                  </a:extLst>
                </a:gridCol>
              </a:tblGrid>
              <a:tr h="382351">
                <a:tc>
                  <a:txBody>
                    <a:bodyPr/>
                    <a:lstStyle/>
                    <a:p>
                      <a:pPr rtl="0"/>
                      <a:endParaRPr lang="en-US" sz="1800" dirty="0"/>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rtl="0"/>
                      <a:endParaRPr lang="en-US" sz="18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rtl="0"/>
                      <a:endParaRPr lang="en-US" sz="1800" dirty="0"/>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23421394"/>
                  </a:ext>
                </a:extLst>
              </a:tr>
              <a:tr h="382351">
                <a:tc>
                  <a:txBody>
                    <a:bodyPr/>
                    <a:lstStyle/>
                    <a:p>
                      <a:pPr rtl="0"/>
                      <a:endParaRPr lang="en-US" sz="1800" dirty="0"/>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rtl="0"/>
                      <a:endParaRPr lang="en-US" sz="18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rtl="0"/>
                      <a:endParaRPr lang="en-US" sz="1800" dirty="0"/>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68834974"/>
                  </a:ext>
                </a:extLst>
              </a:tr>
              <a:tr h="382351">
                <a:tc>
                  <a:txBody>
                    <a:bodyPr/>
                    <a:lstStyle/>
                    <a:p>
                      <a:pPr rtl="0"/>
                      <a:endParaRPr lang="en-US" sz="1800" dirty="0"/>
                    </a:p>
                  </a:txBody>
                  <a:tcP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rtl="0"/>
                      <a:endParaRPr lang="en-US" sz="18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rtl="0"/>
                      <a:endParaRPr lang="en-US" sz="1800" dirty="0"/>
                    </a:p>
                  </a:txBody>
                  <a:tcP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051146587"/>
                  </a:ext>
                </a:extLst>
              </a:tr>
            </a:tbl>
          </a:graphicData>
        </a:graphic>
      </p:graphicFrame>
      <p:sp>
        <p:nvSpPr>
          <p:cNvPr id="2" name="Date Placeholder 1"/>
          <p:cNvSpPr>
            <a:spLocks noGrp="1"/>
          </p:cNvSpPr>
          <p:nvPr>
            <p:ph type="dt" sz="half" idx="10"/>
          </p:nvPr>
        </p:nvSpPr>
        <p:spPr/>
        <p:txBody>
          <a:bodyPr rtlCol="0"/>
          <a:lstStyle/>
          <a:p>
            <a:pPr rtl="0"/>
            <a:r>
              <a:rPr lang="en-US" dirty="0"/>
              <a:t>2/20/2023</a:t>
            </a:r>
          </a:p>
        </p:txBody>
      </p:sp>
      <p:sp>
        <p:nvSpPr>
          <p:cNvPr id="3" name="Footer Placeholder 2"/>
          <p:cNvSpPr>
            <a:spLocks noGrp="1"/>
          </p:cNvSpPr>
          <p:nvPr>
            <p:ph type="ftr" sz="quarter" idx="11"/>
          </p:nvPr>
        </p:nvSpPr>
        <p:spPr/>
        <p:txBody>
          <a:bodyPr rtlCol="0"/>
          <a:lstStyle/>
          <a:p>
            <a:pPr rtl="0"/>
            <a:endParaRPr lang="en-US" dirty="0"/>
          </a:p>
        </p:txBody>
      </p:sp>
      <p:sp>
        <p:nvSpPr>
          <p:cNvPr id="4" name="Slide Number Placeholder 3"/>
          <p:cNvSpPr>
            <a:spLocks noGrp="1"/>
          </p:cNvSpPr>
          <p:nvPr>
            <p:ph type="sldNum" sz="quarter" idx="12"/>
          </p:nvPr>
        </p:nvSpPr>
        <p:spPr/>
        <p:txBody>
          <a:bodyPr rtlCol="0"/>
          <a:lstStyle/>
          <a:p>
            <a:pPr rtl="0"/>
            <a:fld id="{CC7432E5-F8E0-41AE-9A6B-AD730338B005}" type="slidenum">
              <a:rPr lang="en-US" smtClean="0"/>
              <a:pPr/>
              <a:t>‹#›</a:t>
            </a:fld>
            <a:endParaRPr lang="en-US" dirty="0"/>
          </a:p>
        </p:txBody>
      </p:sp>
      <p:sp>
        <p:nvSpPr>
          <p:cNvPr id="8" name="TextBox 7">
            <a:extLst>
              <a:ext uri="{FF2B5EF4-FFF2-40B4-BE49-F238E27FC236}">
                <a16:creationId xmlns:a16="http://schemas.microsoft.com/office/drawing/2014/main" id="{FF897A55-CB79-4D07-BEF1-54B1E974D126}"/>
              </a:ext>
            </a:extLst>
          </p:cNvPr>
          <p:cNvSpPr txBox="1"/>
          <p:nvPr userDrawn="1"/>
        </p:nvSpPr>
        <p:spPr>
          <a:xfrm>
            <a:off x="10160000" y="6611780"/>
            <a:ext cx="2032000" cy="246221"/>
          </a:xfrm>
          <a:prstGeom prst="rect">
            <a:avLst/>
          </a:prstGeom>
          <a:noFill/>
        </p:spPr>
        <p:txBody>
          <a:bodyPr wrap="square" rtlCol="0" anchor="b" anchorCtr="0">
            <a:spAutoFit/>
          </a:bodyPr>
          <a:lstStyle/>
          <a:p>
            <a:pPr algn="r" rtl="0"/>
            <a:r>
              <a:rPr lang="ru" sz="1000" b="0">
                <a:solidFill>
                  <a:schemeClr val="tx1"/>
                </a:solidFill>
                <a:latin typeface="Arial" pitchFamily="34" charset="0"/>
                <a:cs typeface="Arial" pitchFamily="34" charset="0"/>
              </a:rPr>
              <a:t>© AstraZeneca </a:t>
            </a:r>
            <a:r>
              <a:rPr lang="en-US" sz="1000" b="0" baseline="0" dirty="0">
                <a:solidFill>
                  <a:schemeClr val="tx1"/>
                </a:solidFill>
                <a:latin typeface="Arial" pitchFamily="34" charset="0"/>
                <a:cs typeface="Arial" pitchFamily="34" charset="0"/>
              </a:rPr>
              <a:t>2023</a:t>
            </a:r>
          </a:p>
        </p:txBody>
      </p:sp>
      <p:sp>
        <p:nvSpPr>
          <p:cNvPr id="9" name="Text Placeholder 8">
            <a:extLst>
              <a:ext uri="{FF2B5EF4-FFF2-40B4-BE49-F238E27FC236}">
                <a16:creationId xmlns:a16="http://schemas.microsoft.com/office/drawing/2014/main" id="{A9E08680-4520-4EA6-B4A7-FD0062F8A6E5}"/>
              </a:ext>
            </a:extLst>
          </p:cNvPr>
          <p:cNvSpPr>
            <a:spLocks noGrp="1"/>
          </p:cNvSpPr>
          <p:nvPr>
            <p:ph type="body" sz="quarter" idx="13" hasCustomPrompt="1"/>
          </p:nvPr>
        </p:nvSpPr>
        <p:spPr>
          <a:xfrm>
            <a:off x="3260437" y="1102835"/>
            <a:ext cx="7798987" cy="228600"/>
          </a:xfrm>
        </p:spPr>
        <p:txBody>
          <a:bodyPr rtlCol="0" anchor="ctr">
            <a:normAutofit/>
          </a:bodyPr>
          <a:lstStyle>
            <a:lvl1pPr marL="0" indent="0">
              <a:buFont typeface="Arial" panose="020B0604020202020204" pitchFamily="34" charset="0"/>
              <a:buNone/>
              <a:defRPr sz="1200"/>
            </a:lvl1pPr>
            <a:lvl2pPr marL="228594" indent="0">
              <a:buNone/>
              <a:defRPr/>
            </a:lvl2pPr>
            <a:lvl3pPr marL="457189" indent="0">
              <a:buNone/>
              <a:defRPr/>
            </a:lvl3pPr>
            <a:lvl4pPr marL="685783" indent="0">
              <a:buNone/>
              <a:defRPr/>
            </a:lvl4pPr>
            <a:lvl5pPr marL="914378" indent="0">
              <a:buNone/>
              <a:defRPr/>
            </a:lvl5pPr>
          </a:lstStyle>
          <a:p>
            <a:pPr lvl="0" rtl="0"/>
            <a:r>
              <a:rPr lang="ru"/>
              <a:t>&lt;Generic Name&gt; - &lt;Title from Veeva Vault&gt;</a:t>
            </a:r>
          </a:p>
        </p:txBody>
      </p:sp>
      <p:sp>
        <p:nvSpPr>
          <p:cNvPr id="11" name="Text Placeholder 10">
            <a:extLst>
              <a:ext uri="{FF2B5EF4-FFF2-40B4-BE49-F238E27FC236}">
                <a16:creationId xmlns:a16="http://schemas.microsoft.com/office/drawing/2014/main" id="{CF687FD7-F293-4468-AE23-E28EE4619773}"/>
              </a:ext>
            </a:extLst>
          </p:cNvPr>
          <p:cNvSpPr>
            <a:spLocks noGrp="1"/>
          </p:cNvSpPr>
          <p:nvPr>
            <p:ph type="body" sz="quarter" idx="14" hasCustomPrompt="1"/>
          </p:nvPr>
        </p:nvSpPr>
        <p:spPr>
          <a:xfrm>
            <a:off x="8191826" y="3110879"/>
            <a:ext cx="720437" cy="228600"/>
          </a:xfrm>
        </p:spPr>
        <p:txBody>
          <a:bodyPr rtlCol="0" anchor="ctr">
            <a:noAutofit/>
          </a:bodyPr>
          <a:lstStyle>
            <a:lvl1pPr marL="0" indent="0">
              <a:buFont typeface="Arial" panose="020B0604020202020204" pitchFamily="34" charse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rtl="0"/>
            <a:r>
              <a:rPr lang="ru"/>
              <a:t>MM/YY</a:t>
            </a:r>
          </a:p>
        </p:txBody>
      </p:sp>
      <p:sp>
        <p:nvSpPr>
          <p:cNvPr id="13" name="Text Placeholder 12">
            <a:extLst>
              <a:ext uri="{FF2B5EF4-FFF2-40B4-BE49-F238E27FC236}">
                <a16:creationId xmlns:a16="http://schemas.microsoft.com/office/drawing/2014/main" id="{5BA6C7CD-771E-461C-A133-67764B81E611}"/>
              </a:ext>
            </a:extLst>
          </p:cNvPr>
          <p:cNvSpPr>
            <a:spLocks noGrp="1"/>
          </p:cNvSpPr>
          <p:nvPr>
            <p:ph type="body" sz="quarter" idx="15" hasCustomPrompt="1"/>
          </p:nvPr>
        </p:nvSpPr>
        <p:spPr>
          <a:xfrm>
            <a:off x="3260436" y="1491653"/>
            <a:ext cx="7620000" cy="228600"/>
          </a:xfrm>
        </p:spPr>
        <p:txBody>
          <a:bodyPr rtlCol="0" anchor="ctr">
            <a:noAutofit/>
          </a:bodyPr>
          <a:lstStyle>
            <a:lvl1pPr marL="0" indent="0">
              <a:buFont typeface="Arial" panose="020B0604020202020204" pitchFamily="34" charse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rtl="0"/>
            <a:r>
              <a:rPr lang="ru"/>
              <a:t>Reactive, Internal, or Reactive/Proactive by Local Nominated Signatory Review</a:t>
            </a:r>
          </a:p>
        </p:txBody>
      </p:sp>
      <p:sp>
        <p:nvSpPr>
          <p:cNvPr id="15" name="Text Placeholder 14">
            <a:extLst>
              <a:ext uri="{FF2B5EF4-FFF2-40B4-BE49-F238E27FC236}">
                <a16:creationId xmlns:a16="http://schemas.microsoft.com/office/drawing/2014/main" id="{6E33F1E3-ED30-4982-A86D-2C076E1C3B62}"/>
              </a:ext>
            </a:extLst>
          </p:cNvPr>
          <p:cNvSpPr>
            <a:spLocks noGrp="1"/>
          </p:cNvSpPr>
          <p:nvPr>
            <p:ph type="body" sz="quarter" idx="16" hasCustomPrompt="1"/>
          </p:nvPr>
        </p:nvSpPr>
        <p:spPr>
          <a:xfrm>
            <a:off x="5103652" y="3507944"/>
            <a:ext cx="5850676" cy="228600"/>
          </a:xfrm>
        </p:spPr>
        <p:txBody>
          <a:bodyPr rtlCol="0" anchor="ctr">
            <a:noAutofit/>
          </a:bodyPr>
          <a:lstStyle>
            <a:lvl1pPr marL="0" indent="0">
              <a:buFont typeface="Arial" panose="020B0604020202020204" pitchFamily="34" charse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rtl="0"/>
            <a:r>
              <a:rPr lang="ru"/>
              <a:t>Yes, No, or N/A </a:t>
            </a:r>
          </a:p>
        </p:txBody>
      </p:sp>
      <p:sp>
        <p:nvSpPr>
          <p:cNvPr id="17" name="Text Placeholder 16">
            <a:extLst>
              <a:ext uri="{FF2B5EF4-FFF2-40B4-BE49-F238E27FC236}">
                <a16:creationId xmlns:a16="http://schemas.microsoft.com/office/drawing/2014/main" id="{12286C0F-7CF6-40B2-B8FA-7AF1D25B9922}"/>
              </a:ext>
            </a:extLst>
          </p:cNvPr>
          <p:cNvSpPr>
            <a:spLocks noGrp="1"/>
          </p:cNvSpPr>
          <p:nvPr>
            <p:ph type="body" sz="quarter" idx="17" hasCustomPrompt="1"/>
          </p:nvPr>
        </p:nvSpPr>
        <p:spPr>
          <a:xfrm>
            <a:off x="5103651" y="3119257"/>
            <a:ext cx="1795083" cy="228600"/>
          </a:xfrm>
        </p:spPr>
        <p:txBody>
          <a:bodyPr rtlCol="0" anchor="ctr">
            <a:noAutofit/>
          </a:bodyPr>
          <a:lstStyle>
            <a:lvl1pPr marL="0" indent="0">
              <a:buFont typeface="Arial" panose="020B0604020202020204" pitchFamily="34" charse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rtl="0"/>
            <a:r>
              <a:rPr lang="ru"/>
              <a:t>Yes or No/List 3rd Party</a:t>
            </a:r>
          </a:p>
        </p:txBody>
      </p:sp>
      <p:sp>
        <p:nvSpPr>
          <p:cNvPr id="29" name="Text Placeholder 28">
            <a:extLst>
              <a:ext uri="{FF2B5EF4-FFF2-40B4-BE49-F238E27FC236}">
                <a16:creationId xmlns:a16="http://schemas.microsoft.com/office/drawing/2014/main" id="{110857ED-F4F0-4AED-89F7-6595C2BD781E}"/>
              </a:ext>
            </a:extLst>
          </p:cNvPr>
          <p:cNvSpPr>
            <a:spLocks noGrp="1"/>
          </p:cNvSpPr>
          <p:nvPr>
            <p:ph type="body" sz="quarter" idx="23" hasCustomPrompt="1"/>
          </p:nvPr>
        </p:nvSpPr>
        <p:spPr>
          <a:xfrm>
            <a:off x="10362377" y="3112464"/>
            <a:ext cx="711200" cy="228600"/>
          </a:xfrm>
        </p:spPr>
        <p:txBody>
          <a:bodyPr rtlCol="0" anchor="ctr">
            <a:noAutofit/>
          </a:bodyPr>
          <a:lstStyle>
            <a:lvl1pPr marL="0" inden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rtl="0"/>
            <a:r>
              <a:rPr lang="ru"/>
              <a:t>MM/YY</a:t>
            </a:r>
          </a:p>
        </p:txBody>
      </p:sp>
      <p:sp>
        <p:nvSpPr>
          <p:cNvPr id="35" name="Text Placeholder 34">
            <a:extLst>
              <a:ext uri="{FF2B5EF4-FFF2-40B4-BE49-F238E27FC236}">
                <a16:creationId xmlns:a16="http://schemas.microsoft.com/office/drawing/2014/main" id="{B511FB73-1515-4896-A191-A9E5140DA205}"/>
              </a:ext>
            </a:extLst>
          </p:cNvPr>
          <p:cNvSpPr>
            <a:spLocks noGrp="1"/>
          </p:cNvSpPr>
          <p:nvPr>
            <p:ph type="body" sz="quarter" idx="26" hasCustomPrompt="1"/>
          </p:nvPr>
        </p:nvSpPr>
        <p:spPr>
          <a:xfrm>
            <a:off x="3251201" y="4843764"/>
            <a:ext cx="7808084" cy="258532"/>
          </a:xfrm>
        </p:spPr>
        <p:txBody>
          <a:bodyPr wrap="square" rtlCol="0" anchor="ctr">
            <a:spAutoFit/>
          </a:bodyPr>
          <a:lstStyle>
            <a:lvl1pPr marL="0" inden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rtl="0"/>
            <a:r>
              <a:rPr lang="ru"/>
              <a:t>N/A or Enter Instructions</a:t>
            </a:r>
          </a:p>
        </p:txBody>
      </p:sp>
      <p:sp>
        <p:nvSpPr>
          <p:cNvPr id="37" name="Text Placeholder 36">
            <a:extLst>
              <a:ext uri="{FF2B5EF4-FFF2-40B4-BE49-F238E27FC236}">
                <a16:creationId xmlns:a16="http://schemas.microsoft.com/office/drawing/2014/main" id="{1E7DEFF9-F91F-49E6-94A9-010D12455C1C}"/>
              </a:ext>
            </a:extLst>
          </p:cNvPr>
          <p:cNvSpPr>
            <a:spLocks noGrp="1"/>
          </p:cNvSpPr>
          <p:nvPr>
            <p:ph type="body" sz="quarter" idx="27" hasCustomPrompt="1"/>
          </p:nvPr>
        </p:nvSpPr>
        <p:spPr>
          <a:xfrm>
            <a:off x="2741821" y="2741564"/>
            <a:ext cx="2983416" cy="228600"/>
          </a:xfrm>
        </p:spPr>
        <p:txBody>
          <a:bodyPr rtlCol="0" anchor="ctr">
            <a:noAutofit/>
          </a:bodyPr>
          <a:lstStyle>
            <a:lvl1pPr marL="0" inden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rtl="0"/>
            <a:r>
              <a:rPr lang="ru"/>
              <a:t>New, Renewal, or Renewal with Changes</a:t>
            </a:r>
          </a:p>
        </p:txBody>
      </p:sp>
      <p:sp>
        <p:nvSpPr>
          <p:cNvPr id="39" name="Text Placeholder 38">
            <a:extLst>
              <a:ext uri="{FF2B5EF4-FFF2-40B4-BE49-F238E27FC236}">
                <a16:creationId xmlns:a16="http://schemas.microsoft.com/office/drawing/2014/main" id="{FA339AE6-73E5-47C9-8111-E129355C911C}"/>
              </a:ext>
            </a:extLst>
          </p:cNvPr>
          <p:cNvSpPr>
            <a:spLocks noGrp="1"/>
          </p:cNvSpPr>
          <p:nvPr>
            <p:ph type="body" sz="quarter" idx="28" hasCustomPrompt="1"/>
          </p:nvPr>
        </p:nvSpPr>
        <p:spPr>
          <a:xfrm>
            <a:off x="7258510" y="2748517"/>
            <a:ext cx="3800914" cy="228600"/>
          </a:xfrm>
        </p:spPr>
        <p:txBody>
          <a:bodyPr rtlCol="0" anchor="ctr">
            <a:noAutofit/>
          </a:bodyPr>
          <a:lstStyle>
            <a:lvl1pPr marL="0" inden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rtl="0"/>
            <a:r>
              <a:rPr lang="ru"/>
              <a:t>PromoMats/MedComms #</a:t>
            </a:r>
          </a:p>
        </p:txBody>
      </p:sp>
      <p:sp>
        <p:nvSpPr>
          <p:cNvPr id="41" name="Text Placeholder 40">
            <a:extLst>
              <a:ext uri="{FF2B5EF4-FFF2-40B4-BE49-F238E27FC236}">
                <a16:creationId xmlns:a16="http://schemas.microsoft.com/office/drawing/2014/main" id="{F085F8C8-CE31-4A7B-87E4-06397B5B41DA}"/>
              </a:ext>
            </a:extLst>
          </p:cNvPr>
          <p:cNvSpPr>
            <a:spLocks noGrp="1"/>
          </p:cNvSpPr>
          <p:nvPr>
            <p:ph type="body" sz="quarter" idx="29" hasCustomPrompt="1"/>
          </p:nvPr>
        </p:nvSpPr>
        <p:spPr>
          <a:xfrm>
            <a:off x="2741821" y="2354985"/>
            <a:ext cx="2983416" cy="228600"/>
          </a:xfrm>
        </p:spPr>
        <p:txBody>
          <a:bodyPr rtlCol="0" anchor="ctr">
            <a:noAutofit/>
          </a:bodyPr>
          <a:lstStyle>
            <a:lvl1pPr marL="0" inden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rtl="0"/>
            <a:r>
              <a:rPr lang="ru"/>
              <a:t>AZ MI Lead/Global Medical Affairs Lead</a:t>
            </a:r>
          </a:p>
        </p:txBody>
      </p:sp>
      <p:sp>
        <p:nvSpPr>
          <p:cNvPr id="49" name="Text Placeholder 48">
            <a:extLst>
              <a:ext uri="{FF2B5EF4-FFF2-40B4-BE49-F238E27FC236}">
                <a16:creationId xmlns:a16="http://schemas.microsoft.com/office/drawing/2014/main" id="{FFBD88D7-1F68-4A55-9958-01B92024FDF7}"/>
              </a:ext>
            </a:extLst>
          </p:cNvPr>
          <p:cNvSpPr>
            <a:spLocks noGrp="1"/>
          </p:cNvSpPr>
          <p:nvPr>
            <p:ph type="body" sz="quarter" idx="33" hasCustomPrompt="1"/>
          </p:nvPr>
        </p:nvSpPr>
        <p:spPr>
          <a:xfrm>
            <a:off x="3260438" y="1880471"/>
            <a:ext cx="3555167" cy="228600"/>
          </a:xfrm>
        </p:spPr>
        <p:txBody>
          <a:bodyPr rtlCol="0" anchor="ctr">
            <a:noAutofit/>
          </a:bodyPr>
          <a:lstStyle>
            <a:lvl1pPr marL="0" inden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rtl="0"/>
            <a:r>
              <a:rPr lang="ru"/>
              <a:t>No or Yes, Pending Local Market Approval</a:t>
            </a:r>
          </a:p>
        </p:txBody>
      </p:sp>
      <p:sp>
        <p:nvSpPr>
          <p:cNvPr id="51" name="Text Placeholder 50">
            <a:extLst>
              <a:ext uri="{FF2B5EF4-FFF2-40B4-BE49-F238E27FC236}">
                <a16:creationId xmlns:a16="http://schemas.microsoft.com/office/drawing/2014/main" id="{D75479AB-AB9C-4737-A1D0-F9E28AC4F163}"/>
              </a:ext>
            </a:extLst>
          </p:cNvPr>
          <p:cNvSpPr>
            <a:spLocks noGrp="1"/>
          </p:cNvSpPr>
          <p:nvPr>
            <p:ph type="body" sz="quarter" idx="34" hasCustomPrompt="1"/>
          </p:nvPr>
        </p:nvSpPr>
        <p:spPr>
          <a:xfrm>
            <a:off x="8191826" y="1881207"/>
            <a:ext cx="2867599" cy="228600"/>
          </a:xfrm>
        </p:spPr>
        <p:txBody>
          <a:bodyPr rtlCol="0" anchor="ctr">
            <a:noAutofit/>
          </a:bodyPr>
          <a:lstStyle>
            <a:lvl1pPr marL="0" indent="0">
              <a:buNone/>
              <a:defRPr sz="1200"/>
            </a:lvl1pPr>
            <a:lvl2pPr marL="228594" indent="0">
              <a:buNone/>
              <a:defRPr sz="1200"/>
            </a:lvl2pPr>
            <a:lvl3pPr marL="457189" indent="0">
              <a:buNone/>
              <a:defRPr sz="1200"/>
            </a:lvl3pPr>
            <a:lvl4pPr marL="685783" indent="0">
              <a:buNone/>
              <a:defRPr sz="1200"/>
            </a:lvl4pPr>
            <a:lvl5pPr marL="914378" indent="0">
              <a:buNone/>
              <a:defRPr sz="1200"/>
            </a:lvl5pPr>
          </a:lstStyle>
          <a:p>
            <a:pPr lvl="0" rtl="0"/>
            <a:r>
              <a:rPr lang="ru"/>
              <a:t>Therapy Area</a:t>
            </a:r>
          </a:p>
        </p:txBody>
      </p:sp>
      <p:sp>
        <p:nvSpPr>
          <p:cNvPr id="52" name="TextBox 51">
            <a:extLst>
              <a:ext uri="{FF2B5EF4-FFF2-40B4-BE49-F238E27FC236}">
                <a16:creationId xmlns:a16="http://schemas.microsoft.com/office/drawing/2014/main" id="{7085AA13-451C-453D-AD0D-E8AF815127C2}"/>
              </a:ext>
            </a:extLst>
          </p:cNvPr>
          <p:cNvSpPr txBox="1"/>
          <p:nvPr userDrawn="1"/>
        </p:nvSpPr>
        <p:spPr>
          <a:xfrm>
            <a:off x="1127566" y="1036716"/>
            <a:ext cx="2044732" cy="365760"/>
          </a:xfrm>
          <a:prstGeom prst="rect">
            <a:avLst/>
          </a:prstGeom>
          <a:solidFill>
            <a:schemeClr val="accent1"/>
          </a:solidFill>
          <a:ln>
            <a:noFill/>
          </a:ln>
        </p:spPr>
        <p:txBody>
          <a:bodyPr wrap="none" rtlCol="0" anchor="ctr">
            <a:noAutofit/>
          </a:bodyPr>
          <a:lstStyle/>
          <a:p>
            <a:pPr marL="0" indent="0" algn="r" rtl="0">
              <a:buClr>
                <a:schemeClr val="accent1"/>
              </a:buClr>
              <a:buFont typeface="Arial" panose="020B0604020202020204" pitchFamily="34" charset="0"/>
              <a:buNone/>
            </a:pPr>
            <a:r>
              <a:rPr lang="ru" sz="1200" b="1">
                <a:solidFill>
                  <a:schemeClr val="bg1"/>
                </a:solidFill>
              </a:rPr>
              <a:t>Asset Title</a:t>
            </a:r>
          </a:p>
        </p:txBody>
      </p:sp>
      <p:sp>
        <p:nvSpPr>
          <p:cNvPr id="53" name="TextBox 52">
            <a:extLst>
              <a:ext uri="{FF2B5EF4-FFF2-40B4-BE49-F238E27FC236}">
                <a16:creationId xmlns:a16="http://schemas.microsoft.com/office/drawing/2014/main" id="{A88B6979-D240-45DF-8FFB-111611A15632}"/>
              </a:ext>
            </a:extLst>
          </p:cNvPr>
          <p:cNvSpPr txBox="1"/>
          <p:nvPr userDrawn="1"/>
        </p:nvSpPr>
        <p:spPr>
          <a:xfrm>
            <a:off x="6898734" y="3043065"/>
            <a:ext cx="1209963" cy="365760"/>
          </a:xfrm>
          <a:prstGeom prst="rect">
            <a:avLst/>
          </a:prstGeom>
          <a:solidFill>
            <a:schemeClr val="tx1">
              <a:lumMod val="65000"/>
              <a:lumOff val="35000"/>
            </a:schemeClr>
          </a:solidFill>
          <a:ln>
            <a:noFill/>
          </a:ln>
        </p:spPr>
        <p:txBody>
          <a:bodyPr wrap="none" rtlCol="0" anchor="ctr">
            <a:noAutofit/>
          </a:bodyPr>
          <a:lstStyle/>
          <a:p>
            <a:pPr marL="0" indent="0" algn="r" rtl="0">
              <a:buClr>
                <a:schemeClr val="accent1"/>
              </a:buClr>
              <a:buFont typeface="Arial" panose="020B0604020202020204" pitchFamily="34" charset="0"/>
              <a:buNone/>
            </a:pPr>
            <a:r>
              <a:rPr lang="ru" sz="1200" b="1">
                <a:solidFill>
                  <a:schemeClr val="bg1"/>
                </a:solidFill>
              </a:rPr>
              <a:t>Approval Date</a:t>
            </a:r>
          </a:p>
        </p:txBody>
      </p:sp>
      <p:sp>
        <p:nvSpPr>
          <p:cNvPr id="54" name="TextBox 53">
            <a:extLst>
              <a:ext uri="{FF2B5EF4-FFF2-40B4-BE49-F238E27FC236}">
                <a16:creationId xmlns:a16="http://schemas.microsoft.com/office/drawing/2014/main" id="{13F32247-E803-4B9D-8739-4086AE7EDFE5}"/>
              </a:ext>
            </a:extLst>
          </p:cNvPr>
          <p:cNvSpPr txBox="1"/>
          <p:nvPr userDrawn="1"/>
        </p:nvSpPr>
        <p:spPr>
          <a:xfrm>
            <a:off x="1127566" y="1423839"/>
            <a:ext cx="2044732" cy="365760"/>
          </a:xfrm>
          <a:prstGeom prst="rect">
            <a:avLst/>
          </a:prstGeom>
          <a:solidFill>
            <a:schemeClr val="accent1"/>
          </a:solidFill>
          <a:ln>
            <a:noFill/>
          </a:ln>
        </p:spPr>
        <p:txBody>
          <a:bodyPr wrap="none" rtlCol="0" anchor="ctr">
            <a:noAutofit/>
          </a:bodyPr>
          <a:lstStyle/>
          <a:p>
            <a:pPr marL="0" indent="0" algn="r" rtl="0">
              <a:buClr>
                <a:schemeClr val="accent1"/>
              </a:buClr>
              <a:buFont typeface="Arial" panose="020B0604020202020204" pitchFamily="34" charset="0"/>
              <a:buNone/>
            </a:pPr>
            <a:r>
              <a:rPr lang="ru" sz="1200" b="1">
                <a:solidFill>
                  <a:schemeClr val="bg1"/>
                </a:solidFill>
              </a:rPr>
              <a:t>Intended Use</a:t>
            </a:r>
          </a:p>
        </p:txBody>
      </p:sp>
      <p:sp>
        <p:nvSpPr>
          <p:cNvPr id="55" name="TextBox 54">
            <a:extLst>
              <a:ext uri="{FF2B5EF4-FFF2-40B4-BE49-F238E27FC236}">
                <a16:creationId xmlns:a16="http://schemas.microsoft.com/office/drawing/2014/main" id="{142B0649-53B3-4494-A56E-67DCF07E8290}"/>
              </a:ext>
            </a:extLst>
          </p:cNvPr>
          <p:cNvSpPr txBox="1"/>
          <p:nvPr userDrawn="1"/>
        </p:nvSpPr>
        <p:spPr>
          <a:xfrm>
            <a:off x="1127567" y="3438435"/>
            <a:ext cx="3976084" cy="365760"/>
          </a:xfrm>
          <a:prstGeom prst="rect">
            <a:avLst/>
          </a:prstGeom>
          <a:solidFill>
            <a:schemeClr val="tx1">
              <a:lumMod val="65000"/>
              <a:lumOff val="35000"/>
            </a:schemeClr>
          </a:solidFill>
          <a:ln>
            <a:noFill/>
          </a:ln>
        </p:spPr>
        <p:txBody>
          <a:bodyPr wrap="none" rtlCol="0" anchor="ctr">
            <a:noAutofit/>
          </a:bodyPr>
          <a:lstStyle/>
          <a:p>
            <a:pPr marL="0" indent="0" algn="r" rtl="0">
              <a:buClr>
                <a:schemeClr val="accent1"/>
              </a:buClr>
              <a:buFont typeface="Arial" panose="020B0604020202020204" pitchFamily="34" charset="0"/>
              <a:buNone/>
            </a:pPr>
            <a:r>
              <a:rPr lang="ru" sz="1200" b="1">
                <a:solidFill>
                  <a:schemeClr val="bg1"/>
                </a:solidFill>
              </a:rPr>
              <a:t>Copyright Permissions Obtained for Graphics</a:t>
            </a:r>
          </a:p>
        </p:txBody>
      </p:sp>
      <p:sp>
        <p:nvSpPr>
          <p:cNvPr id="66" name="TextBox 65">
            <a:extLst>
              <a:ext uri="{FF2B5EF4-FFF2-40B4-BE49-F238E27FC236}">
                <a16:creationId xmlns:a16="http://schemas.microsoft.com/office/drawing/2014/main" id="{67900F06-4765-44ED-A269-1CD58C5E952C}"/>
              </a:ext>
            </a:extLst>
          </p:cNvPr>
          <p:cNvSpPr txBox="1"/>
          <p:nvPr userDrawn="1"/>
        </p:nvSpPr>
        <p:spPr>
          <a:xfrm>
            <a:off x="8920974" y="3041260"/>
            <a:ext cx="1321330" cy="365760"/>
          </a:xfrm>
          <a:prstGeom prst="rect">
            <a:avLst/>
          </a:prstGeom>
          <a:solidFill>
            <a:schemeClr val="tx1">
              <a:lumMod val="65000"/>
              <a:lumOff val="35000"/>
            </a:schemeClr>
          </a:solidFill>
          <a:ln>
            <a:noFill/>
          </a:ln>
        </p:spPr>
        <p:txBody>
          <a:bodyPr wrap="none" rtlCol="0" anchor="ctr">
            <a:noAutofit/>
          </a:bodyPr>
          <a:lstStyle/>
          <a:p>
            <a:pPr marL="0" marR="0" lvl="0" indent="0" algn="r" defTabSz="914378"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ru" sz="1200" b="1">
                <a:solidFill>
                  <a:schemeClr val="bg1"/>
                </a:solidFill>
              </a:rPr>
              <a:t> Expiration Date</a:t>
            </a:r>
          </a:p>
        </p:txBody>
      </p:sp>
      <p:sp>
        <p:nvSpPr>
          <p:cNvPr id="69" name="TextBox 68">
            <a:extLst>
              <a:ext uri="{FF2B5EF4-FFF2-40B4-BE49-F238E27FC236}">
                <a16:creationId xmlns:a16="http://schemas.microsoft.com/office/drawing/2014/main" id="{621D8C32-5CB3-4252-B385-54C66A9E1EE6}"/>
              </a:ext>
            </a:extLst>
          </p:cNvPr>
          <p:cNvSpPr txBox="1"/>
          <p:nvPr userDrawn="1"/>
        </p:nvSpPr>
        <p:spPr>
          <a:xfrm>
            <a:off x="3" y="123146"/>
            <a:ext cx="12191998" cy="461665"/>
          </a:xfrm>
          <a:prstGeom prst="rect">
            <a:avLst/>
          </a:prstGeom>
          <a:solidFill>
            <a:schemeClr val="accent1"/>
          </a:solidFill>
          <a:ln>
            <a:noFill/>
          </a:ln>
        </p:spPr>
        <p:txBody>
          <a:bodyPr wrap="square" rtlCol="0" anchor="ctr">
            <a:spAutoFit/>
          </a:bodyPr>
          <a:lstStyle/>
          <a:p>
            <a:pPr marL="0" indent="0" algn="ctr" rtl="0">
              <a:buClr>
                <a:schemeClr val="accent1"/>
              </a:buClr>
              <a:buFont typeface="Arial" panose="020B0604020202020204" pitchFamily="34" charset="0"/>
              <a:buNone/>
            </a:pPr>
            <a:r>
              <a:rPr lang="ru" sz="2400" b="1">
                <a:solidFill>
                  <a:schemeClr val="bg1"/>
                </a:solidFill>
              </a:rPr>
              <a:t>Global Medical Asset Cover Sheet</a:t>
            </a:r>
          </a:p>
        </p:txBody>
      </p:sp>
      <p:sp>
        <p:nvSpPr>
          <p:cNvPr id="70" name="TextBox 69">
            <a:extLst>
              <a:ext uri="{FF2B5EF4-FFF2-40B4-BE49-F238E27FC236}">
                <a16:creationId xmlns:a16="http://schemas.microsoft.com/office/drawing/2014/main" id="{6811B402-BB33-4FBF-A25A-6A132332CC41}"/>
              </a:ext>
            </a:extLst>
          </p:cNvPr>
          <p:cNvSpPr txBox="1"/>
          <p:nvPr userDrawn="1"/>
        </p:nvSpPr>
        <p:spPr>
          <a:xfrm>
            <a:off x="1127567" y="4808725"/>
            <a:ext cx="2044731" cy="461665"/>
          </a:xfrm>
          <a:prstGeom prst="rect">
            <a:avLst/>
          </a:prstGeom>
          <a:solidFill>
            <a:schemeClr val="tx1">
              <a:lumMod val="65000"/>
              <a:lumOff val="35000"/>
            </a:schemeClr>
          </a:solidFill>
          <a:ln>
            <a:noFill/>
          </a:ln>
        </p:spPr>
        <p:txBody>
          <a:bodyPr wrap="none" rtlCol="0" anchor="ctr">
            <a:noAutofit/>
          </a:bodyPr>
          <a:lstStyle/>
          <a:p>
            <a:pPr marL="0" indent="0" algn="r" rtl="0">
              <a:buClr>
                <a:schemeClr val="accent1"/>
              </a:buClr>
              <a:buFont typeface="Arial" panose="020B0604020202020204" pitchFamily="34" charset="0"/>
              <a:buNone/>
            </a:pPr>
            <a:r>
              <a:rPr lang="ru" sz="1200" b="1">
                <a:solidFill>
                  <a:schemeClr val="bg1"/>
                </a:solidFill>
              </a:rPr>
              <a:t>Special Instructions</a:t>
            </a:r>
            <a:br>
              <a:rPr lang="en-US" sz="1200" b="1" dirty="0">
                <a:solidFill>
                  <a:schemeClr val="bg1"/>
                </a:solidFill>
              </a:rPr>
            </a:br>
            <a:r>
              <a:rPr lang="ru" sz="1200" b="1">
                <a:solidFill>
                  <a:schemeClr val="bg1"/>
                </a:solidFill>
              </a:rPr>
              <a:t>and/or Disclaimers</a:t>
            </a:r>
          </a:p>
        </p:txBody>
      </p:sp>
      <p:sp>
        <p:nvSpPr>
          <p:cNvPr id="71" name="TextBox 70">
            <a:extLst>
              <a:ext uri="{FF2B5EF4-FFF2-40B4-BE49-F238E27FC236}">
                <a16:creationId xmlns:a16="http://schemas.microsoft.com/office/drawing/2014/main" id="{A1A1B573-DC23-488B-93DB-AD4DD88A4651}"/>
              </a:ext>
            </a:extLst>
          </p:cNvPr>
          <p:cNvSpPr txBox="1"/>
          <p:nvPr userDrawn="1"/>
        </p:nvSpPr>
        <p:spPr>
          <a:xfrm>
            <a:off x="6898734" y="1810962"/>
            <a:ext cx="1209963" cy="365760"/>
          </a:xfrm>
          <a:prstGeom prst="rect">
            <a:avLst/>
          </a:prstGeom>
          <a:solidFill>
            <a:schemeClr val="accent1"/>
          </a:solidFill>
          <a:ln>
            <a:noFill/>
          </a:ln>
        </p:spPr>
        <p:txBody>
          <a:bodyPr wrap="none" rtlCol="0" anchor="ctr">
            <a:noAutofit/>
          </a:bodyPr>
          <a:lstStyle/>
          <a:p>
            <a:pPr marL="0" indent="0" algn="r" rtl="0">
              <a:buClr>
                <a:schemeClr val="accent1"/>
              </a:buClr>
              <a:buFont typeface="Arial" panose="020B0604020202020204" pitchFamily="34" charset="0"/>
              <a:buNone/>
            </a:pPr>
            <a:r>
              <a:rPr lang="ru" sz="1200" b="1">
                <a:solidFill>
                  <a:schemeClr val="bg1"/>
                </a:solidFill>
              </a:rPr>
              <a:t>Therapy Area</a:t>
            </a:r>
          </a:p>
        </p:txBody>
      </p:sp>
      <p:sp>
        <p:nvSpPr>
          <p:cNvPr id="72" name="TextBox 71">
            <a:extLst>
              <a:ext uri="{FF2B5EF4-FFF2-40B4-BE49-F238E27FC236}">
                <a16:creationId xmlns:a16="http://schemas.microsoft.com/office/drawing/2014/main" id="{A294A206-A31C-476D-ACCB-00ABD9DE8B78}"/>
              </a:ext>
            </a:extLst>
          </p:cNvPr>
          <p:cNvSpPr txBox="1"/>
          <p:nvPr userDrawn="1"/>
        </p:nvSpPr>
        <p:spPr>
          <a:xfrm>
            <a:off x="1127566" y="2677093"/>
            <a:ext cx="1633640" cy="365760"/>
          </a:xfrm>
          <a:prstGeom prst="rect">
            <a:avLst/>
          </a:prstGeom>
          <a:solidFill>
            <a:schemeClr val="tx1">
              <a:lumMod val="65000"/>
              <a:lumOff val="35000"/>
            </a:schemeClr>
          </a:solidFill>
          <a:ln>
            <a:noFill/>
          </a:ln>
        </p:spPr>
        <p:txBody>
          <a:bodyPr wrap="none" rtlCol="0" anchor="ctr">
            <a:noAutofit/>
          </a:bodyPr>
          <a:lstStyle/>
          <a:p>
            <a:pPr marL="0" indent="0" algn="r" rtl="0">
              <a:buClr>
                <a:schemeClr val="accent1"/>
              </a:buClr>
              <a:buFont typeface="Arial" panose="020B0604020202020204" pitchFamily="34" charset="0"/>
              <a:buNone/>
            </a:pPr>
            <a:r>
              <a:rPr lang="ru" sz="1200" b="1">
                <a:solidFill>
                  <a:schemeClr val="bg1"/>
                </a:solidFill>
              </a:rPr>
              <a:t>New Asset/Renewal</a:t>
            </a:r>
          </a:p>
        </p:txBody>
      </p:sp>
      <p:sp>
        <p:nvSpPr>
          <p:cNvPr id="73" name="TextBox 72">
            <a:extLst>
              <a:ext uri="{FF2B5EF4-FFF2-40B4-BE49-F238E27FC236}">
                <a16:creationId xmlns:a16="http://schemas.microsoft.com/office/drawing/2014/main" id="{759580AA-6B1E-4C65-9D3B-8A40CBD8E220}"/>
              </a:ext>
            </a:extLst>
          </p:cNvPr>
          <p:cNvSpPr txBox="1"/>
          <p:nvPr userDrawn="1"/>
        </p:nvSpPr>
        <p:spPr>
          <a:xfrm>
            <a:off x="5835586" y="2677093"/>
            <a:ext cx="1431636" cy="365760"/>
          </a:xfrm>
          <a:prstGeom prst="rect">
            <a:avLst/>
          </a:prstGeom>
          <a:solidFill>
            <a:schemeClr val="tx1">
              <a:lumMod val="65000"/>
              <a:lumOff val="35000"/>
            </a:schemeClr>
          </a:solidFill>
          <a:ln>
            <a:noFill/>
          </a:ln>
        </p:spPr>
        <p:txBody>
          <a:bodyPr wrap="none" rtlCol="0" anchor="ctr">
            <a:noAutofit/>
          </a:bodyPr>
          <a:lstStyle/>
          <a:p>
            <a:pPr marL="0" indent="0" algn="r" rtl="0">
              <a:buClr>
                <a:schemeClr val="accent1"/>
              </a:buClr>
              <a:buFont typeface="Arial" panose="020B0604020202020204" pitchFamily="34" charset="0"/>
              <a:buNone/>
            </a:pPr>
            <a:r>
              <a:rPr lang="ru" sz="1200" b="1">
                <a:solidFill>
                  <a:schemeClr val="bg1"/>
                </a:solidFill>
              </a:rPr>
              <a:t>Based On Asset</a:t>
            </a:r>
          </a:p>
        </p:txBody>
      </p:sp>
      <p:sp>
        <p:nvSpPr>
          <p:cNvPr id="74" name="TextBox 73">
            <a:extLst>
              <a:ext uri="{FF2B5EF4-FFF2-40B4-BE49-F238E27FC236}">
                <a16:creationId xmlns:a16="http://schemas.microsoft.com/office/drawing/2014/main" id="{00EE63BC-019F-46D2-85ED-E2FABA47A87D}"/>
              </a:ext>
            </a:extLst>
          </p:cNvPr>
          <p:cNvSpPr txBox="1"/>
          <p:nvPr userDrawn="1"/>
        </p:nvSpPr>
        <p:spPr>
          <a:xfrm>
            <a:off x="1127566" y="2282977"/>
            <a:ext cx="1633640" cy="365760"/>
          </a:xfrm>
          <a:prstGeom prst="rect">
            <a:avLst/>
          </a:prstGeom>
          <a:solidFill>
            <a:schemeClr val="tx1">
              <a:lumMod val="65000"/>
              <a:lumOff val="35000"/>
            </a:schemeClr>
          </a:solidFill>
          <a:ln>
            <a:noFill/>
          </a:ln>
        </p:spPr>
        <p:txBody>
          <a:bodyPr wrap="none" rtlCol="0" anchor="ctr">
            <a:noAutofit/>
          </a:bodyPr>
          <a:lstStyle/>
          <a:p>
            <a:pPr marL="0" indent="0" algn="r" rtl="0">
              <a:buClr>
                <a:schemeClr val="accent1"/>
              </a:buClr>
              <a:buFont typeface="Arial" panose="020B0604020202020204" pitchFamily="34" charset="0"/>
              <a:buNone/>
            </a:pPr>
            <a:r>
              <a:rPr lang="ru" sz="1200" b="1">
                <a:solidFill>
                  <a:schemeClr val="bg1"/>
                </a:solidFill>
              </a:rPr>
              <a:t>Asset Owner(s)</a:t>
            </a:r>
          </a:p>
        </p:txBody>
      </p:sp>
      <p:sp>
        <p:nvSpPr>
          <p:cNvPr id="78" name="TextBox 77">
            <a:extLst>
              <a:ext uri="{FF2B5EF4-FFF2-40B4-BE49-F238E27FC236}">
                <a16:creationId xmlns:a16="http://schemas.microsoft.com/office/drawing/2014/main" id="{D3001B95-73C8-4B7F-998E-B0AE7A43DE82}"/>
              </a:ext>
            </a:extLst>
          </p:cNvPr>
          <p:cNvSpPr txBox="1"/>
          <p:nvPr userDrawn="1"/>
        </p:nvSpPr>
        <p:spPr>
          <a:xfrm>
            <a:off x="1127566" y="1810962"/>
            <a:ext cx="2044732" cy="365760"/>
          </a:xfrm>
          <a:prstGeom prst="rect">
            <a:avLst/>
          </a:prstGeom>
          <a:solidFill>
            <a:schemeClr val="accent1"/>
          </a:solidFill>
          <a:ln>
            <a:noFill/>
          </a:ln>
        </p:spPr>
        <p:txBody>
          <a:bodyPr wrap="none" rtlCol="0" anchor="ctr">
            <a:noAutofit/>
          </a:bodyPr>
          <a:lstStyle/>
          <a:p>
            <a:pPr marL="0" indent="0" algn="r" rtl="0">
              <a:buClr>
                <a:schemeClr val="accent1"/>
              </a:buClr>
              <a:buFont typeface="Arial" panose="020B0604020202020204" pitchFamily="34" charset="0"/>
              <a:buNone/>
            </a:pPr>
            <a:r>
              <a:rPr lang="ru" sz="1200" b="1">
                <a:solidFill>
                  <a:schemeClr val="bg1"/>
                </a:solidFill>
              </a:rPr>
              <a:t>Approved for Distribution</a:t>
            </a:r>
          </a:p>
        </p:txBody>
      </p:sp>
      <p:sp>
        <p:nvSpPr>
          <p:cNvPr id="48" name="TextBox 47">
            <a:extLst>
              <a:ext uri="{FF2B5EF4-FFF2-40B4-BE49-F238E27FC236}">
                <a16:creationId xmlns:a16="http://schemas.microsoft.com/office/drawing/2014/main" id="{F0DE83F5-9900-4234-8A5B-4EFEB16F6D34}"/>
              </a:ext>
            </a:extLst>
          </p:cNvPr>
          <p:cNvSpPr txBox="1"/>
          <p:nvPr userDrawn="1"/>
        </p:nvSpPr>
        <p:spPr>
          <a:xfrm>
            <a:off x="5835586" y="2282977"/>
            <a:ext cx="1431636" cy="365760"/>
          </a:xfrm>
          <a:prstGeom prst="rect">
            <a:avLst/>
          </a:prstGeom>
          <a:solidFill>
            <a:schemeClr val="tx1">
              <a:lumMod val="65000"/>
              <a:lumOff val="35000"/>
            </a:schemeClr>
          </a:solidFill>
          <a:ln>
            <a:noFill/>
          </a:ln>
        </p:spPr>
        <p:txBody>
          <a:bodyPr wrap="none" rtlCol="0" anchor="ctr">
            <a:noAutofit/>
          </a:bodyPr>
          <a:lstStyle/>
          <a:p>
            <a:pPr marL="0" indent="0" algn="r" rtl="0">
              <a:buClr>
                <a:schemeClr val="accent1"/>
              </a:buClr>
              <a:buFont typeface="Arial" panose="020B0604020202020204" pitchFamily="34" charset="0"/>
              <a:buNone/>
            </a:pPr>
            <a:r>
              <a:rPr lang="ru" sz="1200" b="1">
                <a:solidFill>
                  <a:schemeClr val="bg1"/>
                </a:solidFill>
              </a:rPr>
              <a:t>Document #</a:t>
            </a:r>
          </a:p>
        </p:txBody>
      </p:sp>
      <p:sp>
        <p:nvSpPr>
          <p:cNvPr id="7" name="Text Placeholder 6">
            <a:extLst>
              <a:ext uri="{FF2B5EF4-FFF2-40B4-BE49-F238E27FC236}">
                <a16:creationId xmlns:a16="http://schemas.microsoft.com/office/drawing/2014/main" id="{C399C3AD-3A79-4CAB-8984-EE85DD84E0A2}"/>
              </a:ext>
            </a:extLst>
          </p:cNvPr>
          <p:cNvSpPr>
            <a:spLocks noGrp="1"/>
          </p:cNvSpPr>
          <p:nvPr>
            <p:ph type="body" sz="quarter" idx="35" hasCustomPrompt="1"/>
          </p:nvPr>
        </p:nvSpPr>
        <p:spPr>
          <a:xfrm>
            <a:off x="7267222" y="2354585"/>
            <a:ext cx="3792203" cy="238125"/>
          </a:xfrm>
        </p:spPr>
        <p:txBody>
          <a:bodyPr rtlCol="0">
            <a:noAutofit/>
          </a:bodyPr>
          <a:lstStyle>
            <a:lvl1pPr marL="0" indent="0">
              <a:buNone/>
              <a:defRPr sz="1200"/>
            </a:lvl1pPr>
            <a:lvl2pPr marL="228594" indent="0">
              <a:buNone/>
              <a:defRPr/>
            </a:lvl2pPr>
            <a:lvl3pPr marL="457189" indent="0">
              <a:buNone/>
              <a:defRPr/>
            </a:lvl3pPr>
            <a:lvl4pPr marL="685783" indent="0">
              <a:buNone/>
              <a:defRPr/>
            </a:lvl4pPr>
            <a:lvl5pPr marL="914378" indent="0">
              <a:buNone/>
              <a:defRPr/>
            </a:lvl5pPr>
          </a:lstStyle>
          <a:p>
            <a:pPr lvl="0" rtl="0"/>
            <a:r>
              <a:rPr lang="ru"/>
              <a:t>ML-XXXX-ALL-XXXX</a:t>
            </a:r>
          </a:p>
        </p:txBody>
      </p:sp>
      <p:sp>
        <p:nvSpPr>
          <p:cNvPr id="57" name="TextBox 56">
            <a:extLst>
              <a:ext uri="{FF2B5EF4-FFF2-40B4-BE49-F238E27FC236}">
                <a16:creationId xmlns:a16="http://schemas.microsoft.com/office/drawing/2014/main" id="{71FDDFED-CF51-4158-8A3B-DD9E176FC125}"/>
              </a:ext>
            </a:extLst>
          </p:cNvPr>
          <p:cNvSpPr txBox="1"/>
          <p:nvPr userDrawn="1"/>
        </p:nvSpPr>
        <p:spPr>
          <a:xfrm>
            <a:off x="1127569" y="3060427"/>
            <a:ext cx="3976084" cy="365760"/>
          </a:xfrm>
          <a:prstGeom prst="rect">
            <a:avLst/>
          </a:prstGeom>
          <a:solidFill>
            <a:schemeClr val="tx1">
              <a:lumMod val="65000"/>
              <a:lumOff val="35000"/>
            </a:schemeClr>
          </a:solidFill>
          <a:ln>
            <a:noFill/>
          </a:ln>
        </p:spPr>
        <p:txBody>
          <a:bodyPr wrap="none" rtlCol="0" anchor="ctr">
            <a:noAutofit/>
          </a:bodyPr>
          <a:lstStyle/>
          <a:p>
            <a:pPr marL="0" indent="0" algn="r" rtl="0">
              <a:buClr>
                <a:schemeClr val="accent1"/>
              </a:buClr>
              <a:buFont typeface="Arial" panose="020B0604020202020204" pitchFamily="34" charset="0"/>
              <a:buNone/>
            </a:pPr>
            <a:r>
              <a:rPr lang="ru" sz="1200" b="1">
                <a:solidFill>
                  <a:schemeClr val="bg1"/>
                </a:solidFill>
              </a:rPr>
              <a:t>Technical Review/Fact Check by Medical Information</a:t>
            </a:r>
          </a:p>
        </p:txBody>
      </p:sp>
      <p:sp>
        <p:nvSpPr>
          <p:cNvPr id="62" name="TextBox 61">
            <a:extLst>
              <a:ext uri="{FF2B5EF4-FFF2-40B4-BE49-F238E27FC236}">
                <a16:creationId xmlns:a16="http://schemas.microsoft.com/office/drawing/2014/main" id="{65509915-7361-4754-AA26-9EB5B15ABE0F}"/>
              </a:ext>
            </a:extLst>
          </p:cNvPr>
          <p:cNvSpPr txBox="1"/>
          <p:nvPr userDrawn="1"/>
        </p:nvSpPr>
        <p:spPr>
          <a:xfrm>
            <a:off x="1127568" y="4112135"/>
            <a:ext cx="9946009" cy="717459"/>
          </a:xfrm>
          <a:prstGeom prst="rect">
            <a:avLst/>
          </a:prstGeom>
          <a:solidFill>
            <a:schemeClr val="accent1"/>
          </a:solidFill>
          <a:ln>
            <a:noFill/>
          </a:ln>
        </p:spPr>
        <p:txBody>
          <a:bodyPr wrap="none" rtlCol="0" anchor="ctr">
            <a:noAutofit/>
          </a:bodyPr>
          <a:lstStyle/>
          <a:p>
            <a:pPr marL="0" indent="0" algn="ctr" rtl="0">
              <a:buClr>
                <a:schemeClr val="accent1"/>
              </a:buClr>
              <a:buFont typeface="Arial" panose="020B0604020202020204" pitchFamily="34" charset="0"/>
              <a:buNone/>
            </a:pPr>
            <a:r>
              <a:rPr lang="ru" sz="1200" b="1">
                <a:solidFill>
                  <a:schemeClr val="bg1"/>
                </a:solidFill>
              </a:rPr>
              <a:t>This material is globally approved for use by AstraZeneca Medical Personnel only. The local market is responsible for interpreting, </a:t>
            </a:r>
            <a:br>
              <a:rPr lang="en-US" sz="1200" b="1" dirty="0">
                <a:solidFill>
                  <a:schemeClr val="bg1"/>
                </a:solidFill>
              </a:rPr>
            </a:br>
            <a:r>
              <a:rPr lang="ru" sz="1200" b="1">
                <a:solidFill>
                  <a:schemeClr val="bg1"/>
                </a:solidFill>
              </a:rPr>
              <a:t>reviewing, and approving the content according to their local label, rules, and regulations.</a:t>
            </a:r>
          </a:p>
          <a:p>
            <a:pPr marL="0" indent="0" algn="ctr" rtl="0">
              <a:buClr>
                <a:schemeClr val="accent1"/>
              </a:buClr>
              <a:buFont typeface="Arial" panose="020B0604020202020204" pitchFamily="34" charset="0"/>
              <a:buNone/>
            </a:pPr>
            <a:r>
              <a:rPr lang="ru" sz="1200" b="1">
                <a:solidFill>
                  <a:schemeClr val="bg1"/>
                </a:solidFill>
              </a:rPr>
              <a:t>AstraZeneca does not, under any circumstances, promote its products for off-label or unapproved uses. </a:t>
            </a:r>
          </a:p>
        </p:txBody>
      </p:sp>
    </p:spTree>
    <p:extLst>
      <p:ext uri="{BB962C8B-B14F-4D97-AF65-F5344CB8AC3E}">
        <p14:creationId xmlns:p14="http://schemas.microsoft.com/office/powerpoint/2010/main" val="80893380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rtlCol="0"/>
          <a:lstStyle/>
          <a:p>
            <a:pPr rtl="0"/>
            <a:r>
              <a:rPr lang="en-US" dirty="0"/>
              <a:t>2/20/2023</a:t>
            </a:r>
          </a:p>
        </p:txBody>
      </p:sp>
      <p:sp>
        <p:nvSpPr>
          <p:cNvPr id="3" name="Footer Placeholder 2"/>
          <p:cNvSpPr>
            <a:spLocks noGrp="1"/>
          </p:cNvSpPr>
          <p:nvPr>
            <p:ph type="ftr" sz="quarter" idx="11"/>
          </p:nvPr>
        </p:nvSpPr>
        <p:spPr/>
        <p:txBody>
          <a:bodyPr rtlCol="0"/>
          <a:lstStyle/>
          <a:p>
            <a:pPr rtl="0"/>
            <a:endParaRPr lang="en-US" dirty="0"/>
          </a:p>
        </p:txBody>
      </p:sp>
      <p:sp>
        <p:nvSpPr>
          <p:cNvPr id="4" name="Slide Number Placeholder 3"/>
          <p:cNvSpPr>
            <a:spLocks noGrp="1"/>
          </p:cNvSpPr>
          <p:nvPr>
            <p:ph type="sldNum" sz="quarter" idx="12"/>
          </p:nvPr>
        </p:nvSpPr>
        <p:spPr/>
        <p:txBody>
          <a:bodyPr rtlCol="0"/>
          <a:lstStyle/>
          <a:p>
            <a:pPr rtl="0"/>
            <a:fld id="{CC7432E5-F8E0-41AE-9A6B-AD730338B005}" type="slidenum">
              <a:rPr lang="en-US" smtClean="0"/>
              <a:pPr/>
              <a:t>‹#›</a:t>
            </a:fld>
            <a:endParaRPr lang="en-US" dirty="0"/>
          </a:p>
        </p:txBody>
      </p:sp>
      <p:sp>
        <p:nvSpPr>
          <p:cNvPr id="6" name="Text Placeholder 5"/>
          <p:cNvSpPr>
            <a:spLocks noGrp="1"/>
          </p:cNvSpPr>
          <p:nvPr>
            <p:ph type="body" sz="quarter" idx="13" hasCustomPrompt="1"/>
          </p:nvPr>
        </p:nvSpPr>
        <p:spPr>
          <a:xfrm>
            <a:off x="486229" y="5852160"/>
            <a:ext cx="10058398" cy="1005840"/>
          </a:xfrm>
        </p:spPr>
        <p:txBody>
          <a:bodyPr rtlCol="0" anchor="b">
            <a:noAutofit/>
          </a:bodyPr>
          <a:lstStyle>
            <a:lvl1pPr marL="0" indent="0">
              <a:spcBef>
                <a:spcPts val="300"/>
              </a:spcBef>
              <a:buNone/>
              <a:defRPr sz="1000"/>
            </a:lvl1pPr>
            <a:lvl2pPr marL="228594" indent="0">
              <a:spcBef>
                <a:spcPts val="300"/>
              </a:spcBef>
              <a:buNone/>
              <a:defRPr sz="1000"/>
            </a:lvl2pPr>
            <a:lvl3pPr marL="457189" indent="0">
              <a:spcBef>
                <a:spcPts val="300"/>
              </a:spcBef>
              <a:buNone/>
              <a:defRPr sz="1000"/>
            </a:lvl3pPr>
            <a:lvl4pPr marL="685783" indent="0">
              <a:spcBef>
                <a:spcPts val="300"/>
              </a:spcBef>
              <a:buNone/>
              <a:defRPr sz="1000"/>
            </a:lvl4pPr>
            <a:lvl5pPr marL="914378" indent="0">
              <a:spcBef>
                <a:spcPts val="300"/>
              </a:spcBef>
              <a:buNone/>
              <a:defRPr sz="1000"/>
            </a:lvl5pPr>
          </a:lstStyle>
          <a:p>
            <a:pPr lvl="0" rtl="0"/>
            <a:r>
              <a:rPr lang="ru"/>
              <a:t>Reference(s)</a:t>
            </a:r>
          </a:p>
        </p:txBody>
      </p:sp>
      <p:sp>
        <p:nvSpPr>
          <p:cNvPr id="7" name="Rectangle 6"/>
          <p:cNvSpPr/>
          <p:nvPr userDrawn="1"/>
        </p:nvSpPr>
        <p:spPr>
          <a:xfrm>
            <a:off x="193500" y="1028701"/>
            <a:ext cx="11998500" cy="250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dirty="0"/>
          </a:p>
        </p:txBody>
      </p:sp>
    </p:spTree>
    <p:extLst>
      <p:ext uri="{BB962C8B-B14F-4D97-AF65-F5344CB8AC3E}">
        <p14:creationId xmlns:p14="http://schemas.microsoft.com/office/powerpoint/2010/main" val="181176438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Slide_Horizontal_Lake">
    <p:spTree>
      <p:nvGrpSpPr>
        <p:cNvPr id="1" name=""/>
        <p:cNvGrpSpPr/>
        <p:nvPr/>
      </p:nvGrpSpPr>
      <p:grpSpPr>
        <a:xfrm>
          <a:off x="0" y="0"/>
          <a:ext cx="0" cy="0"/>
          <a:chOff x="0" y="0"/>
          <a:chExt cx="0" cy="0"/>
        </a:xfrm>
      </p:grpSpPr>
      <p:sp>
        <p:nvSpPr>
          <p:cNvPr id="2" name="Base Rule">
            <a:extLst>
              <a:ext uri="{FF2B5EF4-FFF2-40B4-BE49-F238E27FC236}">
                <a16:creationId xmlns:a16="http://schemas.microsoft.com/office/drawing/2014/main" id="{07552B9C-8FA5-CDCC-787C-5D086A590089}"/>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pic>
        <p:nvPicPr>
          <p:cNvPr id="5" name="Lynparza Logo">
            <a:extLst>
              <a:ext uri="{FF2B5EF4-FFF2-40B4-BE49-F238E27FC236}">
                <a16:creationId xmlns:a16="http://schemas.microsoft.com/office/drawing/2014/main" id="{3DC65D7F-3087-B998-F962-2CF930FA86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4268" y="6228811"/>
            <a:ext cx="1100915" cy="622100"/>
          </a:xfrm>
          <a:prstGeom prst="rect">
            <a:avLst/>
          </a:prstGeom>
        </p:spPr>
      </p:pic>
      <p:sp>
        <p:nvSpPr>
          <p:cNvPr id="13" name="Title">
            <a:extLst>
              <a:ext uri="{FF2B5EF4-FFF2-40B4-BE49-F238E27FC236}">
                <a16:creationId xmlns:a16="http://schemas.microsoft.com/office/drawing/2014/main" id="{A4574B05-5144-B546-A4AB-7CC02E9E3B82}"/>
              </a:ext>
            </a:extLst>
          </p:cNvPr>
          <p:cNvSpPr>
            <a:spLocks noGrp="1"/>
          </p:cNvSpPr>
          <p:nvPr>
            <p:ph type="body" sz="quarter" idx="10" hasCustomPrompt="1"/>
          </p:nvPr>
        </p:nvSpPr>
        <p:spPr>
          <a:xfrm>
            <a:off x="838800" y="4006800"/>
            <a:ext cx="9986400" cy="1170000"/>
          </a:xfrm>
          <a:prstGeom prst="rect">
            <a:avLst/>
          </a:prstGeom>
        </p:spPr>
        <p:txBody>
          <a:bodyPr lIns="0" tIns="46800" rIns="90000" bIns="0" anchor="b">
            <a:normAutofit/>
          </a:bodyPr>
          <a:lstStyle>
            <a:lvl1pPr marL="0" indent="0">
              <a:buNone/>
              <a:defRPr sz="5000" b="1">
                <a:solidFill>
                  <a:srgbClr val="004D74"/>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Title slide</a:t>
            </a:r>
          </a:p>
        </p:txBody>
      </p:sp>
      <p:sp>
        <p:nvSpPr>
          <p:cNvPr id="17" name="Sub Head">
            <a:extLst>
              <a:ext uri="{FF2B5EF4-FFF2-40B4-BE49-F238E27FC236}">
                <a16:creationId xmlns:a16="http://schemas.microsoft.com/office/drawing/2014/main" id="{E929C0DC-BA67-5842-B3EC-0803BA6903D2}"/>
              </a:ext>
            </a:extLst>
          </p:cNvPr>
          <p:cNvSpPr>
            <a:spLocks noGrp="1"/>
          </p:cNvSpPr>
          <p:nvPr>
            <p:ph type="body" sz="quarter" idx="11" hasCustomPrompt="1"/>
          </p:nvPr>
        </p:nvSpPr>
        <p:spPr>
          <a:xfrm>
            <a:off x="838800" y="5234400"/>
            <a:ext cx="9986400" cy="781200"/>
          </a:xfrm>
          <a:prstGeom prst="rect">
            <a:avLst/>
          </a:prstGeom>
        </p:spPr>
        <p:txBody>
          <a:bodyPr lIns="0" tIns="46800" rIns="90000" bIns="0">
            <a:normAutofit/>
          </a:bodyPr>
          <a:lstStyle>
            <a:lvl1pPr marL="0" indent="0">
              <a:buNone/>
              <a:defRPr sz="2300" i="1">
                <a:solidFill>
                  <a:srgbClr val="004D74"/>
                </a:solidFill>
              </a:defRPr>
            </a:lvl1pPr>
          </a:lstStyle>
          <a:p>
            <a:pPr lvl="0"/>
            <a:r>
              <a:rPr lang="en-US" dirty="0"/>
              <a:t>SUB HEADER</a:t>
            </a:r>
          </a:p>
        </p:txBody>
      </p:sp>
      <p:pic>
        <p:nvPicPr>
          <p:cNvPr id="12" name="Picture 11" descr="A person folding his arms&#10;&#10;Description automatically generated with medium confidence">
            <a:extLst>
              <a:ext uri="{FF2B5EF4-FFF2-40B4-BE49-F238E27FC236}">
                <a16:creationId xmlns:a16="http://schemas.microsoft.com/office/drawing/2014/main" id="{A00DFBD7-963A-BE55-3E8A-B33BC2716533}"/>
              </a:ext>
            </a:extLst>
          </p:cNvPr>
          <p:cNvPicPr>
            <a:picLocks noChangeAspect="1"/>
          </p:cNvPicPr>
          <p:nvPr userDrawn="1"/>
        </p:nvPicPr>
        <p:blipFill rotWithShape="1">
          <a:blip r:embed="rId3"/>
          <a:srcRect b="43359"/>
          <a:stretch/>
        </p:blipFill>
        <p:spPr>
          <a:xfrm>
            <a:off x="0" y="0"/>
            <a:ext cx="12192000" cy="3884399"/>
          </a:xfrm>
          <a:prstGeom prst="rect">
            <a:avLst/>
          </a:prstGeom>
        </p:spPr>
      </p:pic>
      <p:pic>
        <p:nvPicPr>
          <p:cNvPr id="4" name="AZ Logo">
            <a:extLst>
              <a:ext uri="{FF2B5EF4-FFF2-40B4-BE49-F238E27FC236}">
                <a16:creationId xmlns:a16="http://schemas.microsoft.com/office/drawing/2014/main" id="{D92B5D11-A1CA-8BBE-29AC-8727ED415B4A}"/>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13781" y="6218640"/>
            <a:ext cx="1147048" cy="275941"/>
          </a:xfrm>
          <a:prstGeom prst="rect">
            <a:avLst/>
          </a:prstGeom>
        </p:spPr>
      </p:pic>
      <p:pic>
        <p:nvPicPr>
          <p:cNvPr id="6" name="MSD Logo">
            <a:extLst>
              <a:ext uri="{FF2B5EF4-FFF2-40B4-BE49-F238E27FC236}">
                <a16:creationId xmlns:a16="http://schemas.microsoft.com/office/drawing/2014/main" id="{9A6E59F9-C142-0BFD-5AA4-1AF7BE74D98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221791" y="6307032"/>
            <a:ext cx="668100" cy="244800"/>
          </a:xfrm>
          <a:prstGeom prst="rect">
            <a:avLst/>
          </a:prstGeom>
        </p:spPr>
      </p:pic>
      <p:sp>
        <p:nvSpPr>
          <p:cNvPr id="7" name="Copy">
            <a:extLst>
              <a:ext uri="{FF2B5EF4-FFF2-40B4-BE49-F238E27FC236}">
                <a16:creationId xmlns:a16="http://schemas.microsoft.com/office/drawing/2014/main" id="{04627E03-9C06-3153-A93B-E591BDD9F9F7}"/>
              </a:ext>
            </a:extLst>
          </p:cNvPr>
          <p:cNvSpPr/>
          <p:nvPr userDrawn="1"/>
        </p:nvSpPr>
        <p:spPr>
          <a:xfrm>
            <a:off x="3769070" y="6340693"/>
            <a:ext cx="6277455" cy="153888"/>
          </a:xfrm>
          <a:prstGeom prst="rect">
            <a:avLst/>
          </a:prstGeom>
        </p:spPr>
        <p:txBody>
          <a:bodyPr wrap="square" lIns="0" bIns="0" anchor="b" anchorCtr="0">
            <a:spAutoFit/>
          </a:bodyPr>
          <a:lstStyle/>
          <a:p>
            <a:r>
              <a:rPr lang="en-GB" sz="700" dirty="0">
                <a:solidFill>
                  <a:schemeClr val="tx2"/>
                </a:solidFill>
                <a:effectLst/>
                <a:latin typeface="Arial" panose="020B0604020202020204" pitchFamily="34" charset="0"/>
                <a:cs typeface="Arial" panose="020B0604020202020204" pitchFamily="34" charset="0"/>
              </a:rPr>
              <a:t>Proprietary and Confidential ©AstraZeneca 2022 • FOR INTERNAL USE ONLY. This document is not to be shared or distributed outside of AstraZeneca.</a:t>
            </a:r>
            <a:endParaRPr lang="en-US" sz="700" dirty="0">
              <a:solidFill>
                <a:schemeClr val="tx2"/>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18871177"/>
      </p:ext>
    </p:extLst>
  </p:cSld>
  <p:clrMapOvr>
    <a:masterClrMapping/>
  </p:clrMapOvr>
  <p:extLst>
    <p:ext uri="{DCECCB84-F9BA-43D5-87BE-67443E8EF086}">
      <p15:sldGuideLst xmlns:p15="http://schemas.microsoft.com/office/powerpoint/2012/main">
        <p15:guide id="1" pos="696" userDrawn="1">
          <p15:clr>
            <a:srgbClr val="FBAE40"/>
          </p15:clr>
        </p15:guide>
        <p15:guide id="2" pos="3188"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3" y="6180269"/>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6" y="1057822"/>
            <a:ext cx="10642588" cy="701273"/>
          </a:xfrm>
          <a:prstGeom prst="rect">
            <a:avLst/>
          </a:prstGeom>
          <a:noFill/>
          <a:ln>
            <a:noFill/>
          </a:ln>
        </p:spPr>
        <p:txBody>
          <a:bodyPr anchor="t">
            <a:noAutofit/>
          </a:bodyPr>
          <a:lstStyle>
            <a:lvl1pPr marL="0" indent="0">
              <a:lnSpc>
                <a:spcPct val="100000"/>
              </a:lnSpc>
              <a:buNone/>
              <a:defRPr sz="1867" b="0" i="1" baseline="0">
                <a:solidFill>
                  <a:schemeClr val="accent4"/>
                </a:solidFill>
                <a:latin typeface="Arial" pitchFamily="34" charset="0"/>
                <a:cs typeface="Arial" pitchFamily="34" charset="0"/>
              </a:defRPr>
            </a:lvl1pPr>
            <a:lvl2pPr>
              <a:buNone/>
              <a:defRPr/>
            </a:lvl2pPr>
          </a:lstStyle>
          <a:p>
            <a:pPr lvl="0"/>
            <a:r>
              <a:rPr lang="en-GB" dirty="0"/>
              <a:t>Click to edit Master text styles</a:t>
            </a:r>
          </a:p>
        </p:txBody>
      </p:sp>
      <p:sp>
        <p:nvSpPr>
          <p:cNvPr id="9" name="Content Placeholder 8"/>
          <p:cNvSpPr>
            <a:spLocks noGrp="1"/>
          </p:cNvSpPr>
          <p:nvPr>
            <p:ph sz="quarter" idx="13" hasCustomPrompt="1"/>
          </p:nvPr>
        </p:nvSpPr>
        <p:spPr>
          <a:xfrm>
            <a:off x="430604" y="1686984"/>
            <a:ext cx="10443633" cy="4451349"/>
          </a:xfrm>
        </p:spPr>
        <p:txBody>
          <a:bodyPr>
            <a:normAutofit/>
          </a:bodyPr>
          <a:lstStyle>
            <a:lvl1pPr>
              <a:spcAft>
                <a:spcPts val="400"/>
              </a:spcAft>
              <a:defRPr sz="2133" b="0">
                <a:solidFill>
                  <a:srgbClr val="4B306A"/>
                </a:solidFill>
              </a:defRPr>
            </a:lvl1pPr>
            <a:lvl2pPr marL="241289" indent="-239173">
              <a:lnSpc>
                <a:spcPct val="100000"/>
              </a:lnSpc>
              <a:spcAft>
                <a:spcPts val="400"/>
              </a:spcAft>
              <a:defRPr sz="2133" b="0">
                <a:solidFill>
                  <a:schemeClr val="tx1"/>
                </a:solidFill>
              </a:defRPr>
            </a:lvl2pPr>
            <a:lvl3pPr marL="666718" indent="-188374">
              <a:lnSpc>
                <a:spcPct val="100000"/>
              </a:lnSpc>
              <a:spcAft>
                <a:spcPts val="400"/>
              </a:spcAft>
              <a:buSzPct val="80000"/>
              <a:buFont typeface="Arial" panose="020B0604020202020204" pitchFamily="34" charset="0"/>
              <a:buChar char="–"/>
              <a:defRPr sz="1600">
                <a:solidFill>
                  <a:schemeClr val="tx1"/>
                </a:solidFill>
              </a:defRPr>
            </a:lvl3pPr>
            <a:lvl4pPr>
              <a:lnSpc>
                <a:spcPct val="100000"/>
              </a:lnSpc>
              <a:spcAft>
                <a:spcPts val="400"/>
              </a:spcAft>
              <a:defRPr sz="1467">
                <a:solidFill>
                  <a:schemeClr val="tx1"/>
                </a:solidFill>
              </a:defRPr>
            </a:lvl4pPr>
            <a:lvl5pPr>
              <a:lnSpc>
                <a:spcPct val="100000"/>
              </a:lnSpc>
              <a:defRPr/>
            </a:lvl5pPr>
          </a:lstStyle>
          <a:p>
            <a:pPr lvl="1"/>
            <a:r>
              <a:rPr lang="en-GB" dirty="0"/>
              <a:t>Second level</a:t>
            </a:r>
          </a:p>
          <a:p>
            <a:pPr lvl="2"/>
            <a:r>
              <a:rPr lang="en-GB" dirty="0"/>
              <a:t>Third level</a:t>
            </a:r>
          </a:p>
          <a:p>
            <a:pPr lvl="3"/>
            <a:r>
              <a:rPr lang="en-GB" dirty="0"/>
              <a:t>Fourth level</a:t>
            </a:r>
          </a:p>
        </p:txBody>
      </p:sp>
      <p:sp>
        <p:nvSpPr>
          <p:cNvPr id="3" name="Footer Placeholder 2">
            <a:extLst>
              <a:ext uri="{FF2B5EF4-FFF2-40B4-BE49-F238E27FC236}">
                <a16:creationId xmlns:a16="http://schemas.microsoft.com/office/drawing/2014/main" id="{8685FB5B-7D97-A948-AA3E-72F94D943D6F}"/>
              </a:ext>
            </a:extLst>
          </p:cNvPr>
          <p:cNvSpPr>
            <a:spLocks noGrp="1"/>
          </p:cNvSpPr>
          <p:nvPr>
            <p:ph type="ftr" sz="quarter" idx="14"/>
          </p:nvPr>
        </p:nvSpPr>
        <p:spPr/>
        <p:txBody>
          <a:bodyPr/>
          <a:lstStyle/>
          <a:p>
            <a:endParaRPr lang="en-US"/>
          </a:p>
        </p:txBody>
      </p:sp>
      <p:sp>
        <p:nvSpPr>
          <p:cNvPr id="4" name="Title 3">
            <a:extLst>
              <a:ext uri="{FF2B5EF4-FFF2-40B4-BE49-F238E27FC236}">
                <a16:creationId xmlns:a16="http://schemas.microsoft.com/office/drawing/2014/main" id="{02C35E29-91C1-2849-8161-ED515F2CC565}"/>
              </a:ext>
            </a:extLst>
          </p:cNvPr>
          <p:cNvSpPr>
            <a:spLocks noGrp="1"/>
          </p:cNvSpPr>
          <p:nvPr>
            <p:ph type="title"/>
          </p:nvPr>
        </p:nvSpPr>
        <p:spPr/>
        <p:txBody>
          <a:bodyPr/>
          <a:lstStyle/>
          <a:p>
            <a:r>
              <a:rPr lang="en-US"/>
              <a:t>Click to edit Master title style</a:t>
            </a:r>
            <a:endParaRPr lang="en-GB"/>
          </a:p>
        </p:txBody>
      </p:sp>
      <p:sp>
        <p:nvSpPr>
          <p:cNvPr id="10" name="Slide Number Placeholder 4">
            <a:extLst>
              <a:ext uri="{FF2B5EF4-FFF2-40B4-BE49-F238E27FC236}">
                <a16:creationId xmlns:a16="http://schemas.microsoft.com/office/drawing/2014/main" id="{3FA443FF-3B28-3843-A944-F347B25657B5}"/>
              </a:ext>
            </a:extLst>
          </p:cNvPr>
          <p:cNvSpPr>
            <a:spLocks noGrp="1"/>
          </p:cNvSpPr>
          <p:nvPr>
            <p:ph type="sldNum" sz="quarter" idx="4"/>
          </p:nvPr>
        </p:nvSpPr>
        <p:spPr>
          <a:xfrm>
            <a:off x="11350643" y="6491819"/>
            <a:ext cx="84135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dirty="0"/>
          </a:p>
        </p:txBody>
      </p:sp>
    </p:spTree>
    <p:extLst>
      <p:ext uri="{BB962C8B-B14F-4D97-AF65-F5344CB8AC3E}">
        <p14:creationId xmlns:p14="http://schemas.microsoft.com/office/powerpoint/2010/main" val="103871246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3" y="6180269"/>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6" y="1057822"/>
            <a:ext cx="10642588" cy="701273"/>
          </a:xfrm>
          <a:prstGeom prst="rect">
            <a:avLst/>
          </a:prstGeom>
          <a:noFill/>
          <a:ln>
            <a:noFill/>
          </a:ln>
        </p:spPr>
        <p:txBody>
          <a:bodyPr anchor="t">
            <a:noAutofit/>
          </a:bodyPr>
          <a:lstStyle>
            <a:lvl1pPr marL="0" indent="0">
              <a:lnSpc>
                <a:spcPct val="100000"/>
              </a:lnSpc>
              <a:buNone/>
              <a:defRPr sz="1867" b="0" i="1" baseline="0">
                <a:solidFill>
                  <a:schemeClr val="accent4"/>
                </a:solidFill>
                <a:latin typeface="Arial" pitchFamily="34" charset="0"/>
                <a:cs typeface="Arial" pitchFamily="34" charset="0"/>
              </a:defRPr>
            </a:lvl1pPr>
            <a:lvl2pPr>
              <a:buNone/>
              <a:defRPr/>
            </a:lvl2pPr>
          </a:lstStyle>
          <a:p>
            <a:pPr lvl="0"/>
            <a:r>
              <a:rPr lang="en-GB" dirty="0"/>
              <a:t>Click to edit Master text styles</a:t>
            </a:r>
          </a:p>
        </p:txBody>
      </p:sp>
      <p:sp>
        <p:nvSpPr>
          <p:cNvPr id="3" name="Footer Placeholder 2">
            <a:extLst>
              <a:ext uri="{FF2B5EF4-FFF2-40B4-BE49-F238E27FC236}">
                <a16:creationId xmlns:a16="http://schemas.microsoft.com/office/drawing/2014/main" id="{34546FE2-B976-0F48-B4F1-FA6620476CC8}"/>
              </a:ext>
            </a:extLst>
          </p:cNvPr>
          <p:cNvSpPr>
            <a:spLocks noGrp="1"/>
          </p:cNvSpPr>
          <p:nvPr>
            <p:ph type="ftr" sz="quarter" idx="13"/>
          </p:nvPr>
        </p:nvSpPr>
        <p:spPr/>
        <p:txBody>
          <a:bodyPr/>
          <a:lstStyle/>
          <a:p>
            <a:endParaRPr lang="en-US"/>
          </a:p>
        </p:txBody>
      </p:sp>
      <p:sp>
        <p:nvSpPr>
          <p:cNvPr id="4" name="Title 3">
            <a:extLst>
              <a:ext uri="{FF2B5EF4-FFF2-40B4-BE49-F238E27FC236}">
                <a16:creationId xmlns:a16="http://schemas.microsoft.com/office/drawing/2014/main" id="{4E5F2D5F-6B61-264E-930C-39CD0E96BBD8}"/>
              </a:ext>
            </a:extLst>
          </p:cNvPr>
          <p:cNvSpPr>
            <a:spLocks noGrp="1"/>
          </p:cNvSpPr>
          <p:nvPr>
            <p:ph type="title"/>
          </p:nvPr>
        </p:nvSpPr>
        <p:spPr/>
        <p:txBody>
          <a:bodyPr/>
          <a:lstStyle/>
          <a:p>
            <a:r>
              <a:rPr lang="en-US"/>
              <a:t>Click to edit Master title style</a:t>
            </a:r>
            <a:endParaRPr lang="en-GB"/>
          </a:p>
        </p:txBody>
      </p:sp>
      <p:sp>
        <p:nvSpPr>
          <p:cNvPr id="8" name="Slide Number Placeholder 4">
            <a:extLst>
              <a:ext uri="{FF2B5EF4-FFF2-40B4-BE49-F238E27FC236}">
                <a16:creationId xmlns:a16="http://schemas.microsoft.com/office/drawing/2014/main" id="{5B07A33B-02D0-B640-AEFE-63404D23273B}"/>
              </a:ext>
            </a:extLst>
          </p:cNvPr>
          <p:cNvSpPr>
            <a:spLocks noGrp="1"/>
          </p:cNvSpPr>
          <p:nvPr>
            <p:ph type="sldNum" sz="quarter" idx="4"/>
          </p:nvPr>
        </p:nvSpPr>
        <p:spPr>
          <a:xfrm>
            <a:off x="11350643" y="6491819"/>
            <a:ext cx="84135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dirty="0"/>
          </a:p>
        </p:txBody>
      </p:sp>
    </p:spTree>
    <p:extLst>
      <p:ext uri="{BB962C8B-B14F-4D97-AF65-F5344CB8AC3E}">
        <p14:creationId xmlns:p14="http://schemas.microsoft.com/office/powerpoint/2010/main" val="29099735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3" y="6180269"/>
            <a:ext cx="385755" cy="462289"/>
          </a:xfrm>
          <a:prstGeom prst="rect">
            <a:avLst/>
          </a:prstGeom>
          <a:noFill/>
          <a:ln w="9525">
            <a:noFill/>
            <a:miter lim="800000"/>
            <a:headEnd/>
            <a:tailEnd/>
          </a:ln>
        </p:spPr>
      </p:pic>
      <p:sp>
        <p:nvSpPr>
          <p:cNvPr id="9" name="Content Placeholder 8"/>
          <p:cNvSpPr>
            <a:spLocks noGrp="1"/>
          </p:cNvSpPr>
          <p:nvPr>
            <p:ph sz="quarter" idx="13" hasCustomPrompt="1"/>
          </p:nvPr>
        </p:nvSpPr>
        <p:spPr>
          <a:xfrm>
            <a:off x="430604" y="1185333"/>
            <a:ext cx="10443633" cy="4953000"/>
          </a:xfrm>
        </p:spPr>
        <p:txBody>
          <a:bodyPr>
            <a:normAutofit/>
          </a:bodyPr>
          <a:lstStyle>
            <a:lvl1pPr>
              <a:spcAft>
                <a:spcPts val="400"/>
              </a:spcAft>
              <a:defRPr sz="2133" b="0">
                <a:solidFill>
                  <a:srgbClr val="4B306A"/>
                </a:solidFill>
              </a:defRPr>
            </a:lvl1pPr>
            <a:lvl2pPr marL="241289" indent="-239173">
              <a:lnSpc>
                <a:spcPct val="100000"/>
              </a:lnSpc>
              <a:spcAft>
                <a:spcPts val="400"/>
              </a:spcAft>
              <a:defRPr sz="2133" b="0">
                <a:solidFill>
                  <a:schemeClr val="tx1"/>
                </a:solidFill>
              </a:defRPr>
            </a:lvl2pPr>
            <a:lvl3pPr marL="666718" indent="-188374">
              <a:lnSpc>
                <a:spcPct val="100000"/>
              </a:lnSpc>
              <a:spcAft>
                <a:spcPts val="400"/>
              </a:spcAft>
              <a:buSzPct val="80000"/>
              <a:buFont typeface="Arial" panose="020B0604020202020204" pitchFamily="34" charset="0"/>
              <a:buChar char="–"/>
              <a:defRPr sz="1600">
                <a:solidFill>
                  <a:schemeClr val="tx1"/>
                </a:solidFill>
              </a:defRPr>
            </a:lvl3pPr>
            <a:lvl4pPr>
              <a:lnSpc>
                <a:spcPct val="100000"/>
              </a:lnSpc>
              <a:spcAft>
                <a:spcPts val="400"/>
              </a:spcAft>
              <a:defRPr sz="1467">
                <a:solidFill>
                  <a:schemeClr val="tx1"/>
                </a:solidFill>
              </a:defRPr>
            </a:lvl4pPr>
            <a:lvl5pPr>
              <a:lnSpc>
                <a:spcPct val="100000"/>
              </a:lnSpc>
              <a:defRPr/>
            </a:lvl5pPr>
          </a:lstStyle>
          <a:p>
            <a:pPr lvl="1"/>
            <a:r>
              <a:rPr lang="en-GB" dirty="0"/>
              <a:t>Second level</a:t>
            </a:r>
          </a:p>
          <a:p>
            <a:pPr lvl="2"/>
            <a:r>
              <a:rPr lang="en-GB" dirty="0"/>
              <a:t>Third level</a:t>
            </a:r>
          </a:p>
          <a:p>
            <a:pPr lvl="3"/>
            <a:r>
              <a:rPr lang="en-GB" dirty="0"/>
              <a:t>Fourth level</a:t>
            </a:r>
          </a:p>
        </p:txBody>
      </p:sp>
      <p:sp>
        <p:nvSpPr>
          <p:cNvPr id="3" name="Footer Placeholder 2">
            <a:extLst>
              <a:ext uri="{FF2B5EF4-FFF2-40B4-BE49-F238E27FC236}">
                <a16:creationId xmlns:a16="http://schemas.microsoft.com/office/drawing/2014/main" id="{C9FFE4D6-FF34-9F43-86F9-B1C8D71B0D36}"/>
              </a:ext>
            </a:extLst>
          </p:cNvPr>
          <p:cNvSpPr>
            <a:spLocks noGrp="1"/>
          </p:cNvSpPr>
          <p:nvPr>
            <p:ph type="ftr" sz="quarter" idx="14"/>
          </p:nvPr>
        </p:nvSpPr>
        <p:spPr/>
        <p:txBody>
          <a:bodyPr/>
          <a:lstStyle/>
          <a:p>
            <a:endParaRPr lang="en-US"/>
          </a:p>
        </p:txBody>
      </p:sp>
      <p:sp>
        <p:nvSpPr>
          <p:cNvPr id="4" name="Title 3">
            <a:extLst>
              <a:ext uri="{FF2B5EF4-FFF2-40B4-BE49-F238E27FC236}">
                <a16:creationId xmlns:a16="http://schemas.microsoft.com/office/drawing/2014/main" id="{E14E8764-4D12-E245-BF6B-E4D3EFF72861}"/>
              </a:ext>
            </a:extLst>
          </p:cNvPr>
          <p:cNvSpPr>
            <a:spLocks noGrp="1"/>
          </p:cNvSpPr>
          <p:nvPr>
            <p:ph type="title"/>
          </p:nvPr>
        </p:nvSpPr>
        <p:spPr/>
        <p:txBody>
          <a:bodyPr/>
          <a:lstStyle/>
          <a:p>
            <a:r>
              <a:rPr lang="en-US"/>
              <a:t>Click to edit Master title style</a:t>
            </a:r>
            <a:endParaRPr lang="en-GB"/>
          </a:p>
        </p:txBody>
      </p:sp>
      <p:sp>
        <p:nvSpPr>
          <p:cNvPr id="8" name="Slide Number Placeholder 4">
            <a:extLst>
              <a:ext uri="{FF2B5EF4-FFF2-40B4-BE49-F238E27FC236}">
                <a16:creationId xmlns:a16="http://schemas.microsoft.com/office/drawing/2014/main" id="{0EFE55C4-74AB-7547-9E27-939A4EE2ACE6}"/>
              </a:ext>
            </a:extLst>
          </p:cNvPr>
          <p:cNvSpPr>
            <a:spLocks noGrp="1"/>
          </p:cNvSpPr>
          <p:nvPr>
            <p:ph type="sldNum" sz="quarter" idx="4"/>
          </p:nvPr>
        </p:nvSpPr>
        <p:spPr>
          <a:xfrm>
            <a:off x="11350643" y="6491819"/>
            <a:ext cx="84135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dirty="0"/>
          </a:p>
        </p:txBody>
      </p:sp>
    </p:spTree>
    <p:extLst>
      <p:ext uri="{BB962C8B-B14F-4D97-AF65-F5344CB8AC3E}">
        <p14:creationId xmlns:p14="http://schemas.microsoft.com/office/powerpoint/2010/main" val="419443080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 1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DA5B899-06FF-0649-A5E1-1E6B81132265}"/>
              </a:ext>
            </a:extLst>
          </p:cNvPr>
          <p:cNvSpPr>
            <a:spLocks noGrp="1"/>
          </p:cNvSpPr>
          <p:nvPr>
            <p:ph type="ftr" sz="quarter" idx="10"/>
          </p:nvPr>
        </p:nvSpPr>
        <p:spPr/>
        <p:txBody>
          <a:bodyPr/>
          <a:lstStyle/>
          <a:p>
            <a:endParaRPr lang="en-US"/>
          </a:p>
        </p:txBody>
      </p:sp>
      <p:sp>
        <p:nvSpPr>
          <p:cNvPr id="5" name="Title 4">
            <a:extLst>
              <a:ext uri="{FF2B5EF4-FFF2-40B4-BE49-F238E27FC236}">
                <a16:creationId xmlns:a16="http://schemas.microsoft.com/office/drawing/2014/main" id="{5CB4152D-D86B-044C-A6A9-63DD50381CEB}"/>
              </a:ext>
            </a:extLst>
          </p:cNvPr>
          <p:cNvSpPr>
            <a:spLocks noGrp="1"/>
          </p:cNvSpPr>
          <p:nvPr>
            <p:ph type="title"/>
          </p:nvPr>
        </p:nvSpPr>
        <p:spPr/>
        <p:txBody>
          <a:bodyPr/>
          <a:lstStyle/>
          <a:p>
            <a:r>
              <a:rPr lang="en-US"/>
              <a:t>Click to edit Master title style</a:t>
            </a:r>
            <a:endParaRPr lang="en-GB"/>
          </a:p>
        </p:txBody>
      </p:sp>
      <p:sp>
        <p:nvSpPr>
          <p:cNvPr id="6" name="Slide Number Placeholder 4">
            <a:extLst>
              <a:ext uri="{FF2B5EF4-FFF2-40B4-BE49-F238E27FC236}">
                <a16:creationId xmlns:a16="http://schemas.microsoft.com/office/drawing/2014/main" id="{ECF9BD86-0FCF-8D41-A1D2-8D0896635FB3}"/>
              </a:ext>
            </a:extLst>
          </p:cNvPr>
          <p:cNvSpPr>
            <a:spLocks noGrp="1"/>
          </p:cNvSpPr>
          <p:nvPr>
            <p:ph type="sldNum" sz="quarter" idx="4"/>
          </p:nvPr>
        </p:nvSpPr>
        <p:spPr>
          <a:xfrm>
            <a:off x="11350643" y="6491819"/>
            <a:ext cx="84135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dirty="0"/>
          </a:p>
        </p:txBody>
      </p:sp>
    </p:spTree>
    <p:extLst>
      <p:ext uri="{BB962C8B-B14F-4D97-AF65-F5344CB8AC3E}">
        <p14:creationId xmlns:p14="http://schemas.microsoft.com/office/powerpoint/2010/main" val="36467737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12" name="Rectangle 11"/>
          <p:cNvSpPr/>
          <p:nvPr userDrawn="1"/>
        </p:nvSpPr>
        <p:spPr>
          <a:xfrm>
            <a:off x="0" y="1"/>
            <a:ext cx="12192000" cy="5520795"/>
          </a:xfrm>
          <a:prstGeom prst="rect">
            <a:avLst/>
          </a:prstGeom>
          <a:solidFill>
            <a:schemeClr val="accent3"/>
          </a:solidFill>
          <a:ln w="9525" cap="flat" cmpd="sng" algn="ctr">
            <a:no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4098" name="Rectangle 2"/>
          <p:cNvSpPr>
            <a:spLocks noGrp="1" noChangeArrowheads="1"/>
          </p:cNvSpPr>
          <p:nvPr>
            <p:ph type="ctrTitle"/>
          </p:nvPr>
        </p:nvSpPr>
        <p:spPr>
          <a:xfrm>
            <a:off x="420625" y="967398"/>
            <a:ext cx="10484443" cy="2180095"/>
          </a:xfrm>
        </p:spPr>
        <p:txBody>
          <a:bodyPr anchor="b">
            <a:normAutofit/>
          </a:bodyPr>
          <a:lstStyle>
            <a:lvl1pPr>
              <a:lnSpc>
                <a:spcPct val="90000"/>
              </a:lnSpc>
              <a:defRPr sz="3200">
                <a:solidFill>
                  <a:schemeClr val="bg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5" y="3249094"/>
            <a:ext cx="10484443" cy="778935"/>
          </a:xfrm>
          <a:prstGeom prst="rect">
            <a:avLst/>
          </a:prstGeom>
        </p:spPr>
        <p:txBody>
          <a:bodyPr anchor="t">
            <a:normAutofit/>
          </a:bodyPr>
          <a:lstStyle>
            <a:lvl1pPr marL="0" indent="0">
              <a:defRPr sz="2400" b="1" baseline="0">
                <a:solidFill>
                  <a:schemeClr val="accent2"/>
                </a:solidFill>
              </a:defRPr>
            </a:lvl1pPr>
          </a:lstStyle>
          <a:p>
            <a:r>
              <a:rPr lang="en-GB" dirty="0"/>
              <a:t>Click to edit Master subtitle style</a:t>
            </a:r>
          </a:p>
        </p:txBody>
      </p:sp>
      <p:sp>
        <p:nvSpPr>
          <p:cNvPr id="3" name="Text Placeholder 2"/>
          <p:cNvSpPr>
            <a:spLocks noGrp="1"/>
          </p:cNvSpPr>
          <p:nvPr>
            <p:ph type="body" sz="quarter" idx="10"/>
          </p:nvPr>
        </p:nvSpPr>
        <p:spPr>
          <a:xfrm>
            <a:off x="420625" y="4039704"/>
            <a:ext cx="10487483" cy="1028681"/>
          </a:xfrm>
          <a:prstGeom prst="rect">
            <a:avLst/>
          </a:prstGeom>
        </p:spPr>
        <p:txBody>
          <a:bodyPr anchor="b"/>
          <a:lstStyle>
            <a:lvl1pPr marL="4763" indent="-4763">
              <a:defRPr sz="1467">
                <a:solidFill>
                  <a:schemeClr val="bg1"/>
                </a:solidFill>
              </a:defRPr>
            </a:lvl1pPr>
          </a:lstStyle>
          <a:p>
            <a:pPr lvl="0"/>
            <a:r>
              <a:rPr lang="en-GB"/>
              <a:t>Click to edit Master text styles</a:t>
            </a:r>
          </a:p>
        </p:txBody>
      </p:sp>
      <p:sp>
        <p:nvSpPr>
          <p:cNvPr id="4" name="TextBox 3"/>
          <p:cNvSpPr txBox="1"/>
          <p:nvPr userDrawn="1"/>
        </p:nvSpPr>
        <p:spPr>
          <a:xfrm>
            <a:off x="430367" y="6581276"/>
            <a:ext cx="7103181" cy="235898"/>
          </a:xfrm>
          <a:prstGeom prst="rect">
            <a:avLst/>
          </a:prstGeom>
          <a:noFill/>
        </p:spPr>
        <p:txBody>
          <a:bodyPr wrap="squar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lang="en-GB" sz="933" dirty="0">
                <a:solidFill>
                  <a:srgbClr val="3F4444"/>
                </a:solidFill>
              </a:rPr>
              <a:t>©AstraZeneca 2019 • FOR HEALTHCARE PROFESSIONAL USE ONLY</a:t>
            </a:r>
            <a:endParaRPr lang="en-US" sz="933" dirty="0">
              <a:solidFill>
                <a:srgbClr val="3F4444"/>
              </a:solidFill>
            </a:endParaRPr>
          </a:p>
        </p:txBody>
      </p:sp>
      <p:pic>
        <p:nvPicPr>
          <p:cNvPr id="8" name="Picture 7" descr="AZ_RGB_H_COL.jpg"/>
          <p:cNvPicPr>
            <a:picLocks noChangeAspect="1"/>
          </p:cNvPicPr>
          <p:nvPr userDrawn="1"/>
        </p:nvPicPr>
        <p:blipFill>
          <a:blip r:embed="rId2" cstate="print">
            <a:alphaModFix/>
            <a:extLst>
              <a:ext uri="{28A0092B-C50C-407E-A947-70E740481C1C}">
                <a14:useLocalDpi xmlns:a14="http://schemas.microsoft.com/office/drawing/2010/main"/>
              </a:ext>
            </a:extLst>
          </a:blip>
          <a:stretch>
            <a:fillRect/>
          </a:stretch>
        </p:blipFill>
        <p:spPr>
          <a:xfrm>
            <a:off x="2627881" y="5565087"/>
            <a:ext cx="2678400" cy="884732"/>
          </a:xfrm>
          <a:prstGeom prst="rect">
            <a:avLst/>
          </a:prstGeom>
        </p:spPr>
      </p:pic>
      <p:pic>
        <p:nvPicPr>
          <p:cNvPr id="11" name="Picture 10" descr="msd_ifl_lg_rgb_tl_dkgry.jp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0985" y="5648715"/>
            <a:ext cx="2200163" cy="890653"/>
          </a:xfrm>
          <a:prstGeom prst="rect">
            <a:avLst/>
          </a:prstGeom>
        </p:spPr>
      </p:pic>
      <p:sp>
        <p:nvSpPr>
          <p:cNvPr id="5" name="Rectangle 4"/>
          <p:cNvSpPr/>
          <p:nvPr userDrawn="1"/>
        </p:nvSpPr>
        <p:spPr bwMode="auto">
          <a:xfrm>
            <a:off x="10363037" y="6085221"/>
            <a:ext cx="1587529" cy="681763"/>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4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80660087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12" name="Rectangle 11"/>
          <p:cNvSpPr/>
          <p:nvPr userDrawn="1"/>
        </p:nvSpPr>
        <p:spPr>
          <a:xfrm>
            <a:off x="0" y="1"/>
            <a:ext cx="12192000" cy="5520795"/>
          </a:xfrm>
          <a:prstGeom prst="rect">
            <a:avLst/>
          </a:prstGeom>
          <a:solidFill>
            <a:srgbClr val="103865"/>
          </a:solidFill>
          <a:ln w="9525" cap="flat" cmpd="sng" algn="ctr">
            <a:no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4098" name="Rectangle 2"/>
          <p:cNvSpPr>
            <a:spLocks noGrp="1" noChangeArrowheads="1"/>
          </p:cNvSpPr>
          <p:nvPr>
            <p:ph type="ctrTitle"/>
          </p:nvPr>
        </p:nvSpPr>
        <p:spPr>
          <a:xfrm>
            <a:off x="420625" y="967398"/>
            <a:ext cx="10484443" cy="2180095"/>
          </a:xfrm>
        </p:spPr>
        <p:txBody>
          <a:bodyPr anchor="b">
            <a:normAutofit/>
          </a:bodyPr>
          <a:lstStyle>
            <a:lvl1pPr>
              <a:lnSpc>
                <a:spcPct val="90000"/>
              </a:lnSpc>
              <a:defRPr sz="3200">
                <a:solidFill>
                  <a:schemeClr val="bg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420625" y="3249094"/>
            <a:ext cx="10484443" cy="778935"/>
          </a:xfrm>
          <a:prstGeom prst="rect">
            <a:avLst/>
          </a:prstGeom>
        </p:spPr>
        <p:txBody>
          <a:bodyPr anchor="t">
            <a:normAutofit/>
          </a:bodyPr>
          <a:lstStyle>
            <a:lvl1pPr marL="0" indent="0">
              <a:defRPr sz="2400" b="1" baseline="0">
                <a:solidFill>
                  <a:schemeClr val="accent1"/>
                </a:solidFill>
              </a:defRPr>
            </a:lvl1pPr>
          </a:lstStyle>
          <a:p>
            <a:r>
              <a:rPr lang="en-GB" dirty="0"/>
              <a:t>Click to edit Master subtitle style</a:t>
            </a:r>
          </a:p>
        </p:txBody>
      </p:sp>
      <p:sp>
        <p:nvSpPr>
          <p:cNvPr id="3" name="Text Placeholder 2"/>
          <p:cNvSpPr>
            <a:spLocks noGrp="1"/>
          </p:cNvSpPr>
          <p:nvPr>
            <p:ph type="body" sz="quarter" idx="10"/>
          </p:nvPr>
        </p:nvSpPr>
        <p:spPr>
          <a:xfrm>
            <a:off x="420625" y="4039704"/>
            <a:ext cx="10487483" cy="1028681"/>
          </a:xfrm>
          <a:prstGeom prst="rect">
            <a:avLst/>
          </a:prstGeom>
        </p:spPr>
        <p:txBody>
          <a:bodyPr anchor="b"/>
          <a:lstStyle>
            <a:lvl1pPr marL="4763" indent="-4763">
              <a:defRPr sz="1467">
                <a:solidFill>
                  <a:schemeClr val="bg1"/>
                </a:solidFill>
              </a:defRPr>
            </a:lvl1pPr>
          </a:lstStyle>
          <a:p>
            <a:pPr lvl="0"/>
            <a:r>
              <a:rPr lang="en-GB"/>
              <a:t>Click to edit Master text styles</a:t>
            </a:r>
          </a:p>
        </p:txBody>
      </p:sp>
      <p:sp>
        <p:nvSpPr>
          <p:cNvPr id="5" name="Rectangle 4"/>
          <p:cNvSpPr/>
          <p:nvPr userDrawn="1"/>
        </p:nvSpPr>
        <p:spPr bwMode="auto">
          <a:xfrm>
            <a:off x="10363037" y="6085221"/>
            <a:ext cx="1587529" cy="681763"/>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4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426283356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KD">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03" y="1442244"/>
            <a:ext cx="9097012" cy="1435161"/>
          </a:xfrm>
          <a:prstGeom prst="rect">
            <a:avLst/>
          </a:prstGeom>
        </p:spPr>
        <p:txBody>
          <a:bodyPr vert="horz" anchor="t"/>
          <a:lstStyle>
            <a:lvl1pPr algn="l">
              <a:lnSpc>
                <a:spcPct val="90000"/>
              </a:lnSpc>
              <a:defRPr sz="3733" b="1" baseline="0">
                <a:solidFill>
                  <a:schemeClr val="accent3"/>
                </a:solidFill>
                <a:latin typeface="Arial" pitchFamily="34" charset="0"/>
                <a:cs typeface="Arial" pitchFamily="34" charset="0"/>
              </a:defRPr>
            </a:lvl1pPr>
          </a:lstStyle>
          <a:p>
            <a:r>
              <a:rPr lang="en-GB" noProof="0" dirty="0"/>
              <a:t>Click to add presentation title</a:t>
            </a:r>
          </a:p>
        </p:txBody>
      </p:sp>
      <p:sp>
        <p:nvSpPr>
          <p:cNvPr id="10" name="Text Placeholder 29"/>
          <p:cNvSpPr>
            <a:spLocks noGrp="1"/>
          </p:cNvSpPr>
          <p:nvPr>
            <p:ph type="body" sz="quarter" idx="11" hasCustomPrompt="1"/>
          </p:nvPr>
        </p:nvSpPr>
        <p:spPr>
          <a:xfrm>
            <a:off x="287999" y="3144144"/>
            <a:ext cx="8640000" cy="254400"/>
          </a:xfrm>
          <a:prstGeom prst="rect">
            <a:avLst/>
          </a:prstGeom>
        </p:spPr>
        <p:txBody>
          <a:bodyPr vert="horz"/>
          <a:lstStyle>
            <a:lvl1pPr marL="0" indent="0">
              <a:lnSpc>
                <a:spcPts val="1467"/>
              </a:lnSpc>
              <a:spcBef>
                <a:spcPts val="0"/>
              </a:spcBef>
              <a:buNone/>
              <a:defRPr sz="1867"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87999" y="3419144"/>
            <a:ext cx="8640000" cy="254400"/>
          </a:xfrm>
          <a:prstGeom prst="rect">
            <a:avLst/>
          </a:prstGeom>
        </p:spPr>
        <p:txBody>
          <a:bodyPr vert="horz"/>
          <a:lstStyle>
            <a:lvl1pPr marL="0" indent="0">
              <a:lnSpc>
                <a:spcPts val="1467"/>
              </a:lnSpc>
              <a:spcBef>
                <a:spcPts val="0"/>
              </a:spcBef>
              <a:buNone/>
              <a:defRPr sz="1600" b="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9504000" y="3144144"/>
            <a:ext cx="2496000" cy="254400"/>
          </a:xfrm>
          <a:prstGeom prst="rect">
            <a:avLst/>
          </a:prstGeom>
        </p:spPr>
        <p:txBody>
          <a:bodyPr vert="horz"/>
          <a:lstStyle>
            <a:lvl1pPr marL="0" indent="0">
              <a:lnSpc>
                <a:spcPts val="1467"/>
              </a:lnSpc>
              <a:spcBef>
                <a:spcPts val="0"/>
              </a:spcBef>
              <a:buNone/>
              <a:defRPr sz="16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9504000" y="3419144"/>
            <a:ext cx="2496000" cy="254400"/>
          </a:xfrm>
          <a:prstGeom prst="rect">
            <a:avLst/>
          </a:prstGeom>
        </p:spPr>
        <p:txBody>
          <a:bodyPr vert="horz"/>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dirty="0"/>
              <a:t>00 Month Year</a:t>
            </a:r>
          </a:p>
        </p:txBody>
      </p:sp>
      <p:sp>
        <p:nvSpPr>
          <p:cNvPr id="16" name="TextBox 15"/>
          <p:cNvSpPr txBox="1"/>
          <p:nvPr userDrawn="1"/>
        </p:nvSpPr>
        <p:spPr>
          <a:xfrm>
            <a:off x="2539924" y="6590093"/>
            <a:ext cx="7103181" cy="235898"/>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33" b="0" i="0" u="none" strike="noStrike" kern="0" cap="none" spc="0" normalizeH="0" baseline="0" noProof="0" dirty="0">
                <a:ln>
                  <a:noFill/>
                </a:ln>
                <a:solidFill>
                  <a:srgbClr val="C7C2BA">
                    <a:lumMod val="50000"/>
                  </a:srgbClr>
                </a:solidFill>
                <a:effectLst/>
                <a:uLnTx/>
                <a:uFillTx/>
              </a:rPr>
              <a:t>©AstraZeneca 2019 • FOR HEALTHCARE PROFESSIONAL USE ONLY</a:t>
            </a:r>
            <a:endParaRPr kumimoji="0" lang="en-US" sz="933" b="0" i="0" u="none" strike="noStrike" kern="0" cap="none" spc="0" normalizeH="0" baseline="0" noProof="0" dirty="0">
              <a:ln>
                <a:noFill/>
              </a:ln>
              <a:solidFill>
                <a:srgbClr val="C7C2BA">
                  <a:lumMod val="50000"/>
                </a:srgbClr>
              </a:solidFill>
              <a:effectLst/>
              <a:uLnTx/>
              <a:uFillTx/>
            </a:endParaRPr>
          </a:p>
        </p:txBody>
      </p:sp>
      <p:sp>
        <p:nvSpPr>
          <p:cNvPr id="15" name="Rectangle 14"/>
          <p:cNvSpPr/>
          <p:nvPr userDrawn="1"/>
        </p:nvSpPr>
        <p:spPr>
          <a:xfrm>
            <a:off x="192004" y="3777347"/>
            <a:ext cx="11778761" cy="2812748"/>
          </a:xfrm>
          <a:prstGeom prst="rect">
            <a:avLst/>
          </a:prstGeom>
          <a:solidFill>
            <a:srgbClr val="00386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3133494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CKD">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03" y="1442244"/>
            <a:ext cx="9097012" cy="1435161"/>
          </a:xfrm>
          <a:prstGeom prst="rect">
            <a:avLst/>
          </a:prstGeom>
        </p:spPr>
        <p:txBody>
          <a:bodyPr vert="horz" anchor="t"/>
          <a:lstStyle>
            <a:lvl1pPr algn="l">
              <a:lnSpc>
                <a:spcPct val="90000"/>
              </a:lnSpc>
              <a:defRPr sz="3733" b="1" baseline="0">
                <a:solidFill>
                  <a:schemeClr val="accent3"/>
                </a:solidFill>
                <a:latin typeface="Arial" pitchFamily="34" charset="0"/>
                <a:cs typeface="Arial" pitchFamily="34" charset="0"/>
              </a:defRPr>
            </a:lvl1pPr>
          </a:lstStyle>
          <a:p>
            <a:r>
              <a:rPr lang="en-GB" noProof="0" dirty="0"/>
              <a:t>Click to add presentation title</a:t>
            </a:r>
          </a:p>
        </p:txBody>
      </p:sp>
      <p:sp>
        <p:nvSpPr>
          <p:cNvPr id="10" name="Text Placeholder 29"/>
          <p:cNvSpPr>
            <a:spLocks noGrp="1"/>
          </p:cNvSpPr>
          <p:nvPr>
            <p:ph type="body" sz="quarter" idx="11" hasCustomPrompt="1"/>
          </p:nvPr>
        </p:nvSpPr>
        <p:spPr>
          <a:xfrm>
            <a:off x="287999" y="3144144"/>
            <a:ext cx="8640000" cy="254400"/>
          </a:xfrm>
          <a:prstGeom prst="rect">
            <a:avLst/>
          </a:prstGeom>
        </p:spPr>
        <p:txBody>
          <a:bodyPr vert="horz"/>
          <a:lstStyle>
            <a:lvl1pPr marL="0" indent="0">
              <a:lnSpc>
                <a:spcPts val="1467"/>
              </a:lnSpc>
              <a:spcBef>
                <a:spcPts val="0"/>
              </a:spcBef>
              <a:buNone/>
              <a:defRPr sz="1867"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87999" y="3419144"/>
            <a:ext cx="8640000" cy="254400"/>
          </a:xfrm>
          <a:prstGeom prst="rect">
            <a:avLst/>
          </a:prstGeom>
        </p:spPr>
        <p:txBody>
          <a:bodyPr vert="horz"/>
          <a:lstStyle>
            <a:lvl1pPr marL="0" indent="0">
              <a:lnSpc>
                <a:spcPts val="1467"/>
              </a:lnSpc>
              <a:spcBef>
                <a:spcPts val="0"/>
              </a:spcBef>
              <a:buNone/>
              <a:defRPr sz="1600" b="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9504000" y="3144144"/>
            <a:ext cx="2496000" cy="254400"/>
          </a:xfrm>
          <a:prstGeom prst="rect">
            <a:avLst/>
          </a:prstGeom>
        </p:spPr>
        <p:txBody>
          <a:bodyPr vert="horz"/>
          <a:lstStyle>
            <a:lvl1pPr marL="0" indent="0">
              <a:lnSpc>
                <a:spcPts val="1467"/>
              </a:lnSpc>
              <a:spcBef>
                <a:spcPts val="0"/>
              </a:spcBef>
              <a:buNone/>
              <a:defRPr sz="16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9504000" y="3419144"/>
            <a:ext cx="2496000" cy="254400"/>
          </a:xfrm>
          <a:prstGeom prst="rect">
            <a:avLst/>
          </a:prstGeom>
        </p:spPr>
        <p:txBody>
          <a:bodyPr vert="horz"/>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dirty="0"/>
              <a:t>00 Month Year</a:t>
            </a:r>
          </a:p>
        </p:txBody>
      </p:sp>
      <p:sp>
        <p:nvSpPr>
          <p:cNvPr id="16" name="TextBox 15"/>
          <p:cNvSpPr txBox="1"/>
          <p:nvPr userDrawn="1"/>
        </p:nvSpPr>
        <p:spPr>
          <a:xfrm>
            <a:off x="2539924" y="6590093"/>
            <a:ext cx="7103181" cy="235898"/>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33" b="0" i="0" u="none" strike="noStrike" kern="0" cap="none" spc="0" normalizeH="0" baseline="0" noProof="0" dirty="0">
                <a:ln>
                  <a:noFill/>
                </a:ln>
                <a:solidFill>
                  <a:srgbClr val="C7C2BA">
                    <a:lumMod val="50000"/>
                  </a:srgbClr>
                </a:solidFill>
                <a:effectLst/>
                <a:uLnTx/>
                <a:uFillTx/>
              </a:rPr>
              <a:t>©AstraZeneca 2019 • FOR HEALTHCARE PROFESSIONAL USE ONLY</a:t>
            </a:r>
            <a:endParaRPr kumimoji="0" lang="en-US" sz="933" b="0" i="0" u="none" strike="noStrike" kern="0" cap="none" spc="0" normalizeH="0" baseline="0" noProof="0" dirty="0">
              <a:ln>
                <a:noFill/>
              </a:ln>
              <a:solidFill>
                <a:srgbClr val="C7C2BA">
                  <a:lumMod val="50000"/>
                </a:srgbClr>
              </a:solidFill>
              <a:effectLst/>
              <a:uLnTx/>
              <a:uFillTx/>
            </a:endParaRPr>
          </a:p>
        </p:txBody>
      </p:sp>
      <p:sp>
        <p:nvSpPr>
          <p:cNvPr id="15" name="Rectangle 14"/>
          <p:cNvSpPr/>
          <p:nvPr userDrawn="1"/>
        </p:nvSpPr>
        <p:spPr>
          <a:xfrm>
            <a:off x="192004" y="3777347"/>
            <a:ext cx="11778761" cy="281274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79016533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2_CKD">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03" y="1442244"/>
            <a:ext cx="9097012" cy="1435161"/>
          </a:xfrm>
          <a:prstGeom prst="rect">
            <a:avLst/>
          </a:prstGeom>
        </p:spPr>
        <p:txBody>
          <a:bodyPr vert="horz" anchor="t"/>
          <a:lstStyle>
            <a:lvl1pPr algn="l">
              <a:lnSpc>
                <a:spcPct val="90000"/>
              </a:lnSpc>
              <a:defRPr sz="3733" b="1" baseline="0">
                <a:solidFill>
                  <a:schemeClr val="accent3"/>
                </a:solidFill>
                <a:latin typeface="Arial" pitchFamily="34" charset="0"/>
                <a:cs typeface="Arial" pitchFamily="34" charset="0"/>
              </a:defRPr>
            </a:lvl1pPr>
          </a:lstStyle>
          <a:p>
            <a:r>
              <a:rPr lang="en-GB" noProof="0" dirty="0"/>
              <a:t>Click to add presentation title</a:t>
            </a:r>
          </a:p>
        </p:txBody>
      </p:sp>
      <p:sp>
        <p:nvSpPr>
          <p:cNvPr id="10" name="Text Placeholder 29"/>
          <p:cNvSpPr>
            <a:spLocks noGrp="1"/>
          </p:cNvSpPr>
          <p:nvPr>
            <p:ph type="body" sz="quarter" idx="11" hasCustomPrompt="1"/>
          </p:nvPr>
        </p:nvSpPr>
        <p:spPr>
          <a:xfrm>
            <a:off x="287999" y="3144144"/>
            <a:ext cx="8640000" cy="254400"/>
          </a:xfrm>
          <a:prstGeom prst="rect">
            <a:avLst/>
          </a:prstGeom>
        </p:spPr>
        <p:txBody>
          <a:bodyPr vert="horz"/>
          <a:lstStyle>
            <a:lvl1pPr marL="0" indent="0">
              <a:lnSpc>
                <a:spcPts val="1467"/>
              </a:lnSpc>
              <a:spcBef>
                <a:spcPts val="0"/>
              </a:spcBef>
              <a:buNone/>
              <a:defRPr sz="1867"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87999" y="3419144"/>
            <a:ext cx="8640000" cy="254400"/>
          </a:xfrm>
          <a:prstGeom prst="rect">
            <a:avLst/>
          </a:prstGeom>
        </p:spPr>
        <p:txBody>
          <a:bodyPr vert="horz"/>
          <a:lstStyle>
            <a:lvl1pPr marL="0" indent="0">
              <a:lnSpc>
                <a:spcPts val="1467"/>
              </a:lnSpc>
              <a:spcBef>
                <a:spcPts val="0"/>
              </a:spcBef>
              <a:buNone/>
              <a:defRPr sz="1600" b="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9504000" y="3144144"/>
            <a:ext cx="2496000" cy="254400"/>
          </a:xfrm>
          <a:prstGeom prst="rect">
            <a:avLst/>
          </a:prstGeom>
        </p:spPr>
        <p:txBody>
          <a:bodyPr vert="horz"/>
          <a:lstStyle>
            <a:lvl1pPr marL="0" indent="0">
              <a:lnSpc>
                <a:spcPts val="1467"/>
              </a:lnSpc>
              <a:spcBef>
                <a:spcPts val="0"/>
              </a:spcBef>
              <a:buNone/>
              <a:defRPr sz="16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9504000" y="3419144"/>
            <a:ext cx="2496000" cy="254400"/>
          </a:xfrm>
          <a:prstGeom prst="rect">
            <a:avLst/>
          </a:prstGeom>
        </p:spPr>
        <p:txBody>
          <a:bodyPr vert="horz"/>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dirty="0"/>
              <a:t>00 Month Year</a:t>
            </a:r>
          </a:p>
        </p:txBody>
      </p:sp>
      <p:sp>
        <p:nvSpPr>
          <p:cNvPr id="16" name="TextBox 15"/>
          <p:cNvSpPr txBox="1"/>
          <p:nvPr userDrawn="1"/>
        </p:nvSpPr>
        <p:spPr>
          <a:xfrm>
            <a:off x="2539924" y="6590093"/>
            <a:ext cx="7103181" cy="235898"/>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33" b="0" i="0" u="none" strike="noStrike" kern="0" cap="none" spc="0" normalizeH="0" baseline="0" noProof="0" dirty="0">
                <a:ln>
                  <a:noFill/>
                </a:ln>
                <a:solidFill>
                  <a:srgbClr val="C7C2BA">
                    <a:lumMod val="50000"/>
                  </a:srgbClr>
                </a:solidFill>
                <a:effectLst/>
                <a:uLnTx/>
                <a:uFillTx/>
              </a:rPr>
              <a:t>©AstraZeneca 2019 • FOR HEALTHCARE PROFESSIONAL USE ONLY</a:t>
            </a:r>
            <a:endParaRPr kumimoji="0" lang="en-US" sz="933" b="0" i="0" u="none" strike="noStrike" kern="0" cap="none" spc="0" normalizeH="0" baseline="0" noProof="0" dirty="0">
              <a:ln>
                <a:noFill/>
              </a:ln>
              <a:solidFill>
                <a:srgbClr val="C7C2BA">
                  <a:lumMod val="50000"/>
                </a:srgbClr>
              </a:solidFill>
              <a:effectLst/>
              <a:uLnTx/>
              <a:uFillTx/>
            </a:endParaRPr>
          </a:p>
        </p:txBody>
      </p:sp>
      <p:sp>
        <p:nvSpPr>
          <p:cNvPr id="15" name="Rectangle 14"/>
          <p:cNvSpPr/>
          <p:nvPr userDrawn="1"/>
        </p:nvSpPr>
        <p:spPr>
          <a:xfrm>
            <a:off x="192004" y="3777347"/>
            <a:ext cx="11778761" cy="281274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94701106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3_CKD">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03" y="1442244"/>
            <a:ext cx="9097012" cy="1435161"/>
          </a:xfrm>
          <a:prstGeom prst="rect">
            <a:avLst/>
          </a:prstGeom>
        </p:spPr>
        <p:txBody>
          <a:bodyPr vert="horz" anchor="t"/>
          <a:lstStyle>
            <a:lvl1pPr algn="l">
              <a:lnSpc>
                <a:spcPct val="90000"/>
              </a:lnSpc>
              <a:defRPr sz="3733" b="1" baseline="0">
                <a:solidFill>
                  <a:schemeClr val="accent3"/>
                </a:solidFill>
                <a:latin typeface="Arial" pitchFamily="34" charset="0"/>
                <a:cs typeface="Arial" pitchFamily="34" charset="0"/>
              </a:defRPr>
            </a:lvl1pPr>
          </a:lstStyle>
          <a:p>
            <a:r>
              <a:rPr lang="en-GB" noProof="0" dirty="0"/>
              <a:t>Click to add presentation title</a:t>
            </a:r>
          </a:p>
        </p:txBody>
      </p:sp>
      <p:sp>
        <p:nvSpPr>
          <p:cNvPr id="10" name="Text Placeholder 29"/>
          <p:cNvSpPr>
            <a:spLocks noGrp="1"/>
          </p:cNvSpPr>
          <p:nvPr>
            <p:ph type="body" sz="quarter" idx="11" hasCustomPrompt="1"/>
          </p:nvPr>
        </p:nvSpPr>
        <p:spPr>
          <a:xfrm>
            <a:off x="287999" y="3144144"/>
            <a:ext cx="8640000" cy="254400"/>
          </a:xfrm>
          <a:prstGeom prst="rect">
            <a:avLst/>
          </a:prstGeom>
        </p:spPr>
        <p:txBody>
          <a:bodyPr vert="horz"/>
          <a:lstStyle>
            <a:lvl1pPr marL="0" indent="0">
              <a:lnSpc>
                <a:spcPts val="1467"/>
              </a:lnSpc>
              <a:spcBef>
                <a:spcPts val="0"/>
              </a:spcBef>
              <a:buNone/>
              <a:defRPr sz="1867"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87999" y="3419144"/>
            <a:ext cx="8640000" cy="254400"/>
          </a:xfrm>
          <a:prstGeom prst="rect">
            <a:avLst/>
          </a:prstGeom>
        </p:spPr>
        <p:txBody>
          <a:bodyPr vert="horz"/>
          <a:lstStyle>
            <a:lvl1pPr marL="0" indent="0">
              <a:lnSpc>
                <a:spcPts val="1467"/>
              </a:lnSpc>
              <a:spcBef>
                <a:spcPts val="0"/>
              </a:spcBef>
              <a:buNone/>
              <a:defRPr sz="1600" b="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9504000" y="3144144"/>
            <a:ext cx="2496000" cy="254400"/>
          </a:xfrm>
          <a:prstGeom prst="rect">
            <a:avLst/>
          </a:prstGeom>
        </p:spPr>
        <p:txBody>
          <a:bodyPr vert="horz"/>
          <a:lstStyle>
            <a:lvl1pPr marL="0" indent="0">
              <a:lnSpc>
                <a:spcPts val="1467"/>
              </a:lnSpc>
              <a:spcBef>
                <a:spcPts val="0"/>
              </a:spcBef>
              <a:buNone/>
              <a:defRPr sz="16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9504000" y="3419144"/>
            <a:ext cx="2496000" cy="254400"/>
          </a:xfrm>
          <a:prstGeom prst="rect">
            <a:avLst/>
          </a:prstGeom>
        </p:spPr>
        <p:txBody>
          <a:bodyPr vert="horz"/>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dirty="0"/>
              <a:t>00 Month Year</a:t>
            </a:r>
          </a:p>
        </p:txBody>
      </p:sp>
      <p:sp>
        <p:nvSpPr>
          <p:cNvPr id="16" name="TextBox 15"/>
          <p:cNvSpPr txBox="1"/>
          <p:nvPr userDrawn="1"/>
        </p:nvSpPr>
        <p:spPr>
          <a:xfrm>
            <a:off x="2539924" y="6590093"/>
            <a:ext cx="7103181" cy="235898"/>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33" b="0" i="0" u="none" strike="noStrike" kern="0" cap="none" spc="0" normalizeH="0" baseline="0" noProof="0" dirty="0">
                <a:ln>
                  <a:noFill/>
                </a:ln>
                <a:solidFill>
                  <a:srgbClr val="C7C2BA">
                    <a:lumMod val="50000"/>
                  </a:srgbClr>
                </a:solidFill>
                <a:effectLst/>
                <a:uLnTx/>
                <a:uFillTx/>
              </a:rPr>
              <a:t>©AstraZeneca 2019 • FOR HEALTHCARE PROFESSIONAL USE ONLY</a:t>
            </a:r>
            <a:endParaRPr kumimoji="0" lang="en-US" sz="933" b="0" i="0" u="none" strike="noStrike" kern="0" cap="none" spc="0" normalizeH="0" baseline="0" noProof="0" dirty="0">
              <a:ln>
                <a:noFill/>
              </a:ln>
              <a:solidFill>
                <a:srgbClr val="C7C2BA">
                  <a:lumMod val="50000"/>
                </a:srgbClr>
              </a:solidFill>
              <a:effectLst/>
              <a:uLnTx/>
              <a:uFillTx/>
            </a:endParaRPr>
          </a:p>
        </p:txBody>
      </p:sp>
      <p:sp>
        <p:nvSpPr>
          <p:cNvPr id="15" name="Rectangle 14"/>
          <p:cNvSpPr/>
          <p:nvPr userDrawn="1"/>
        </p:nvSpPr>
        <p:spPr>
          <a:xfrm>
            <a:off x="192004" y="3777347"/>
            <a:ext cx="11778761" cy="281274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8939910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image" Target="../media/image22.svg"/><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21.pn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tags" Target="../tags/tag5.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2.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heme" Target="../theme/theme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image" Target="../media/image22.svg"/><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image" Target="../media/image21.png"/><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tags" Target="../tags/tag27.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theme" Target="../theme/theme4.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theme" Target="../theme/theme5.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F19AE17-264B-F942-A1B1-7F4099C731E7}"/>
              </a:ext>
            </a:extLst>
          </p:cNvPr>
          <p:cNvSpPr/>
          <p:nvPr userDrawn="1"/>
        </p:nvSpPr>
        <p:spPr>
          <a:xfrm>
            <a:off x="0" y="6817912"/>
            <a:ext cx="12192000" cy="46800"/>
          </a:xfrm>
          <a:prstGeom prst="rect">
            <a:avLst/>
          </a:prstGeom>
          <a:solidFill>
            <a:srgbClr val="96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12" name="Slide Number Placeholder 5">
            <a:extLst>
              <a:ext uri="{FF2B5EF4-FFF2-40B4-BE49-F238E27FC236}">
                <a16:creationId xmlns:a16="http://schemas.microsoft.com/office/drawing/2014/main" id="{03D3E31E-CD6C-1F46-9FFA-F11FC2C5FF1B}"/>
              </a:ext>
            </a:extLst>
          </p:cNvPr>
          <p:cNvSpPr txBox="1">
            <a:spLocks/>
          </p:cNvSpPr>
          <p:nvPr userDrawn="1"/>
        </p:nvSpPr>
        <p:spPr>
          <a:xfrm>
            <a:off x="0" y="6316751"/>
            <a:ext cx="838200" cy="495947"/>
          </a:xfrm>
          <a:prstGeom prst="rect">
            <a:avLst/>
          </a:prstGeom>
        </p:spPr>
        <p:txBody>
          <a:bodyPr lIns="0" tIns="0" rIns="0" bIns="0" anchor="ctr" anchorCtr="0"/>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C2F09226-BE8D-984C-B326-66FD4D2F6389}" type="slidenum">
              <a:rPr lang="en-US" sz="1000" smtClean="0">
                <a:solidFill>
                  <a:schemeClr val="bg2"/>
                </a:solidFill>
                <a:latin typeface="+mj-lt"/>
              </a:rPr>
              <a:pPr algn="ctr"/>
              <a:t>‹#›</a:t>
            </a:fld>
            <a:endParaRPr lang="en-US" sz="1000" dirty="0">
              <a:solidFill>
                <a:schemeClr val="bg2"/>
              </a:solidFill>
              <a:latin typeface="+mj-lt"/>
            </a:endParaRPr>
          </a:p>
        </p:txBody>
      </p:sp>
      <p:pic>
        <p:nvPicPr>
          <p:cNvPr id="14" name="Picture 24">
            <a:extLst>
              <a:ext uri="{FF2B5EF4-FFF2-40B4-BE49-F238E27FC236}">
                <a16:creationId xmlns:a16="http://schemas.microsoft.com/office/drawing/2014/main" id="{02568DBF-A2E6-7D4B-8D95-F8883F547320}"/>
              </a:ext>
            </a:extLst>
          </p:cNvPr>
          <p:cNvPicPr>
            <a:picLocks noChangeAspect="1"/>
          </p:cNvPicPr>
          <p:nvPr userDrawn="1"/>
        </p:nvPicPr>
        <p:blipFill>
          <a:blip r:embed="rId35" cstate="screen">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10825097" y="6416645"/>
            <a:ext cx="1147048" cy="275941"/>
          </a:xfrm>
          <a:prstGeom prst="rect">
            <a:avLst/>
          </a:prstGeom>
        </p:spPr>
      </p:pic>
    </p:spTree>
    <p:extLst>
      <p:ext uri="{BB962C8B-B14F-4D97-AF65-F5344CB8AC3E}">
        <p14:creationId xmlns:p14="http://schemas.microsoft.com/office/powerpoint/2010/main" val="229871342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93" r:id="rId3"/>
    <p:sldLayoutId id="2147483694" r:id="rId4"/>
    <p:sldLayoutId id="2147483699" r:id="rId5"/>
    <p:sldLayoutId id="2147483665" r:id="rId6"/>
    <p:sldLayoutId id="2147483697" r:id="rId7"/>
    <p:sldLayoutId id="2147483667" r:id="rId8"/>
    <p:sldLayoutId id="2147483668" r:id="rId9"/>
    <p:sldLayoutId id="2147483666" r:id="rId10"/>
    <p:sldLayoutId id="2147483689" r:id="rId11"/>
    <p:sldLayoutId id="2147483690" r:id="rId12"/>
    <p:sldLayoutId id="2147483691" r:id="rId13"/>
    <p:sldLayoutId id="2147483692" r:id="rId14"/>
    <p:sldLayoutId id="2147483695" r:id="rId15"/>
    <p:sldLayoutId id="2147483678" r:id="rId16"/>
    <p:sldLayoutId id="2147483685" r:id="rId17"/>
    <p:sldLayoutId id="2147483686" r:id="rId18"/>
    <p:sldLayoutId id="2147483671" r:id="rId19"/>
    <p:sldLayoutId id="2147483669" r:id="rId20"/>
    <p:sldLayoutId id="2147483684" r:id="rId21"/>
    <p:sldLayoutId id="2147483687" r:id="rId22"/>
    <p:sldLayoutId id="2147483688" r:id="rId23"/>
    <p:sldLayoutId id="2147483674" r:id="rId24"/>
    <p:sldLayoutId id="2147483676" r:id="rId25"/>
    <p:sldLayoutId id="2147483679" r:id="rId26"/>
    <p:sldLayoutId id="2147483700" r:id="rId27"/>
    <p:sldLayoutId id="2147483702" r:id="rId28"/>
    <p:sldLayoutId id="2147483712" r:id="rId29"/>
    <p:sldLayoutId id="2147483713" r:id="rId30"/>
    <p:sldLayoutId id="2147483773" r:id="rId31"/>
    <p:sldLayoutId id="2147483811" r:id="rId32"/>
    <p:sldLayoutId id="2147483812" r:id="rId33"/>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96">
          <p15:clr>
            <a:srgbClr val="F26B43"/>
          </p15:clr>
        </p15:guide>
        <p15:guide id="2" orient="horz" pos="78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dirty="0"/>
              <a:t>Click to enter title here</a:t>
            </a:r>
            <a:endParaRPr lang="en-GB" dirty="0"/>
          </a:p>
        </p:txBody>
      </p:sp>
      <p:sp>
        <p:nvSpPr>
          <p:cNvPr id="4" name="Date Placeholder 3">
            <a:extLst>
              <a:ext uri="{FF2B5EF4-FFF2-40B4-BE49-F238E27FC236}">
                <a16:creationId xmlns:a16="http://schemas.microsoft.com/office/drawing/2014/main" id="{FD78F6B2-FAF9-4D08-B8BD-F2646AEF396C}"/>
              </a:ext>
            </a:extLst>
          </p:cNvPr>
          <p:cNvSpPr>
            <a:spLocks noGrp="1"/>
          </p:cNvSpPr>
          <p:nvPr>
            <p:ph type="dt" sz="half" idx="2"/>
          </p:nvPr>
        </p:nvSpPr>
        <p:spPr>
          <a:xfrm>
            <a:off x="10137663" y="6456258"/>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a:p>
        </p:txBody>
      </p:sp>
      <p:sp>
        <p:nvSpPr>
          <p:cNvPr id="6" name="Slide Number Placeholder 5">
            <a:extLst>
              <a:ext uri="{FF2B5EF4-FFF2-40B4-BE49-F238E27FC236}">
                <a16:creationId xmlns:a16="http://schemas.microsoft.com/office/drawing/2014/main" id="{6410E024-D0BA-4349-981A-F74D8D6124B4}"/>
              </a:ext>
            </a:extLst>
          </p:cNvPr>
          <p:cNvSpPr>
            <a:spLocks noGrp="1"/>
          </p:cNvSpPr>
          <p:nvPr>
            <p:ph type="sldNum" sz="quarter" idx="4"/>
          </p:nvPr>
        </p:nvSpPr>
        <p:spPr>
          <a:xfrm>
            <a:off x="0" y="6456258"/>
            <a:ext cx="407988"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a:t>
            </a:fld>
            <a:endParaRPr lang="en-GB"/>
          </a:p>
        </p:txBody>
      </p:sp>
      <p:sp>
        <p:nvSpPr>
          <p:cNvPr id="20" name="Text Placeholder 30">
            <a:extLst>
              <a:ext uri="{FF2B5EF4-FFF2-40B4-BE49-F238E27FC236}">
                <a16:creationId xmlns:a16="http://schemas.microsoft.com/office/drawing/2014/main" id="{611C7859-08D9-4DAD-BB25-DD22F6761BE3}"/>
              </a:ext>
            </a:extLst>
          </p:cNvPr>
          <p:cNvSpPr txBox="1">
            <a:spLocks/>
          </p:cNvSpPr>
          <p:nvPr/>
        </p:nvSpPr>
        <p:spPr>
          <a:xfrm>
            <a:off x="11597151" y="6303999"/>
            <a:ext cx="294812" cy="355098"/>
          </a:xfrm>
          <a:prstGeom prst="rect">
            <a:avLst/>
          </a:prstGeom>
          <a: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 </a:t>
            </a:r>
          </a:p>
        </p:txBody>
      </p:sp>
      <p:sp>
        <p:nvSpPr>
          <p:cNvPr id="8" name="Text Placeholder 7">
            <a:extLst>
              <a:ext uri="{FF2B5EF4-FFF2-40B4-BE49-F238E27FC236}">
                <a16:creationId xmlns:a16="http://schemas.microsoft.com/office/drawing/2014/main" id="{6E248C0A-0C4B-4F9E-B86F-C76D98029E86}"/>
              </a:ext>
            </a:extLst>
          </p:cNvPr>
          <p:cNvSpPr>
            <a:spLocks noGrp="1"/>
          </p:cNvSpPr>
          <p:nvPr>
            <p:ph type="body" idx="1"/>
          </p:nvPr>
        </p:nvSpPr>
        <p:spPr>
          <a:xfrm>
            <a:off x="407987" y="1557337"/>
            <a:ext cx="11376025" cy="4643437"/>
          </a:xfrm>
          <a:prstGeom prst="rect">
            <a:avLst/>
          </a:prstGeom>
        </p:spPr>
        <p:txBody>
          <a:bodyPr vert="horz" lIns="91440" tIns="45720" rIns="91440" bIns="45720" rtlCol="0">
            <a:noAutofit/>
          </a:body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en-US"/>
              <a:t>Second level</a:t>
            </a:r>
          </a:p>
          <a:p>
            <a:pPr lvl="2"/>
            <a:r>
              <a:rPr lang="en-US"/>
              <a:t>Third level</a:t>
            </a:r>
          </a:p>
          <a:p>
            <a:pPr lvl="3"/>
            <a:r>
              <a:rPr lang="en-US"/>
              <a:t>Fourth level</a:t>
            </a:r>
          </a:p>
          <a:p>
            <a:pPr lvl="4"/>
            <a:r>
              <a:rPr lang="en-US"/>
              <a:t>Fifth level</a:t>
            </a:r>
          </a:p>
        </p:txBody>
      </p:sp>
    </p:spTree>
    <p:custDataLst>
      <p:tags r:id="rId24"/>
    </p:custDataLst>
    <p:extLst>
      <p:ext uri="{BB962C8B-B14F-4D97-AF65-F5344CB8AC3E}">
        <p14:creationId xmlns:p14="http://schemas.microsoft.com/office/powerpoint/2010/main" val="240361327"/>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Lst>
  <p:hf sldNum="0" hdr="0" ftr="0" dt="0"/>
  <p:txStyles>
    <p:titleStyle>
      <a:lvl1pPr algn="l" defTabSz="914400" rtl="0" eaLnBrk="1" latinLnBrk="0" hangingPunct="1">
        <a:lnSpc>
          <a:spcPct val="100000"/>
        </a:lnSpc>
        <a:spcBef>
          <a:spcPct val="0"/>
        </a:spcBef>
        <a:buNone/>
        <a:defRPr sz="24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94892E1-50CB-56D6-CAE1-B7636358EF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ru-RU"/>
          </a:p>
        </p:txBody>
      </p:sp>
      <p:sp>
        <p:nvSpPr>
          <p:cNvPr id="3" name="Text Placeholder 2">
            <a:extLst>
              <a:ext uri="{FF2B5EF4-FFF2-40B4-BE49-F238E27FC236}">
                <a16:creationId xmlns:a16="http://schemas.microsoft.com/office/drawing/2014/main" id="{9E4296B5-042B-5357-2A33-1ACFB0BA911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BEF37D65-B518-1E9E-F64B-283679E1878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850AD25-1AD7-437E-8CB4-A45ADF59C35F}" type="datetimeFigureOut">
              <a:rPr lang="ru-RU" smtClean="0"/>
              <a:t>17.04.2023</a:t>
            </a:fld>
            <a:endParaRPr lang="ru-RU"/>
          </a:p>
        </p:txBody>
      </p:sp>
      <p:sp>
        <p:nvSpPr>
          <p:cNvPr id="5" name="Footer Placeholder 4">
            <a:extLst>
              <a:ext uri="{FF2B5EF4-FFF2-40B4-BE49-F238E27FC236}">
                <a16:creationId xmlns:a16="http://schemas.microsoft.com/office/drawing/2014/main" id="{0A441685-17D2-ED43-AC31-5A2906C38C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Slide Number Placeholder 5">
            <a:extLst>
              <a:ext uri="{FF2B5EF4-FFF2-40B4-BE49-F238E27FC236}">
                <a16:creationId xmlns:a16="http://schemas.microsoft.com/office/drawing/2014/main" id="{121DC994-BB54-0A7A-FB49-7887D07712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C3695F-575D-43A7-B058-9C70EC286A19}" type="slidenum">
              <a:rPr lang="ru-RU" smtClean="0"/>
              <a:t>‹#›</a:t>
            </a:fld>
            <a:endParaRPr lang="ru-RU"/>
          </a:p>
        </p:txBody>
      </p:sp>
    </p:spTree>
    <p:extLst>
      <p:ext uri="{BB962C8B-B14F-4D97-AF65-F5344CB8AC3E}">
        <p14:creationId xmlns:p14="http://schemas.microsoft.com/office/powerpoint/2010/main" val="1735185680"/>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pPr rtl="0"/>
            <a:r>
              <a:rPr lang="ru"/>
              <a:t>Click to enter title here</a:t>
            </a:r>
            <a:endParaRPr lang="en-GB" dirty="0"/>
          </a:p>
        </p:txBody>
      </p:sp>
      <p:sp>
        <p:nvSpPr>
          <p:cNvPr id="4" name="Date Placeholder 3">
            <a:extLst>
              <a:ext uri="{FF2B5EF4-FFF2-40B4-BE49-F238E27FC236}">
                <a16:creationId xmlns:a16="http://schemas.microsoft.com/office/drawing/2014/main" id="{FD78F6B2-FAF9-4D08-B8BD-F2646AEF396C}"/>
              </a:ext>
            </a:extLst>
          </p:cNvPr>
          <p:cNvSpPr>
            <a:spLocks noGrp="1"/>
          </p:cNvSpPr>
          <p:nvPr>
            <p:ph type="dt" sz="half" idx="2"/>
          </p:nvPr>
        </p:nvSpPr>
        <p:spPr>
          <a:xfrm>
            <a:off x="10137663" y="6456258"/>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pPr rtl="0"/>
            <a:endParaRPr lang="en-GB" dirty="0"/>
          </a:p>
        </p:txBody>
      </p:sp>
      <p:sp>
        <p:nvSpPr>
          <p:cNvPr id="6" name="Slide Number Placeholder 5">
            <a:extLst>
              <a:ext uri="{FF2B5EF4-FFF2-40B4-BE49-F238E27FC236}">
                <a16:creationId xmlns:a16="http://schemas.microsoft.com/office/drawing/2014/main" id="{6410E024-D0BA-4349-981A-F74D8D6124B4}"/>
              </a:ext>
            </a:extLst>
          </p:cNvPr>
          <p:cNvSpPr>
            <a:spLocks noGrp="1"/>
          </p:cNvSpPr>
          <p:nvPr>
            <p:ph type="sldNum" sz="quarter" idx="4"/>
          </p:nvPr>
        </p:nvSpPr>
        <p:spPr>
          <a:xfrm>
            <a:off x="0" y="6456258"/>
            <a:ext cx="407988"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pPr rtl="0"/>
            <a:fld id="{F8E47D07-9D1E-4FE9-B31A-2F5863681021}" type="slidenum">
              <a:rPr lang="en-GB" smtClean="0"/>
              <a:pPr/>
              <a:t>‹#›</a:t>
            </a:fld>
            <a:endParaRPr lang="en-GB" dirty="0"/>
          </a:p>
        </p:txBody>
      </p:sp>
      <p:sp>
        <p:nvSpPr>
          <p:cNvPr id="20" name="Text Placeholder 30">
            <a:extLst>
              <a:ext uri="{FF2B5EF4-FFF2-40B4-BE49-F238E27FC236}">
                <a16:creationId xmlns:a16="http://schemas.microsoft.com/office/drawing/2014/main" id="{611C7859-08D9-4DAD-BB25-DD22F6761BE3}"/>
              </a:ext>
            </a:extLst>
          </p:cNvPr>
          <p:cNvSpPr txBox="1">
            <a:spLocks/>
          </p:cNvSpPr>
          <p:nvPr/>
        </p:nvSpPr>
        <p:spPr>
          <a:xfrm>
            <a:off x="11597151" y="6303999"/>
            <a:ext cx="294812" cy="355098"/>
          </a:xfrm>
          <a:prstGeom prst="rect">
            <a:avLst/>
          </a:prstGeom>
          <a: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a:blipFill>
        </p:spPr>
        <p:txBody>
          <a:bodyPr rtlCol="0"/>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r>
              <a:rPr lang="ru"/>
              <a:t> </a:t>
            </a:r>
          </a:p>
        </p:txBody>
      </p:sp>
      <p:sp>
        <p:nvSpPr>
          <p:cNvPr id="8" name="Text Placeholder 7">
            <a:extLst>
              <a:ext uri="{FF2B5EF4-FFF2-40B4-BE49-F238E27FC236}">
                <a16:creationId xmlns:a16="http://schemas.microsoft.com/office/drawing/2014/main" id="{6E248C0A-0C4B-4F9E-B86F-C76D98029E86}"/>
              </a:ext>
            </a:extLst>
          </p:cNvPr>
          <p:cNvSpPr>
            <a:spLocks noGrp="1"/>
          </p:cNvSpPr>
          <p:nvPr>
            <p:ph type="body" idx="1"/>
          </p:nvPr>
        </p:nvSpPr>
        <p:spPr>
          <a:xfrm>
            <a:off x="407987" y="1557337"/>
            <a:ext cx="11376025" cy="4643437"/>
          </a:xfrm>
          <a:prstGeom prst="rect">
            <a:avLst/>
          </a:prstGeom>
        </p:spPr>
        <p:txBody>
          <a:bodyPr vert="horz" lIns="91440" tIns="45720" rIns="91440" bIns="45720" rtlCol="0">
            <a:noAutofit/>
          </a:bodyPr>
          <a:lstStyle/>
          <a:p>
            <a:pPr lvl="0" rtl="0"/>
            <a:r>
              <a:rPr lang="ru"/>
              <a:t>Click to add text here. </a:t>
            </a:r>
            <a:br>
              <a:rPr lang="en-US"/>
            </a:br>
            <a:r>
              <a:rPr lang="ru"/>
              <a:t>When pasting copy from other slides, be sure to right-click and choose ‘Keep text only’. </a:t>
            </a:r>
            <a:br>
              <a:rPr lang="en-US"/>
            </a:br>
            <a:r>
              <a:rPr lang="ru"/>
              <a:t>To increase bullet level, select your text and press Tab.</a:t>
            </a:r>
            <a:br>
              <a:rPr lang="en-US"/>
            </a:br>
            <a:r>
              <a:rPr lang="ru"/>
              <a:t>To decrease bullet level, select your bullet text and press Shift + Tab.</a:t>
            </a:r>
          </a:p>
          <a:p>
            <a:pPr marL="576000" marR="0" lvl="1" indent="-288000" algn="l" defTabSz="914400" rtl="0" eaLnBrk="1" fontAlgn="auto" latinLnBrk="0" hangingPunct="1">
              <a:lnSpc>
                <a:spcPct val="90000"/>
              </a:lnSpc>
              <a:spcBef>
                <a:spcPts val="0"/>
              </a:spcBef>
              <a:spcAft>
                <a:spcPts val="800"/>
              </a:spcAft>
              <a:buClrTx/>
              <a:buSzPct val="100000"/>
              <a:buFont typeface="Arial" panose="020B0604020202020204" pitchFamily="34" charset="0"/>
              <a:buChar char="•"/>
              <a:tabLst/>
            </a:pPr>
            <a:r>
              <a:rPr lang="ru"/>
              <a:t>Second level</a:t>
            </a:r>
          </a:p>
          <a:p>
            <a:pPr lvl="2" rtl="0"/>
            <a:r>
              <a:rPr lang="ru"/>
              <a:t>Third level</a:t>
            </a:r>
          </a:p>
          <a:p>
            <a:pPr lvl="3" rtl="0"/>
            <a:r>
              <a:rPr lang="ru"/>
              <a:t>Fourth level</a:t>
            </a:r>
          </a:p>
          <a:p>
            <a:pPr lvl="4" rtl="0"/>
            <a:r>
              <a:rPr lang="ru"/>
              <a:t>Fifth level</a:t>
            </a:r>
          </a:p>
        </p:txBody>
      </p:sp>
    </p:spTree>
    <p:custDataLst>
      <p:tags r:id="rId24"/>
    </p:custDataLst>
    <p:extLst>
      <p:ext uri="{BB962C8B-B14F-4D97-AF65-F5344CB8AC3E}">
        <p14:creationId xmlns:p14="http://schemas.microsoft.com/office/powerpoint/2010/main" val="1701168312"/>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Lst>
  <p:hf sldNum="0" hdr="0" ftr="0" dt="0"/>
  <p:txStyles>
    <p:titleStyle>
      <a:lvl1pPr algn="l" defTabSz="914400" rtl="0" eaLnBrk="1" latinLnBrk="0" hangingPunct="1">
        <a:lnSpc>
          <a:spcPct val="100000"/>
        </a:lnSpc>
        <a:spcBef>
          <a:spcPct val="0"/>
        </a:spcBef>
        <a:buNone/>
        <a:defRPr sz="24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419102" y="161841"/>
            <a:ext cx="10672383" cy="884728"/>
          </a:xfrm>
          <a:prstGeom prst="rect">
            <a:avLst/>
          </a:prstGeom>
          <a:noFill/>
          <a:ln w="9525">
            <a:noFill/>
            <a:miter lim="800000"/>
            <a:headEnd/>
            <a:tailEnd/>
          </a:ln>
        </p:spPr>
        <p:txBody>
          <a:bodyPr vert="horz" wrap="square" lIns="68580" tIns="34290" rIns="68580" bIns="34290" numCol="1" anchor="ctr" anchorCtr="0" compatLnSpc="1">
            <a:prstTxWarp prst="textNoShape">
              <a:avLst/>
            </a:prstTxWarp>
          </a:bodyPr>
          <a:lstStyle/>
          <a:p>
            <a:pPr lvl="0"/>
            <a:r>
              <a:rPr lang="en-GB" dirty="0"/>
              <a:t>Click to edit Master title style</a:t>
            </a:r>
          </a:p>
        </p:txBody>
      </p:sp>
      <p:sp>
        <p:nvSpPr>
          <p:cNvPr id="2" name="Text Placeholder 1"/>
          <p:cNvSpPr>
            <a:spLocks noGrp="1"/>
          </p:cNvSpPr>
          <p:nvPr>
            <p:ph type="body" idx="1"/>
          </p:nvPr>
        </p:nvSpPr>
        <p:spPr>
          <a:xfrm>
            <a:off x="427939" y="1677892"/>
            <a:ext cx="11211613" cy="4438649"/>
          </a:xfrm>
          <a:prstGeom prst="rect">
            <a:avLst/>
          </a:prstGeom>
        </p:spPr>
        <p:txBody>
          <a:bodyPr vert="horz" lIns="91440" tIns="45720" rIns="91440" bIns="45720" rtlCol="0">
            <a:normAutofit/>
          </a:bodyPr>
          <a:lstStyle/>
          <a:p>
            <a:pPr lvl="1"/>
            <a:r>
              <a:rPr lang="en-US" dirty="0"/>
              <a:t>Second level</a:t>
            </a:r>
          </a:p>
          <a:p>
            <a:pPr lvl="2"/>
            <a:r>
              <a:rPr lang="en-US" dirty="0"/>
              <a:t>Third level</a:t>
            </a:r>
          </a:p>
          <a:p>
            <a:pPr lvl="3"/>
            <a:r>
              <a:rPr lang="en-US" dirty="0"/>
              <a:t>Fourth level</a:t>
            </a:r>
          </a:p>
        </p:txBody>
      </p:sp>
      <p:sp>
        <p:nvSpPr>
          <p:cNvPr id="5" name="Slide Number Placeholder 4"/>
          <p:cNvSpPr>
            <a:spLocks noGrp="1"/>
          </p:cNvSpPr>
          <p:nvPr>
            <p:ph type="sldNum" sz="quarter" idx="4"/>
          </p:nvPr>
        </p:nvSpPr>
        <p:spPr>
          <a:xfrm>
            <a:off x="11350643" y="6491819"/>
            <a:ext cx="84135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dirty="0"/>
          </a:p>
        </p:txBody>
      </p:sp>
      <p:sp>
        <p:nvSpPr>
          <p:cNvPr id="4" name="Footer Placeholder 3">
            <a:extLst>
              <a:ext uri="{FF2B5EF4-FFF2-40B4-BE49-F238E27FC236}">
                <a16:creationId xmlns:a16="http://schemas.microsoft.com/office/drawing/2014/main" id="{381D223D-16B8-F743-8AC4-CEBE569430DB}"/>
              </a:ext>
            </a:extLst>
          </p:cNvPr>
          <p:cNvSpPr>
            <a:spLocks noGrp="1"/>
          </p:cNvSpPr>
          <p:nvPr>
            <p:ph type="ftr" sz="quarter" idx="3"/>
          </p:nvPr>
        </p:nvSpPr>
        <p:spPr>
          <a:xfrm>
            <a:off x="11290" y="6205995"/>
            <a:ext cx="10222663" cy="640716"/>
          </a:xfrm>
          <a:prstGeom prst="rect">
            <a:avLst/>
          </a:prstGeom>
        </p:spPr>
        <p:txBody>
          <a:bodyPr vert="horz" lIns="91440" tIns="45720" rIns="91440" bIns="45720" rtlCol="0" anchor="b"/>
          <a:lstStyle>
            <a:lvl1pPr algn="l">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24283440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7" r:id="rId17"/>
    <p:sldLayoutId id="2147483802" r:id="rId18"/>
    <p:sldLayoutId id="2147483808" r:id="rId19"/>
    <p:sldLayoutId id="2147483809" r:id="rId20"/>
  </p:sldLayoutIdLst>
  <p:hf sldNum="0" hdr="0" dt="0"/>
  <p:txStyles>
    <p:titleStyle>
      <a:lvl1pPr algn="l" rtl="0" eaLnBrk="1" fontAlgn="base" hangingPunct="1">
        <a:spcBef>
          <a:spcPct val="0"/>
        </a:spcBef>
        <a:spcAft>
          <a:spcPct val="0"/>
        </a:spcAft>
        <a:defRPr sz="2667" b="1">
          <a:solidFill>
            <a:schemeClr val="accent3"/>
          </a:solidFill>
          <a:latin typeface="+mj-lt"/>
          <a:ea typeface="+mj-ea"/>
          <a:cs typeface="+mj-cs"/>
        </a:defRPr>
      </a:lvl1pPr>
      <a:lvl2pPr algn="l" rtl="0" eaLnBrk="1" fontAlgn="base" hangingPunct="1">
        <a:spcBef>
          <a:spcPct val="0"/>
        </a:spcBef>
        <a:spcAft>
          <a:spcPct val="0"/>
        </a:spcAft>
        <a:defRPr sz="2800" b="1">
          <a:solidFill>
            <a:schemeClr val="tx2"/>
          </a:solidFill>
          <a:latin typeface="Arial" charset="0"/>
        </a:defRPr>
      </a:lvl2pPr>
      <a:lvl3pPr algn="l" rtl="0" eaLnBrk="1" fontAlgn="base" hangingPunct="1">
        <a:spcBef>
          <a:spcPct val="0"/>
        </a:spcBef>
        <a:spcAft>
          <a:spcPct val="0"/>
        </a:spcAft>
        <a:defRPr sz="2800" b="1">
          <a:solidFill>
            <a:schemeClr val="tx2"/>
          </a:solidFill>
          <a:latin typeface="Arial" charset="0"/>
        </a:defRPr>
      </a:lvl3pPr>
      <a:lvl4pPr algn="l" rtl="0" eaLnBrk="1" fontAlgn="base" hangingPunct="1">
        <a:spcBef>
          <a:spcPct val="0"/>
        </a:spcBef>
        <a:spcAft>
          <a:spcPct val="0"/>
        </a:spcAft>
        <a:defRPr sz="2800" b="1">
          <a:solidFill>
            <a:schemeClr val="tx2"/>
          </a:solidFill>
          <a:latin typeface="Arial" charset="0"/>
        </a:defRPr>
      </a:lvl4pPr>
      <a:lvl5pPr algn="l" rtl="0" eaLnBrk="1" fontAlgn="base" hangingPunct="1">
        <a:spcBef>
          <a:spcPct val="0"/>
        </a:spcBef>
        <a:spcAft>
          <a:spcPct val="0"/>
        </a:spcAft>
        <a:defRPr sz="2800" b="1">
          <a:solidFill>
            <a:schemeClr val="tx2"/>
          </a:solidFill>
          <a:latin typeface="Arial" charset="0"/>
        </a:defRPr>
      </a:lvl5pPr>
      <a:lvl6pPr marL="457178" algn="l" rtl="0" eaLnBrk="1" fontAlgn="base" hangingPunct="1">
        <a:spcBef>
          <a:spcPct val="0"/>
        </a:spcBef>
        <a:spcAft>
          <a:spcPct val="0"/>
        </a:spcAft>
        <a:defRPr sz="2800" b="1">
          <a:solidFill>
            <a:schemeClr val="tx2"/>
          </a:solidFill>
          <a:latin typeface="Arial" charset="0"/>
        </a:defRPr>
      </a:lvl6pPr>
      <a:lvl7pPr marL="914354" algn="l" rtl="0" eaLnBrk="1" fontAlgn="base" hangingPunct="1">
        <a:spcBef>
          <a:spcPct val="0"/>
        </a:spcBef>
        <a:spcAft>
          <a:spcPct val="0"/>
        </a:spcAft>
        <a:defRPr sz="2800" b="1">
          <a:solidFill>
            <a:schemeClr val="tx2"/>
          </a:solidFill>
          <a:latin typeface="Arial" charset="0"/>
        </a:defRPr>
      </a:lvl7pPr>
      <a:lvl8pPr marL="1371532" algn="l" rtl="0" eaLnBrk="1" fontAlgn="base" hangingPunct="1">
        <a:spcBef>
          <a:spcPct val="0"/>
        </a:spcBef>
        <a:spcAft>
          <a:spcPct val="0"/>
        </a:spcAft>
        <a:defRPr sz="2800" b="1">
          <a:solidFill>
            <a:schemeClr val="tx2"/>
          </a:solidFill>
          <a:latin typeface="Arial" charset="0"/>
        </a:defRPr>
      </a:lvl8pPr>
      <a:lvl9pPr marL="1828709" algn="l" rtl="0" eaLnBrk="1" fontAlgn="base" hangingPunct="1">
        <a:spcBef>
          <a:spcPct val="0"/>
        </a:spcBef>
        <a:spcAft>
          <a:spcPct val="0"/>
        </a:spcAft>
        <a:defRPr sz="2800" b="1">
          <a:solidFill>
            <a:schemeClr val="tx2"/>
          </a:solidFill>
          <a:latin typeface="Arial" charset="0"/>
        </a:defRPr>
      </a:lvl9pPr>
    </p:titleStyle>
    <p:bodyStyle>
      <a:lvl1pPr marL="342882" marR="0" indent="-342882" algn="l" defTabSz="1219140" rtl="0" eaLnBrk="1" fontAlgn="base" latinLnBrk="0" hangingPunct="1">
        <a:lnSpc>
          <a:spcPct val="100000"/>
        </a:lnSpc>
        <a:spcBef>
          <a:spcPct val="0"/>
        </a:spcBef>
        <a:spcAft>
          <a:spcPts val="400"/>
        </a:spcAft>
        <a:buClr>
          <a:srgbClr val="7AB800"/>
        </a:buClr>
        <a:buSzTx/>
        <a:buFontTx/>
        <a:buNone/>
        <a:tabLst/>
        <a:defRPr sz="1867" b="1">
          <a:solidFill>
            <a:srgbClr val="000000"/>
          </a:solidFill>
          <a:latin typeface="+mn-lt"/>
          <a:ea typeface="+mn-ea"/>
          <a:cs typeface="+mn-cs"/>
        </a:defRPr>
      </a:lvl1pPr>
      <a:lvl2pPr marL="241289" indent="-239173" algn="l" rtl="0" eaLnBrk="1" fontAlgn="base" hangingPunct="1">
        <a:lnSpc>
          <a:spcPct val="100000"/>
        </a:lnSpc>
        <a:spcBef>
          <a:spcPct val="0"/>
        </a:spcBef>
        <a:spcAft>
          <a:spcPts val="400"/>
        </a:spcAft>
        <a:buClr>
          <a:srgbClr val="4B306A"/>
        </a:buClr>
        <a:buFont typeface="Arial" panose="020B0604020202020204" pitchFamily="34" charset="0"/>
        <a:buChar char="•"/>
        <a:defRPr sz="2133" b="0">
          <a:solidFill>
            <a:schemeClr val="tx1"/>
          </a:solidFill>
          <a:latin typeface="+mn-lt"/>
        </a:defRPr>
      </a:lvl2pPr>
      <a:lvl3pPr marL="673066" indent="-186258" algn="l" rtl="0" eaLnBrk="1" fontAlgn="base" hangingPunct="1">
        <a:lnSpc>
          <a:spcPct val="100000"/>
        </a:lnSpc>
        <a:spcBef>
          <a:spcPct val="0"/>
        </a:spcBef>
        <a:spcAft>
          <a:spcPts val="400"/>
        </a:spcAft>
        <a:buClr>
          <a:srgbClr val="4B306A"/>
        </a:buClr>
        <a:buSzPct val="75000"/>
        <a:buFont typeface="Arial" pitchFamily="34" charset="0"/>
        <a:buChar char="–"/>
        <a:defRPr sz="1867">
          <a:solidFill>
            <a:schemeClr val="tx1"/>
          </a:solidFill>
          <a:latin typeface="+mn-lt"/>
        </a:defRPr>
      </a:lvl3pPr>
      <a:lvl4pPr marL="954569" indent="-171442" algn="l" rtl="0" eaLnBrk="1" fontAlgn="base" hangingPunct="1">
        <a:lnSpc>
          <a:spcPct val="100000"/>
        </a:lnSpc>
        <a:spcBef>
          <a:spcPct val="0"/>
        </a:spcBef>
        <a:spcAft>
          <a:spcPts val="400"/>
        </a:spcAft>
        <a:buClr>
          <a:srgbClr val="4B306A"/>
        </a:buClr>
        <a:buSzPct val="100000"/>
        <a:buChar char="•"/>
        <a:defRPr sz="1600">
          <a:solidFill>
            <a:schemeClr val="tx1"/>
          </a:solidFill>
          <a:latin typeface="+mn-lt"/>
        </a:defRPr>
      </a:lvl4pPr>
      <a:lvl5pPr marL="1435028" indent="-175676" algn="l" rtl="0" eaLnBrk="1" fontAlgn="base" hangingPunct="1">
        <a:lnSpc>
          <a:spcPct val="100000"/>
        </a:lnSpc>
        <a:spcBef>
          <a:spcPct val="0"/>
        </a:spcBef>
        <a:spcAft>
          <a:spcPct val="0"/>
        </a:spcAft>
        <a:buClr>
          <a:srgbClr val="7AB800"/>
        </a:buClr>
        <a:buChar char="•"/>
        <a:defRPr sz="1467">
          <a:solidFill>
            <a:schemeClr val="tx1"/>
          </a:solidFill>
          <a:latin typeface="+mn-lt"/>
        </a:defRPr>
      </a:lvl5pPr>
      <a:lvl6pPr marL="1620758" indent="-176205" algn="l" rtl="0" eaLnBrk="1" fontAlgn="base" hangingPunct="1">
        <a:spcBef>
          <a:spcPct val="0"/>
        </a:spcBef>
        <a:spcAft>
          <a:spcPct val="0"/>
        </a:spcAft>
        <a:buChar char="•"/>
        <a:defRPr sz="1467">
          <a:solidFill>
            <a:schemeClr val="tx1"/>
          </a:solidFill>
          <a:latin typeface="+mn-lt"/>
        </a:defRPr>
      </a:lvl6pPr>
      <a:lvl7pPr marL="2077935" indent="-176205" algn="l" rtl="0" eaLnBrk="1" fontAlgn="base" hangingPunct="1">
        <a:spcBef>
          <a:spcPct val="0"/>
        </a:spcBef>
        <a:spcAft>
          <a:spcPct val="0"/>
        </a:spcAft>
        <a:buChar char="•"/>
        <a:defRPr sz="1467">
          <a:solidFill>
            <a:schemeClr val="tx1"/>
          </a:solidFill>
          <a:latin typeface="+mn-lt"/>
        </a:defRPr>
      </a:lvl7pPr>
      <a:lvl8pPr marL="2535111" indent="-176205" algn="l" rtl="0" eaLnBrk="1" fontAlgn="base" hangingPunct="1">
        <a:spcBef>
          <a:spcPct val="0"/>
        </a:spcBef>
        <a:spcAft>
          <a:spcPct val="0"/>
        </a:spcAft>
        <a:buChar char="•"/>
        <a:defRPr sz="1467">
          <a:solidFill>
            <a:schemeClr val="tx1"/>
          </a:solidFill>
          <a:latin typeface="+mn-lt"/>
        </a:defRPr>
      </a:lvl8pPr>
      <a:lvl9pPr marL="2992289" indent="-176205" algn="l" rtl="0" eaLnBrk="1" fontAlgn="base" hangingPunct="1">
        <a:spcBef>
          <a:spcPct val="0"/>
        </a:spcBef>
        <a:spcAft>
          <a:spcPct val="0"/>
        </a:spcAft>
        <a:buChar char="•"/>
        <a:defRPr sz="1467">
          <a:solidFill>
            <a:schemeClr val="tx1"/>
          </a:solidFill>
          <a:latin typeface="+mn-lt"/>
        </a:defRPr>
      </a:lvl9pPr>
    </p:bodyStyle>
    <p:otherStyle>
      <a:defPPr>
        <a:defRPr lang="en-US"/>
      </a:defPPr>
      <a:lvl1pPr marL="0" algn="l" defTabSz="914354" rtl="0" eaLnBrk="1" latinLnBrk="0" hangingPunct="1">
        <a:defRPr sz="1867" kern="1200">
          <a:solidFill>
            <a:schemeClr val="tx1"/>
          </a:solidFill>
          <a:latin typeface="+mn-lt"/>
          <a:ea typeface="+mn-ea"/>
          <a:cs typeface="+mn-cs"/>
        </a:defRPr>
      </a:lvl1pPr>
      <a:lvl2pPr marL="457178" algn="l" defTabSz="914354" rtl="0" eaLnBrk="1" latinLnBrk="0" hangingPunct="1">
        <a:defRPr sz="1867" kern="1200">
          <a:solidFill>
            <a:schemeClr val="tx1"/>
          </a:solidFill>
          <a:latin typeface="+mn-lt"/>
          <a:ea typeface="+mn-ea"/>
          <a:cs typeface="+mn-cs"/>
        </a:defRPr>
      </a:lvl2pPr>
      <a:lvl3pPr marL="914354" algn="l" defTabSz="914354" rtl="0" eaLnBrk="1" latinLnBrk="0" hangingPunct="1">
        <a:defRPr sz="1867" kern="1200">
          <a:solidFill>
            <a:schemeClr val="tx1"/>
          </a:solidFill>
          <a:latin typeface="+mn-lt"/>
          <a:ea typeface="+mn-ea"/>
          <a:cs typeface="+mn-cs"/>
        </a:defRPr>
      </a:lvl3pPr>
      <a:lvl4pPr marL="1371532" algn="l" defTabSz="914354" rtl="0" eaLnBrk="1" latinLnBrk="0" hangingPunct="1">
        <a:defRPr sz="1867" kern="1200">
          <a:solidFill>
            <a:schemeClr val="tx1"/>
          </a:solidFill>
          <a:latin typeface="+mn-lt"/>
          <a:ea typeface="+mn-ea"/>
          <a:cs typeface="+mn-cs"/>
        </a:defRPr>
      </a:lvl4pPr>
      <a:lvl5pPr marL="1828709" algn="l" defTabSz="914354" rtl="0" eaLnBrk="1" latinLnBrk="0" hangingPunct="1">
        <a:defRPr sz="1867" kern="1200">
          <a:solidFill>
            <a:schemeClr val="tx1"/>
          </a:solidFill>
          <a:latin typeface="+mn-lt"/>
          <a:ea typeface="+mn-ea"/>
          <a:cs typeface="+mn-cs"/>
        </a:defRPr>
      </a:lvl5pPr>
      <a:lvl6pPr marL="2285886" algn="l" defTabSz="914354" rtl="0" eaLnBrk="1" latinLnBrk="0" hangingPunct="1">
        <a:defRPr sz="1867" kern="1200">
          <a:solidFill>
            <a:schemeClr val="tx1"/>
          </a:solidFill>
          <a:latin typeface="+mn-lt"/>
          <a:ea typeface="+mn-ea"/>
          <a:cs typeface="+mn-cs"/>
        </a:defRPr>
      </a:lvl6pPr>
      <a:lvl7pPr marL="2743062" algn="l" defTabSz="914354" rtl="0" eaLnBrk="1" latinLnBrk="0" hangingPunct="1">
        <a:defRPr sz="1867" kern="1200">
          <a:solidFill>
            <a:schemeClr val="tx1"/>
          </a:solidFill>
          <a:latin typeface="+mn-lt"/>
          <a:ea typeface="+mn-ea"/>
          <a:cs typeface="+mn-cs"/>
        </a:defRPr>
      </a:lvl7pPr>
      <a:lvl8pPr marL="3200240" algn="l" defTabSz="914354" rtl="0" eaLnBrk="1" latinLnBrk="0" hangingPunct="1">
        <a:defRPr sz="1867" kern="1200">
          <a:solidFill>
            <a:schemeClr val="tx1"/>
          </a:solidFill>
          <a:latin typeface="+mn-lt"/>
          <a:ea typeface="+mn-ea"/>
          <a:cs typeface="+mn-cs"/>
        </a:defRPr>
      </a:lvl8pPr>
      <a:lvl9pPr marL="3657418" algn="l" defTabSz="914354" rtl="0" eaLnBrk="1" latinLnBrk="0" hangingPunct="1">
        <a:defRPr sz="18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27.xml"/><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32.xml"/><Relationship Id="rId4" Type="http://schemas.openxmlformats.org/officeDocument/2006/relationships/image" Target="../media/image33.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2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32.xml"/><Relationship Id="rId4" Type="http://schemas.openxmlformats.org/officeDocument/2006/relationships/chart" Target="../charts/chart2.xml"/></Relationships>
</file>

<file path=ppt/slides/_rels/slide3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1.xml"/><Relationship Id="rId1" Type="http://schemas.openxmlformats.org/officeDocument/2006/relationships/slideLayout" Target="../slideLayouts/slideLayout67.xml"/><Relationship Id="rId4" Type="http://schemas.openxmlformats.org/officeDocument/2006/relationships/chart" Target="../charts/char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5.xml"/><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6.xml"/><Relationship Id="rId1" Type="http://schemas.openxmlformats.org/officeDocument/2006/relationships/slideLayout" Target="../slideLayouts/slideLayout27.xml"/><Relationship Id="rId4" Type="http://schemas.openxmlformats.org/officeDocument/2006/relationships/image" Target="../media/image47.png"/></Relationships>
</file>

<file path=ppt/slides/_rels/slide3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7.xml"/><Relationship Id="rId1" Type="http://schemas.openxmlformats.org/officeDocument/2006/relationships/slideLayout" Target="../slideLayouts/slideLayout30.xml"/><Relationship Id="rId4" Type="http://schemas.openxmlformats.org/officeDocument/2006/relationships/chart" Target="../charts/char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04.xml"/></Relationships>
</file>

<file path=ppt/slides/_rels/slide39.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emf"/><Relationship Id="rId1" Type="http://schemas.openxmlformats.org/officeDocument/2006/relationships/slideLayout" Target="../slideLayouts/slideLayout104.xml"/><Relationship Id="rId4" Type="http://schemas.openxmlformats.org/officeDocument/2006/relationships/image" Target="../media/image51.png"/></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4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4D380E3-5EB4-A919-8B6A-C8A7BFAAF057}"/>
              </a:ext>
            </a:extLst>
          </p:cNvPr>
          <p:cNvSpPr>
            <a:spLocks noGrp="1"/>
          </p:cNvSpPr>
          <p:nvPr>
            <p:ph type="body" sz="quarter" idx="10"/>
          </p:nvPr>
        </p:nvSpPr>
        <p:spPr>
          <a:xfrm>
            <a:off x="320842" y="3553255"/>
            <a:ext cx="6737684" cy="2414407"/>
          </a:xfrm>
        </p:spPr>
        <p:txBody>
          <a:bodyPr>
            <a:normAutofit/>
          </a:bodyPr>
          <a:lstStyle/>
          <a:p>
            <a:pPr algn="ctr"/>
            <a:r>
              <a:rPr lang="ru-RU" sz="2000" b="1" i="0" dirty="0" err="1">
                <a:solidFill>
                  <a:srgbClr val="0F0A0A"/>
                </a:solidFill>
                <a:latin typeface="Montserrat" panose="00000500000000000000" pitchFamily="2" charset="-52"/>
              </a:rPr>
              <a:t>Карнаух</a:t>
            </a:r>
            <a:r>
              <a:rPr lang="ru-RU" sz="2000" b="1" i="0" dirty="0">
                <a:solidFill>
                  <a:srgbClr val="0F0A0A"/>
                </a:solidFill>
                <a:latin typeface="Montserrat" panose="00000500000000000000" pitchFamily="2" charset="-52"/>
              </a:rPr>
              <a:t> Петр Алексеевич</a:t>
            </a:r>
          </a:p>
          <a:p>
            <a:pPr algn="ctr"/>
            <a:r>
              <a:rPr lang="ru-RU" sz="2000" b="1" i="0" dirty="0">
                <a:solidFill>
                  <a:srgbClr val="0F0A0A"/>
                </a:solidFill>
                <a:latin typeface="Montserrat" panose="00000500000000000000" pitchFamily="2" charset="-52"/>
              </a:rPr>
              <a:t> Д.М.Н., заведующий отделением онкологическим урологическим ГАУЗ «ЧОКЦО и ЯМ»</a:t>
            </a:r>
          </a:p>
          <a:p>
            <a:pPr algn="ctr"/>
            <a:endParaRPr lang="ru-RU" dirty="0"/>
          </a:p>
        </p:txBody>
      </p:sp>
      <p:sp>
        <p:nvSpPr>
          <p:cNvPr id="3" name="Text Placeholder 2">
            <a:extLst>
              <a:ext uri="{FF2B5EF4-FFF2-40B4-BE49-F238E27FC236}">
                <a16:creationId xmlns:a16="http://schemas.microsoft.com/office/drawing/2014/main" id="{A40FD456-EC04-C541-8628-71FD243DBD1B}"/>
              </a:ext>
            </a:extLst>
          </p:cNvPr>
          <p:cNvSpPr>
            <a:spLocks noGrp="1"/>
          </p:cNvSpPr>
          <p:nvPr>
            <p:ph type="body" sz="quarter" idx="11"/>
          </p:nvPr>
        </p:nvSpPr>
        <p:spPr>
          <a:xfrm>
            <a:off x="176464" y="1607419"/>
            <a:ext cx="7283116" cy="1800000"/>
          </a:xfrm>
        </p:spPr>
        <p:txBody>
          <a:bodyPr>
            <a:normAutofit fontScale="62500" lnSpcReduction="20000"/>
          </a:bodyPr>
          <a:lstStyle/>
          <a:p>
            <a:pPr algn="ctr"/>
            <a:r>
              <a:rPr lang="ru-RU" sz="4800" b="1" i="0" dirty="0">
                <a:effectLst/>
                <a:latin typeface="Montserrat" panose="00000500000000000000" pitchFamily="2" charset="-52"/>
              </a:rPr>
              <a:t>Современные возможности комбинированной терапии 1-й линии  метастатического </a:t>
            </a:r>
            <a:r>
              <a:rPr lang="ru-RU" sz="4800" b="1" i="0" dirty="0" err="1">
                <a:effectLst/>
                <a:latin typeface="Montserrat" panose="00000500000000000000" pitchFamily="2" charset="-52"/>
              </a:rPr>
              <a:t>кастрационно</a:t>
            </a:r>
            <a:r>
              <a:rPr lang="ru-RU" sz="4800" b="1" i="0" dirty="0">
                <a:effectLst/>
                <a:latin typeface="Montserrat" panose="00000500000000000000" pitchFamily="2" charset="-52"/>
              </a:rPr>
              <a:t>-резистентного рака предстательной железы</a:t>
            </a:r>
            <a:endParaRPr lang="ru-RU" dirty="0"/>
          </a:p>
        </p:txBody>
      </p:sp>
      <p:sp>
        <p:nvSpPr>
          <p:cNvPr id="4" name="Rectangle 3">
            <a:extLst>
              <a:ext uri="{FF2B5EF4-FFF2-40B4-BE49-F238E27FC236}">
                <a16:creationId xmlns:a16="http://schemas.microsoft.com/office/drawing/2014/main" id="{7F1D4EAF-F879-02A8-5B71-55B51D6252F7}"/>
              </a:ext>
            </a:extLst>
          </p:cNvPr>
          <p:cNvSpPr/>
          <p:nvPr/>
        </p:nvSpPr>
        <p:spPr>
          <a:xfrm>
            <a:off x="0" y="5967661"/>
            <a:ext cx="6503805" cy="646331"/>
          </a:xfrm>
          <a:prstGeom prst="rect">
            <a:avLst/>
          </a:prstGeom>
          <a:noFill/>
          <a:ln>
            <a:noFill/>
          </a:ln>
        </p:spPr>
        <p:txBody>
          <a:bodyPr wrap="square">
            <a:spAutoFit/>
          </a:bodyPr>
          <a:lstStyle/>
          <a:p>
            <a:pPr algn="ctr" defTabSz="609585"/>
            <a:r>
              <a:rPr lang="ru-RU" sz="1200" dirty="0">
                <a:solidFill>
                  <a:srgbClr val="3F4444"/>
                </a:solidFill>
                <a:latin typeface="Arial"/>
              </a:rPr>
              <a:t>Лекция при поддержке компании </a:t>
            </a:r>
            <a:r>
              <a:rPr lang="ru-RU" sz="1200" dirty="0" err="1">
                <a:solidFill>
                  <a:srgbClr val="3F4444"/>
                </a:solidFill>
                <a:latin typeface="Arial"/>
              </a:rPr>
              <a:t>АстраЗенека</a:t>
            </a:r>
            <a:endParaRPr lang="ru-RU" sz="1200" dirty="0">
              <a:solidFill>
                <a:srgbClr val="3F4444"/>
              </a:solidFill>
              <a:latin typeface="Arial"/>
            </a:endParaRPr>
          </a:p>
          <a:p>
            <a:pPr algn="ctr" defTabSz="609585"/>
            <a:r>
              <a:rPr lang="ru-RU" sz="1200" dirty="0">
                <a:solidFill>
                  <a:srgbClr val="3F4444"/>
                </a:solidFill>
                <a:latin typeface="Arial"/>
              </a:rPr>
              <a:t>Представлена информация только в рамках зарегистрированных в РФ показаний</a:t>
            </a:r>
          </a:p>
          <a:p>
            <a:pPr algn="ctr" defTabSz="609585"/>
            <a:r>
              <a:rPr lang="ru-RU" sz="1200" dirty="0">
                <a:solidFill>
                  <a:srgbClr val="3F4444"/>
                </a:solidFill>
                <a:latin typeface="Arial"/>
              </a:rPr>
              <a:t>Мнение лектора не всегда может совпадать с точкой зрения компании </a:t>
            </a:r>
            <a:r>
              <a:rPr lang="ru-RU" sz="1200" dirty="0" err="1">
                <a:solidFill>
                  <a:srgbClr val="3F4444"/>
                </a:solidFill>
                <a:latin typeface="Arial"/>
              </a:rPr>
              <a:t>АстраЗенека</a:t>
            </a:r>
            <a:endParaRPr lang="ru-RU" sz="1200" dirty="0">
              <a:solidFill>
                <a:srgbClr val="3F4444"/>
              </a:solidFill>
              <a:latin typeface="Arial"/>
            </a:endParaRPr>
          </a:p>
        </p:txBody>
      </p:sp>
      <p:sp>
        <p:nvSpPr>
          <p:cNvPr id="5" name="TextBox 4">
            <a:extLst>
              <a:ext uri="{FF2B5EF4-FFF2-40B4-BE49-F238E27FC236}">
                <a16:creationId xmlns:a16="http://schemas.microsoft.com/office/drawing/2014/main" id="{2490583A-CC8C-01E4-E8BA-8A4C183E1745}"/>
              </a:ext>
            </a:extLst>
          </p:cNvPr>
          <p:cNvSpPr txBox="1"/>
          <p:nvPr/>
        </p:nvSpPr>
        <p:spPr>
          <a:xfrm>
            <a:off x="0" y="176951"/>
            <a:ext cx="7917452" cy="1339469"/>
          </a:xfrm>
          <a:prstGeom prst="rect">
            <a:avLst/>
          </a:prstGeom>
          <a:noFill/>
        </p:spPr>
        <p:txBody>
          <a:bodyPr wrap="square">
            <a:spAutoFit/>
          </a:bodyPr>
          <a:lstStyle/>
          <a:p>
            <a:pPr algn="ctr">
              <a:lnSpc>
                <a:spcPct val="115000"/>
              </a:lnSpc>
            </a:pPr>
            <a:r>
              <a:rPr lang="ru-RU" b="1" dirty="0">
                <a:ea typeface="Calibri" panose="020F0502020204030204" pitchFamily="34" charset="0"/>
                <a:cs typeface="Times New Roman" panose="02020603050405020304" pitchFamily="18" charset="0"/>
              </a:rPr>
              <a:t>Школа онколога, опухоли мочеполовой системы, разбор клинических случаев</a:t>
            </a:r>
            <a:endParaRPr lang="ru-RU" b="1" dirty="0">
              <a:effectLst/>
              <a:ea typeface="Calibri" panose="020F0502020204030204" pitchFamily="34" charset="0"/>
              <a:cs typeface="Times New Roman" panose="02020603050405020304" pitchFamily="18" charset="0"/>
            </a:endParaRPr>
          </a:p>
          <a:p>
            <a:pPr algn="ctr">
              <a:lnSpc>
                <a:spcPct val="115000"/>
              </a:lnSpc>
            </a:pPr>
            <a:r>
              <a:rPr lang="ru-RU" b="1" dirty="0">
                <a:ea typeface="Calibri" panose="020F0502020204030204" pitchFamily="34" charset="0"/>
                <a:cs typeface="Times New Roman" panose="02020603050405020304" pitchFamily="18" charset="0"/>
              </a:rPr>
              <a:t>21 апреля 2023 г</a:t>
            </a:r>
          </a:p>
          <a:p>
            <a:pPr algn="ctr">
              <a:lnSpc>
                <a:spcPct val="115000"/>
              </a:lnSpc>
            </a:pPr>
            <a:r>
              <a:rPr lang="ru-RU" b="1" dirty="0">
                <a:ea typeface="Calibri" panose="020F0502020204030204" pitchFamily="34" charset="0"/>
                <a:cs typeface="Times New Roman" panose="02020603050405020304" pitchFamily="18" charset="0"/>
              </a:rPr>
              <a:t>Г. Челябинск</a:t>
            </a:r>
            <a:endParaRPr lang="ru-RU"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4392254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99A3C04-6B6A-1C48-8C9D-395ABD787350}"/>
              </a:ext>
            </a:extLst>
          </p:cNvPr>
          <p:cNvSpPr>
            <a:spLocks noGrp="1"/>
          </p:cNvSpPr>
          <p:nvPr>
            <p:ph type="title"/>
          </p:nvPr>
        </p:nvSpPr>
        <p:spPr>
          <a:solidFill>
            <a:schemeClr val="tx2"/>
          </a:solidFill>
        </p:spPr>
        <p:txBody>
          <a:bodyPr bIns="2124000" rtlCol="0">
            <a:noAutofit/>
          </a:bodyPr>
          <a:lstStyle/>
          <a:p>
            <a:pPr rtl="0"/>
            <a:r>
              <a:rPr lang="ru" sz="4400" dirty="0"/>
              <a:t>Обоснование применения комбинации олапариба и абиратерона</a:t>
            </a:r>
            <a:endParaRPr lang="en-US" sz="4400" dirty="0"/>
          </a:p>
        </p:txBody>
      </p:sp>
    </p:spTree>
    <p:extLst>
      <p:ext uri="{BB962C8B-B14F-4D97-AF65-F5344CB8AC3E}">
        <p14:creationId xmlns:p14="http://schemas.microsoft.com/office/powerpoint/2010/main" val="29974135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744C55F5-42D4-412A-8961-6F6F88E7EA42}"/>
              </a:ext>
            </a:extLst>
          </p:cNvPr>
          <p:cNvSpPr>
            <a:spLocks noGrp="1"/>
          </p:cNvSpPr>
          <p:nvPr>
            <p:ph sz="quarter" idx="16"/>
          </p:nvPr>
        </p:nvSpPr>
        <p:spPr>
          <a:xfrm>
            <a:off x="332244" y="6160916"/>
            <a:ext cx="11178117" cy="639233"/>
          </a:xfrm>
        </p:spPr>
        <p:txBody>
          <a:bodyPr rtlCol="0"/>
          <a:lstStyle/>
          <a:p>
            <a:pPr marL="0" indent="0" defTabSz="609555">
              <a:spcAft>
                <a:spcPts val="0"/>
              </a:spcAft>
              <a:buNone/>
              <a:defRPr/>
            </a:pPr>
            <a:r>
              <a:rPr lang="ru" dirty="0">
                <a:solidFill>
                  <a:srgbClr val="FFFFFF">
                    <a:lumMod val="50000"/>
                  </a:srgbClr>
                </a:solidFill>
                <a:latin typeface="Arial" panose="020B0604020202020204" pitchFamily="34" charset="0"/>
                <a:cs typeface="Arial" panose="020B0604020202020204" pitchFamily="34" charset="0"/>
              </a:rPr>
              <a:t>1. Mateo J, et al. </a:t>
            </a:r>
            <a:r>
              <a:rPr lang="ru" i="1" dirty="0">
                <a:solidFill>
                  <a:srgbClr val="FFFFFF">
                    <a:lumMod val="50000"/>
                  </a:srgbClr>
                </a:solidFill>
                <a:latin typeface="Arial" panose="020B0604020202020204" pitchFamily="34" charset="0"/>
                <a:cs typeface="Arial" panose="020B0604020202020204" pitchFamily="34" charset="0"/>
              </a:rPr>
              <a:t>N Engl J Med </a:t>
            </a:r>
            <a:r>
              <a:rPr lang="ru" dirty="0">
                <a:solidFill>
                  <a:srgbClr val="FFFFFF">
                    <a:lumMod val="50000"/>
                  </a:srgbClr>
                </a:solidFill>
                <a:latin typeface="Arial" panose="020B0604020202020204" pitchFamily="34" charset="0"/>
                <a:cs typeface="Arial" panose="020B0604020202020204" pitchFamily="34" charset="0"/>
              </a:rPr>
              <a:t>2015;373:1697–1708; 2. Schiewer MJ et al </a:t>
            </a:r>
            <a:r>
              <a:rPr lang="ru" i="1" dirty="0">
                <a:solidFill>
                  <a:srgbClr val="FFFFFF">
                    <a:lumMod val="50000"/>
                  </a:srgbClr>
                </a:solidFill>
                <a:latin typeface="Arial" panose="020B0604020202020204" pitchFamily="34" charset="0"/>
                <a:cs typeface="Arial" panose="020B0604020202020204" pitchFamily="34" charset="0"/>
              </a:rPr>
              <a:t>Cancer Discov </a:t>
            </a:r>
            <a:r>
              <a:rPr lang="ru" dirty="0">
                <a:solidFill>
                  <a:srgbClr val="FFFFFF">
                    <a:lumMod val="50000"/>
                  </a:srgbClr>
                </a:solidFill>
                <a:latin typeface="Arial" panose="020B0604020202020204" pitchFamily="34" charset="0"/>
                <a:cs typeface="Arial" panose="020B0604020202020204" pitchFamily="34" charset="0"/>
              </a:rPr>
              <a:t>2012;2:1134–49; 3. Polkingh</a:t>
            </a:r>
            <a:r>
              <a:rPr lang="ru" dirty="0">
                <a:solidFill>
                  <a:srgbClr val="000000">
                    <a:lumMod val="50000"/>
                    <a:lumOff val="50000"/>
                  </a:srgbClr>
                </a:solidFill>
                <a:latin typeface="Arial" panose="020B0604020202020204" pitchFamily="34" charset="0"/>
                <a:cs typeface="Arial" panose="020B0604020202020204" pitchFamily="34" charset="0"/>
              </a:rPr>
              <a:t>orn WR et al. </a:t>
            </a:r>
            <a:r>
              <a:rPr lang="ru" i="1" dirty="0">
                <a:solidFill>
                  <a:srgbClr val="000000">
                    <a:lumMod val="50000"/>
                    <a:lumOff val="50000"/>
                  </a:srgbClr>
                </a:solidFill>
                <a:latin typeface="Arial" panose="020B0604020202020204" pitchFamily="34" charset="0"/>
                <a:cs typeface="Arial" panose="020B0604020202020204" pitchFamily="34" charset="0"/>
              </a:rPr>
              <a:t>Cancer Discov </a:t>
            </a:r>
            <a:r>
              <a:rPr lang="ru" dirty="0">
                <a:solidFill>
                  <a:srgbClr val="000000">
                    <a:lumMod val="50000"/>
                    <a:lumOff val="50000"/>
                  </a:srgbClr>
                </a:solidFill>
                <a:latin typeface="Arial" panose="020B0604020202020204" pitchFamily="34" charset="0"/>
                <a:cs typeface="Arial" panose="020B0604020202020204" pitchFamily="34" charset="0"/>
              </a:rPr>
              <a:t>2013;3:1245–53; 4. Asim et al. </a:t>
            </a:r>
            <a:r>
              <a:rPr lang="ru" i="1" dirty="0">
                <a:solidFill>
                  <a:srgbClr val="000000">
                    <a:lumMod val="50000"/>
                    <a:lumOff val="50000"/>
                  </a:srgbClr>
                </a:solidFill>
                <a:latin typeface="Arial" panose="020B0604020202020204" pitchFamily="34" charset="0"/>
                <a:cs typeface="Arial" panose="020B0604020202020204" pitchFamily="34" charset="0"/>
              </a:rPr>
              <a:t>Nat Commun </a:t>
            </a:r>
            <a:r>
              <a:rPr lang="ru" dirty="0">
                <a:solidFill>
                  <a:srgbClr val="000000">
                    <a:lumMod val="50000"/>
                    <a:lumOff val="50000"/>
                  </a:srgbClr>
                </a:solidFill>
                <a:latin typeface="Arial" panose="020B0604020202020204" pitchFamily="34" charset="0"/>
                <a:cs typeface="Arial" panose="020B0604020202020204" pitchFamily="34" charset="0"/>
              </a:rPr>
              <a:t>2017;8:374 </a:t>
            </a:r>
          </a:p>
        </p:txBody>
      </p:sp>
      <p:sp>
        <p:nvSpPr>
          <p:cNvPr id="3" name="Заголовок 2">
            <a:extLst>
              <a:ext uri="{FF2B5EF4-FFF2-40B4-BE49-F238E27FC236}">
                <a16:creationId xmlns:a16="http://schemas.microsoft.com/office/drawing/2014/main" id="{A0FEEB1F-2BDC-46D4-8116-5F5BCD9C6A1C}"/>
              </a:ext>
            </a:extLst>
          </p:cNvPr>
          <p:cNvSpPr>
            <a:spLocks noGrp="1"/>
          </p:cNvSpPr>
          <p:nvPr>
            <p:ph type="title"/>
          </p:nvPr>
        </p:nvSpPr>
        <p:spPr>
          <a:xfrm>
            <a:off x="622447" y="57851"/>
            <a:ext cx="11178116" cy="674179"/>
          </a:xfrm>
        </p:spPr>
        <p:txBody>
          <a:bodyPr/>
          <a:lstStyle/>
          <a:p>
            <a:pPr algn="ctr"/>
            <a:r>
              <a:rPr lang="ru-RU" sz="2400" b="1" i="1" dirty="0" err="1">
                <a:solidFill>
                  <a:schemeClr val="tx2"/>
                </a:solidFill>
                <a:latin typeface="+mn-lt"/>
                <a:ea typeface="+mn-ea"/>
                <a:cs typeface="+mn-cs"/>
              </a:rPr>
              <a:t>Линпарза</a:t>
            </a:r>
            <a:r>
              <a:rPr lang="ru-RU" sz="2400" b="1" i="1" dirty="0">
                <a:solidFill>
                  <a:schemeClr val="tx2"/>
                </a:solidFill>
                <a:latin typeface="+mn-lt"/>
                <a:ea typeface="+mn-ea"/>
                <a:cs typeface="+mn-cs"/>
              </a:rPr>
              <a:t>® и </a:t>
            </a:r>
            <a:r>
              <a:rPr lang="ru-RU" sz="2400" b="1" i="1" dirty="0" err="1">
                <a:solidFill>
                  <a:schemeClr val="tx2"/>
                </a:solidFill>
                <a:latin typeface="+mn-lt"/>
                <a:ea typeface="+mn-ea"/>
                <a:cs typeface="+mn-cs"/>
              </a:rPr>
              <a:t>абиратерон</a:t>
            </a:r>
            <a:r>
              <a:rPr lang="ru-RU" sz="2400" b="1" i="1" dirty="0">
                <a:solidFill>
                  <a:schemeClr val="tx2"/>
                </a:solidFill>
                <a:latin typeface="+mn-lt"/>
                <a:ea typeface="+mn-ea"/>
                <a:cs typeface="+mn-cs"/>
              </a:rPr>
              <a:t> демонстрируют эффект синергии, </a:t>
            </a:r>
            <a:r>
              <a:rPr lang="ru-RU" sz="2400" i="1" dirty="0">
                <a:solidFill>
                  <a:schemeClr val="tx2"/>
                </a:solidFill>
                <a:latin typeface="+mn-lt"/>
                <a:ea typeface="+mn-ea"/>
                <a:cs typeface="+mn-cs"/>
              </a:rPr>
              <a:t>улучшая результаты терапии первой линии у пациентов с </a:t>
            </a:r>
            <a:r>
              <a:rPr lang="ru-RU" sz="2400" i="1" dirty="0" err="1">
                <a:solidFill>
                  <a:schemeClr val="tx2"/>
                </a:solidFill>
                <a:latin typeface="+mn-lt"/>
                <a:ea typeface="+mn-ea"/>
                <a:cs typeface="+mn-cs"/>
              </a:rPr>
              <a:t>мКРРПЖ</a:t>
            </a:r>
            <a:r>
              <a:rPr lang="ru-RU" sz="2400" i="1" dirty="0">
                <a:solidFill>
                  <a:schemeClr val="tx2"/>
                </a:solidFill>
                <a:latin typeface="+mn-lt"/>
                <a:ea typeface="+mn-ea"/>
                <a:cs typeface="+mn-cs"/>
              </a:rPr>
              <a:t>, независимо от статуса мутаций в генах </a:t>
            </a:r>
            <a:r>
              <a:rPr lang="en-US" sz="2400" i="1" dirty="0">
                <a:solidFill>
                  <a:schemeClr val="tx2"/>
                </a:solidFill>
                <a:latin typeface="+mn-lt"/>
                <a:ea typeface="+mn-ea"/>
                <a:cs typeface="+mn-cs"/>
              </a:rPr>
              <a:t>HRR</a:t>
            </a:r>
            <a:br>
              <a:rPr kumimoji="0" lang="ru" sz="1800" i="0" u="none" strike="noStrike" kern="1200" cap="none" spc="0" normalizeH="0" baseline="30000" noProof="0" dirty="0">
                <a:ln>
                  <a:noFill/>
                </a:ln>
                <a:solidFill>
                  <a:schemeClr val="tx2"/>
                </a:solidFill>
                <a:effectLst/>
                <a:uLnTx/>
                <a:uFillTx/>
                <a:ea typeface="+mj-ea"/>
                <a:cs typeface="+mj-cs"/>
              </a:rPr>
            </a:br>
            <a:endParaRPr lang="en-US" sz="4000" dirty="0">
              <a:solidFill>
                <a:schemeClr val="tx2"/>
              </a:solidFill>
            </a:endParaRPr>
          </a:p>
        </p:txBody>
      </p:sp>
      <p:sp>
        <p:nvSpPr>
          <p:cNvPr id="5" name="Rectangle: Rounded Corners 4">
            <a:extLst>
              <a:ext uri="{FF2B5EF4-FFF2-40B4-BE49-F238E27FC236}">
                <a16:creationId xmlns:a16="http://schemas.microsoft.com/office/drawing/2014/main" id="{77F9DFDA-2B83-E976-55D2-2B560A16A103}"/>
              </a:ext>
            </a:extLst>
          </p:cNvPr>
          <p:cNvSpPr/>
          <p:nvPr/>
        </p:nvSpPr>
        <p:spPr>
          <a:xfrm>
            <a:off x="1022005" y="3023965"/>
            <a:ext cx="3338624" cy="1545265"/>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Rectangle: Rounded Corners 5">
            <a:extLst>
              <a:ext uri="{FF2B5EF4-FFF2-40B4-BE49-F238E27FC236}">
                <a16:creationId xmlns:a16="http://schemas.microsoft.com/office/drawing/2014/main" id="{09FAAF2E-8981-38C8-26D4-2D37E75DF846}"/>
              </a:ext>
            </a:extLst>
          </p:cNvPr>
          <p:cNvSpPr/>
          <p:nvPr/>
        </p:nvSpPr>
        <p:spPr>
          <a:xfrm>
            <a:off x="8183524" y="2824781"/>
            <a:ext cx="3338624" cy="1545265"/>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Plus Sign 8">
            <a:extLst>
              <a:ext uri="{FF2B5EF4-FFF2-40B4-BE49-F238E27FC236}">
                <a16:creationId xmlns:a16="http://schemas.microsoft.com/office/drawing/2014/main" id="{1A114CDA-DBBD-EFAD-1DBE-5EAFC409B9ED}"/>
              </a:ext>
            </a:extLst>
          </p:cNvPr>
          <p:cNvSpPr/>
          <p:nvPr/>
        </p:nvSpPr>
        <p:spPr>
          <a:xfrm>
            <a:off x="5502474" y="2886514"/>
            <a:ext cx="1730466" cy="1665767"/>
          </a:xfrm>
          <a:prstGeom prst="mathPlus">
            <a:avLst/>
          </a:prstGeom>
          <a:solidFill>
            <a:srgbClr val="92D05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Arrow: Curved Down 9">
            <a:extLst>
              <a:ext uri="{FF2B5EF4-FFF2-40B4-BE49-F238E27FC236}">
                <a16:creationId xmlns:a16="http://schemas.microsoft.com/office/drawing/2014/main" id="{6EF60DF9-3041-F918-AE29-054B41C4FA3A}"/>
              </a:ext>
            </a:extLst>
          </p:cNvPr>
          <p:cNvSpPr/>
          <p:nvPr/>
        </p:nvSpPr>
        <p:spPr>
          <a:xfrm>
            <a:off x="2431312" y="1118274"/>
            <a:ext cx="7872791" cy="2425841"/>
          </a:xfrm>
          <a:prstGeom prst="curvedDownArrow">
            <a:avLst/>
          </a:prstGeom>
          <a:solidFill>
            <a:srgbClr val="FFC0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a:solidFill>
                <a:schemeClr val="tx1"/>
              </a:solidFill>
            </a:endParaRPr>
          </a:p>
        </p:txBody>
      </p:sp>
      <p:sp>
        <p:nvSpPr>
          <p:cNvPr id="11" name="Arrow: Curved Down 10">
            <a:extLst>
              <a:ext uri="{FF2B5EF4-FFF2-40B4-BE49-F238E27FC236}">
                <a16:creationId xmlns:a16="http://schemas.microsoft.com/office/drawing/2014/main" id="{DFA31B1B-87B9-6844-4E90-390D5AD34E97}"/>
              </a:ext>
            </a:extLst>
          </p:cNvPr>
          <p:cNvSpPr/>
          <p:nvPr/>
        </p:nvSpPr>
        <p:spPr>
          <a:xfrm rot="10800000">
            <a:off x="2069802" y="3863163"/>
            <a:ext cx="8125727" cy="2512088"/>
          </a:xfrm>
          <a:prstGeom prst="curvedDownArrow">
            <a:avLst>
              <a:gd name="adj1" fmla="val 26726"/>
              <a:gd name="adj2" fmla="val 50000"/>
              <a:gd name="adj3" fmla="val 25000"/>
            </a:avLst>
          </a:prstGeom>
          <a:solidFill>
            <a:srgbClr val="FFC0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12" name="Rectangle 11">
            <a:extLst>
              <a:ext uri="{FF2B5EF4-FFF2-40B4-BE49-F238E27FC236}">
                <a16:creationId xmlns:a16="http://schemas.microsoft.com/office/drawing/2014/main" id="{5A52BDAF-810C-2B10-3B8A-4026287DA856}"/>
              </a:ext>
            </a:extLst>
          </p:cNvPr>
          <p:cNvSpPr/>
          <p:nvPr/>
        </p:nvSpPr>
        <p:spPr>
          <a:xfrm>
            <a:off x="1323261" y="3395050"/>
            <a:ext cx="2736112" cy="6002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i="1" dirty="0" err="1">
                <a:solidFill>
                  <a:schemeClr val="tx2">
                    <a:lumMod val="75000"/>
                  </a:schemeClr>
                </a:solidFill>
              </a:rPr>
              <a:t>Линпарза</a:t>
            </a:r>
            <a:r>
              <a:rPr lang="ru-RU" sz="2400" b="1" i="1" dirty="0">
                <a:solidFill>
                  <a:schemeClr val="tx2">
                    <a:lumMod val="75000"/>
                  </a:schemeClr>
                </a:solidFill>
              </a:rPr>
              <a:t>®</a:t>
            </a:r>
          </a:p>
        </p:txBody>
      </p:sp>
      <p:sp>
        <p:nvSpPr>
          <p:cNvPr id="13" name="Rectangle 12">
            <a:extLst>
              <a:ext uri="{FF2B5EF4-FFF2-40B4-BE49-F238E27FC236}">
                <a16:creationId xmlns:a16="http://schemas.microsoft.com/office/drawing/2014/main" id="{AE9E4115-BFFF-D2DE-3099-56F6B072EB14}"/>
              </a:ext>
            </a:extLst>
          </p:cNvPr>
          <p:cNvSpPr/>
          <p:nvPr/>
        </p:nvSpPr>
        <p:spPr>
          <a:xfrm>
            <a:off x="8581246" y="3337148"/>
            <a:ext cx="2736112" cy="6002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i="1" dirty="0" err="1">
                <a:solidFill>
                  <a:schemeClr val="bg1"/>
                </a:solidFill>
              </a:rPr>
              <a:t>Абиратерон</a:t>
            </a:r>
            <a:endParaRPr lang="ru-RU" sz="2400" b="1" i="1" dirty="0">
              <a:solidFill>
                <a:schemeClr val="bg1"/>
              </a:solidFill>
            </a:endParaRPr>
          </a:p>
        </p:txBody>
      </p:sp>
      <p:sp>
        <p:nvSpPr>
          <p:cNvPr id="14" name="Rectangle 13">
            <a:extLst>
              <a:ext uri="{FF2B5EF4-FFF2-40B4-BE49-F238E27FC236}">
                <a16:creationId xmlns:a16="http://schemas.microsoft.com/office/drawing/2014/main" id="{E355E46E-99D4-3D9A-ABAB-CE2566BF1B86}"/>
              </a:ext>
            </a:extLst>
          </p:cNvPr>
          <p:cNvSpPr/>
          <p:nvPr/>
        </p:nvSpPr>
        <p:spPr>
          <a:xfrm>
            <a:off x="4022841" y="1831837"/>
            <a:ext cx="4689731" cy="8475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err="1">
                <a:solidFill>
                  <a:schemeClr val="tx1"/>
                </a:solidFill>
              </a:rPr>
              <a:t>Линпарза</a:t>
            </a:r>
            <a:r>
              <a:rPr lang="ru-RU" dirty="0">
                <a:solidFill>
                  <a:schemeClr val="tx1"/>
                </a:solidFill>
              </a:rPr>
              <a:t>® за счет подавления транскрипции генов-мишеней </a:t>
            </a:r>
            <a:r>
              <a:rPr lang="ru-RU" dirty="0" err="1">
                <a:solidFill>
                  <a:schemeClr val="tx1"/>
                </a:solidFill>
              </a:rPr>
              <a:t>андрогеновых</a:t>
            </a:r>
            <a:r>
              <a:rPr lang="ru-RU" dirty="0">
                <a:solidFill>
                  <a:schemeClr val="tx1"/>
                </a:solidFill>
              </a:rPr>
              <a:t> рецепторов, увеличивает противоопухолевую активность </a:t>
            </a:r>
            <a:r>
              <a:rPr lang="ru-RU" dirty="0" err="1">
                <a:solidFill>
                  <a:schemeClr val="tx1"/>
                </a:solidFill>
              </a:rPr>
              <a:t>абиратерона</a:t>
            </a:r>
            <a:endParaRPr lang="ru-RU" dirty="0">
              <a:solidFill>
                <a:schemeClr val="tx1"/>
              </a:solidFill>
            </a:endParaRPr>
          </a:p>
        </p:txBody>
      </p:sp>
      <p:sp>
        <p:nvSpPr>
          <p:cNvPr id="15" name="Rectangle 14">
            <a:extLst>
              <a:ext uri="{FF2B5EF4-FFF2-40B4-BE49-F238E27FC236}">
                <a16:creationId xmlns:a16="http://schemas.microsoft.com/office/drawing/2014/main" id="{D622EA9D-9D2D-9A4B-71A7-49146D100522}"/>
              </a:ext>
            </a:extLst>
          </p:cNvPr>
          <p:cNvSpPr/>
          <p:nvPr/>
        </p:nvSpPr>
        <p:spPr>
          <a:xfrm>
            <a:off x="4345171" y="4871329"/>
            <a:ext cx="4210493" cy="8475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err="1">
                <a:solidFill>
                  <a:schemeClr val="tx1"/>
                </a:solidFill>
              </a:rPr>
              <a:t>Абиратерон</a:t>
            </a:r>
            <a:r>
              <a:rPr lang="ru-RU" dirty="0">
                <a:solidFill>
                  <a:schemeClr val="tx1"/>
                </a:solidFill>
              </a:rPr>
              <a:t> вызывает дефицит гомологичной рекомбинации и повышает чувствительность к </a:t>
            </a:r>
            <a:r>
              <a:rPr lang="ru-RU" dirty="0" err="1">
                <a:solidFill>
                  <a:schemeClr val="tx1"/>
                </a:solidFill>
              </a:rPr>
              <a:t>Линпарзе</a:t>
            </a:r>
            <a:endParaRPr lang="ru-RU" dirty="0">
              <a:solidFill>
                <a:schemeClr val="tx1"/>
              </a:solidFill>
            </a:endParaRPr>
          </a:p>
        </p:txBody>
      </p:sp>
    </p:spTree>
    <p:extLst>
      <p:ext uri="{BB962C8B-B14F-4D97-AF65-F5344CB8AC3E}">
        <p14:creationId xmlns:p14="http://schemas.microsoft.com/office/powerpoint/2010/main" val="2578149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9" grpId="0" animBg="1"/>
      <p:bldP spid="10" grpId="0" animBg="1"/>
      <p:bldP spid="11" grpId="0" animBg="1"/>
      <p:bldP spid="14" grpId="0"/>
      <p:bldP spid="1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5DD04-DBB4-43CC-9D24-CFE271CAB35D}"/>
              </a:ext>
            </a:extLst>
          </p:cNvPr>
          <p:cNvSpPr>
            <a:spLocks noGrp="1"/>
          </p:cNvSpPr>
          <p:nvPr>
            <p:ph type="title"/>
          </p:nvPr>
        </p:nvSpPr>
        <p:spPr>
          <a:xfrm>
            <a:off x="258422" y="163033"/>
            <a:ext cx="11675156" cy="1150721"/>
          </a:xfrm>
        </p:spPr>
        <p:txBody>
          <a:bodyPr rtlCol="0">
            <a:noAutofit/>
          </a:bodyPr>
          <a:lstStyle/>
          <a:p>
            <a:pPr algn="ctr" rtl="0"/>
            <a:r>
              <a:rPr lang="ru" sz="2800" b="1" i="1" dirty="0">
                <a:latin typeface="+mn-lt"/>
                <a:ea typeface="+mn-ea"/>
                <a:cs typeface="+mn-cs"/>
              </a:rPr>
              <a:t>Почему препаратом для комбинации с Линпарзой был выбран </a:t>
            </a:r>
            <a:br>
              <a:rPr lang="ru" sz="2800" b="1" i="1" dirty="0">
                <a:latin typeface="+mn-lt"/>
                <a:ea typeface="+mn-ea"/>
                <a:cs typeface="+mn-cs"/>
              </a:rPr>
            </a:br>
            <a:r>
              <a:rPr lang="ru" sz="2800" b="1" i="1" dirty="0">
                <a:latin typeface="+mn-lt"/>
                <a:ea typeface="+mn-ea"/>
                <a:cs typeface="+mn-cs"/>
              </a:rPr>
              <a:t>абиратерон, а не энзалутамид?</a:t>
            </a:r>
            <a:endParaRPr lang="en-GB" sz="2800" b="1" i="1" dirty="0">
              <a:latin typeface="+mn-lt"/>
              <a:ea typeface="+mn-ea"/>
              <a:cs typeface="+mn-cs"/>
            </a:endParaRPr>
          </a:p>
        </p:txBody>
      </p:sp>
      <p:sp>
        <p:nvSpPr>
          <p:cNvPr id="4" name="Text Placeholder 3">
            <a:extLst>
              <a:ext uri="{FF2B5EF4-FFF2-40B4-BE49-F238E27FC236}">
                <a16:creationId xmlns:a16="http://schemas.microsoft.com/office/drawing/2014/main" id="{9F6D69D1-559C-46CA-911E-90510B3D04C6}"/>
              </a:ext>
            </a:extLst>
          </p:cNvPr>
          <p:cNvSpPr>
            <a:spLocks noGrp="1"/>
          </p:cNvSpPr>
          <p:nvPr>
            <p:ph type="body" sz="quarter" idx="111"/>
          </p:nvPr>
        </p:nvSpPr>
        <p:spPr>
          <a:xfrm>
            <a:off x="419005" y="6014365"/>
            <a:ext cx="11226964" cy="657225"/>
          </a:xfrm>
        </p:spPr>
        <p:txBody>
          <a:bodyPr rtlCol="0"/>
          <a:lstStyle/>
          <a:p>
            <a:pPr marL="0" indent="0" defTabSz="914354" rtl="0">
              <a:spcAft>
                <a:spcPts val="0"/>
              </a:spcAft>
            </a:pPr>
            <a:r>
              <a:rPr lang="ru" dirty="0"/>
              <a:t>AUC — площадь под фармакокинетической кривой; C</a:t>
            </a:r>
            <a:r>
              <a:rPr lang="ru" baseline="-25000" dirty="0"/>
              <a:t>max</a:t>
            </a:r>
            <a:r>
              <a:rPr lang="ru" dirty="0"/>
              <a:t> — максимальная концентрация в плазме крови; CYP — цитохром Р450.</a:t>
            </a:r>
          </a:p>
          <a:p>
            <a:pPr marL="0" indent="0" defTabSz="914354" rtl="0">
              <a:spcAft>
                <a:spcPts val="0"/>
              </a:spcAft>
            </a:pPr>
            <a:r>
              <a:rPr lang="ru" dirty="0"/>
              <a:t>1. Dirix L, et al. </a:t>
            </a:r>
            <a:r>
              <a:rPr lang="ru" i="1" dirty="0"/>
              <a:t>Clin Ther.</a:t>
            </a:r>
            <a:r>
              <a:rPr lang="ru" dirty="0"/>
              <a:t> 2016;38(10):2286-2299; 2. Gibbons JA, et al. </a:t>
            </a:r>
            <a:r>
              <a:rPr lang="ru" i="1" dirty="0"/>
              <a:t>Clin Pharmacokinet</a:t>
            </a:r>
            <a:r>
              <a:rPr lang="ru" dirty="0"/>
              <a:t>. 2015;54(10):1057–69;3. </a:t>
            </a:r>
            <a:r>
              <a:rPr lang="ru-RU" sz="800" dirty="0">
                <a:latin typeface="Calibri" panose="020F0502020204030204" pitchFamily="34" charset="0"/>
                <a:ea typeface="Calibri" panose="020F0502020204030204" pitchFamily="34" charset="0"/>
              </a:rPr>
              <a:t>Инструкция по медицинскому применению лекарственного препарата </a:t>
            </a:r>
            <a:r>
              <a:rPr lang="ru-RU" sz="800" dirty="0" err="1">
                <a:latin typeface="Calibri" panose="020F0502020204030204" pitchFamily="34" charset="0"/>
                <a:ea typeface="Calibri" panose="020F0502020204030204" pitchFamily="34" charset="0"/>
              </a:rPr>
              <a:t>Линпарза</a:t>
            </a:r>
            <a:r>
              <a:rPr lang="ru-RU" sz="800" dirty="0">
                <a:latin typeface="Calibri" panose="020F0502020204030204" pitchFamily="34" charset="0"/>
                <a:ea typeface="Calibri" panose="020F0502020204030204" pitchFamily="34" charset="0"/>
              </a:rPr>
              <a:t>®® (таблетки, покрытые оболочкой, 100, 150 мг). Регистрационное удостоверение  ЛП-005941 от 26.11.2019 с учётом изменения  от 06.02.2023</a:t>
            </a:r>
            <a:r>
              <a:rPr lang="en-US" sz="800" dirty="0">
                <a:latin typeface="Calibri" panose="020F0502020204030204" pitchFamily="34" charset="0"/>
                <a:ea typeface="Calibri" panose="020F0502020204030204" pitchFamily="34" charset="0"/>
              </a:rPr>
              <a:t>; </a:t>
            </a:r>
            <a:r>
              <a:rPr lang="ru-RU" sz="800" dirty="0">
                <a:latin typeface="Calibri" panose="020F0502020204030204" pitchFamily="34" charset="0"/>
                <a:ea typeface="Calibri" panose="020F0502020204030204" pitchFamily="34" charset="0"/>
              </a:rPr>
              <a:t>Инструкция по медицинскому применению лекарственного </a:t>
            </a:r>
            <a:r>
              <a:rPr lang="ru-RU" dirty="0">
                <a:latin typeface="Calibri" panose="020F0502020204030204" pitchFamily="34" charset="0"/>
              </a:rPr>
              <a:t>препарата </a:t>
            </a:r>
            <a:r>
              <a:rPr lang="ru-RU" dirty="0" err="1">
                <a:latin typeface="Calibri" panose="020F0502020204030204" pitchFamily="34" charset="0"/>
              </a:rPr>
              <a:t>Кстанди</a:t>
            </a:r>
            <a:r>
              <a:rPr lang="ru-RU" dirty="0">
                <a:latin typeface="Calibri" panose="020F0502020204030204" pitchFamily="34" charset="0"/>
              </a:rPr>
              <a:t>® (капсулы, 40 мг). Регистрационное удостоверение ЛП-003605-050617 от 04.05.2016 с учётом изм. от 05.05.2021.</a:t>
            </a:r>
            <a:r>
              <a:rPr lang="en-US" dirty="0">
                <a:latin typeface="Calibri" panose="020F0502020204030204" pitchFamily="34" charset="0"/>
              </a:rPr>
              <a:t> </a:t>
            </a:r>
            <a:endParaRPr lang="ru" dirty="0">
              <a:latin typeface="Calibri" panose="020F0502020204030204" pitchFamily="34" charset="0"/>
            </a:endParaRPr>
          </a:p>
        </p:txBody>
      </p:sp>
      <p:sp>
        <p:nvSpPr>
          <p:cNvPr id="6" name="TextBox 5">
            <a:extLst>
              <a:ext uri="{FF2B5EF4-FFF2-40B4-BE49-F238E27FC236}">
                <a16:creationId xmlns:a16="http://schemas.microsoft.com/office/drawing/2014/main" id="{FB86D087-2D9A-4CC0-B3D8-AA470816BF56}"/>
              </a:ext>
            </a:extLst>
          </p:cNvPr>
          <p:cNvSpPr txBox="1"/>
          <p:nvPr/>
        </p:nvSpPr>
        <p:spPr>
          <a:xfrm>
            <a:off x="726280" y="1416975"/>
            <a:ext cx="3228474" cy="3246648"/>
          </a:xfrm>
          <a:prstGeom prst="round2DiagRect">
            <a:avLst/>
          </a:prstGeom>
          <a:solidFill>
            <a:schemeClr val="accent1"/>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solidFill>
                <a:srgbClr val="FFFFFF"/>
              </a:solidFill>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solidFill>
                <a:srgbClr val="FFFFFF"/>
              </a:solidFill>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dirty="0">
              <a:solidFill>
                <a:srgbClr val="FFFFFF"/>
              </a:solidFill>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dirty="0">
              <a:solidFill>
                <a:srgbClr val="FFFFFF"/>
              </a:solidFill>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ru" sz="1600" b="0" i="0" u="none" strike="noStrike" kern="1200" cap="none" spc="0" normalizeH="0" noProof="0" dirty="0">
                <a:ln>
                  <a:noFill/>
                </a:ln>
                <a:solidFill>
                  <a:srgbClr val="FFFFFF"/>
                </a:solidFill>
                <a:effectLst/>
                <a:uLnTx/>
                <a:uFillTx/>
                <a:ea typeface="Calibri" panose="020F0502020204030204" pitchFamily="34" charset="0"/>
                <a:cs typeface="Calibri" panose="020F0502020204030204" pitchFamily="34" charset="0"/>
              </a:rPr>
              <a:t>Ферменты цитохрома Р450 CYP3A4 и CYP3A5 преимущественно отвечают за </a:t>
            </a:r>
            <a:r>
              <a:rPr lang="ru" sz="1600" b="1" i="0" u="none" strike="noStrike" kern="1200" cap="none" spc="0" normalizeH="0" noProof="0" dirty="0">
                <a:ln>
                  <a:noFill/>
                </a:ln>
                <a:solidFill>
                  <a:srgbClr val="FFFFFF"/>
                </a:solidFill>
                <a:effectLst/>
                <a:uLnTx/>
                <a:uFillTx/>
                <a:ea typeface="Calibri" panose="020F0502020204030204" pitchFamily="34" charset="0"/>
                <a:cs typeface="Calibri" panose="020F0502020204030204" pitchFamily="34" charset="0"/>
              </a:rPr>
              <a:t>метаболический клиренс олапариба.</a:t>
            </a:r>
            <a:endParaRPr kumimoji="0" lang="en-GB" sz="1600" b="1" i="0" u="none" strike="noStrike" kern="1200" cap="none" spc="0" normalizeH="0" baseline="0" noProof="0" dirty="0">
              <a:ln>
                <a:noFill/>
              </a:ln>
              <a:solidFill>
                <a:srgbClr val="FFFFFF"/>
              </a:solidFill>
              <a:effectLst/>
              <a:uLnTx/>
              <a:uFillTx/>
              <a:cs typeface="Calibri" panose="020F0502020204030204" pitchFamily="34" charset="0"/>
            </a:endParaRPr>
          </a:p>
        </p:txBody>
      </p:sp>
      <p:sp>
        <p:nvSpPr>
          <p:cNvPr id="7" name="Text Placeholder 1">
            <a:extLst>
              <a:ext uri="{FF2B5EF4-FFF2-40B4-BE49-F238E27FC236}">
                <a16:creationId xmlns:a16="http://schemas.microsoft.com/office/drawing/2014/main" id="{FD6FC7E7-2421-46A7-AF86-F87C5FCD2F2E}"/>
              </a:ext>
            </a:extLst>
          </p:cNvPr>
          <p:cNvSpPr txBox="1">
            <a:spLocks/>
          </p:cNvSpPr>
          <p:nvPr/>
        </p:nvSpPr>
        <p:spPr>
          <a:xfrm>
            <a:off x="4354455" y="1426471"/>
            <a:ext cx="3228474" cy="3237152"/>
          </a:xfrm>
          <a:prstGeom prst="round2DiagRect">
            <a:avLst/>
          </a:prstGeom>
          <a:solidFill>
            <a:schemeClr val="accent2">
              <a:lumMod val="20000"/>
              <a:lumOff val="80000"/>
            </a:schemeClr>
          </a:solidFill>
          <a:ln>
            <a:noFill/>
          </a:ln>
        </p:spPr>
        <p:txBody>
          <a:bodyPr vert="horz" lIns="91440" tIns="45720" rIns="91440" bIns="45720" rtlCol="0" anchor="t">
            <a:noAutofit/>
          </a:bodyPr>
          <a:lstStyle>
            <a:lvl1pPr marL="0" marR="0" indent="0" algn="l" defTabSz="1219170" rtl="0" eaLnBrk="1" fontAlgn="base" latinLnBrk="0" hangingPunct="1">
              <a:lnSpc>
                <a:spcPct val="100000"/>
              </a:lnSpc>
              <a:spcBef>
                <a:spcPct val="0"/>
              </a:spcBef>
              <a:spcAft>
                <a:spcPts val="400"/>
              </a:spcAft>
              <a:buClr>
                <a:srgbClr val="7AB800"/>
              </a:buClr>
              <a:buSzTx/>
              <a:buFontTx/>
              <a:buNone/>
              <a:tabLst/>
              <a:defRPr sz="1600" b="0" i="1" baseline="0">
                <a:solidFill>
                  <a:schemeClr val="accent4"/>
                </a:solidFill>
                <a:latin typeface="Arial" pitchFamily="34" charset="0"/>
                <a:ea typeface="+mn-ea"/>
                <a:cs typeface="Arial" pitchFamily="34" charset="0"/>
              </a:defRPr>
            </a:lvl1pPr>
            <a:lvl2pPr marL="241294" indent="-239178" algn="l" rtl="0" eaLnBrk="1" fontAlgn="base" hangingPunct="1">
              <a:lnSpc>
                <a:spcPct val="100000"/>
              </a:lnSpc>
              <a:spcBef>
                <a:spcPct val="0"/>
              </a:spcBef>
              <a:spcAft>
                <a:spcPts val="400"/>
              </a:spcAft>
              <a:buClr>
                <a:srgbClr val="4B306A"/>
              </a:buClr>
              <a:buFont typeface="Arial" panose="020B0604020202020204" pitchFamily="34" charset="0"/>
              <a:buNone/>
              <a:defRPr sz="2133" b="0">
                <a:solidFill>
                  <a:schemeClr val="tx1"/>
                </a:solidFill>
                <a:latin typeface="+mn-lt"/>
              </a:defRPr>
            </a:lvl2pPr>
            <a:lvl3pPr marL="673083" indent="-186262" algn="l" rtl="0" eaLnBrk="1" fontAlgn="base" hangingPunct="1">
              <a:lnSpc>
                <a:spcPct val="100000"/>
              </a:lnSpc>
              <a:spcBef>
                <a:spcPct val="0"/>
              </a:spcBef>
              <a:spcAft>
                <a:spcPts val="400"/>
              </a:spcAft>
              <a:buClr>
                <a:srgbClr val="4B306A"/>
              </a:buClr>
              <a:buSzPct val="75000"/>
              <a:buFont typeface="Arial" pitchFamily="34" charset="0"/>
              <a:buChar char="–"/>
              <a:defRPr sz="1867">
                <a:solidFill>
                  <a:schemeClr val="tx1"/>
                </a:solidFill>
                <a:latin typeface="+mn-lt"/>
              </a:defRPr>
            </a:lvl3pPr>
            <a:lvl4pPr marL="954593" indent="-171446" algn="l" rtl="0" eaLnBrk="1" fontAlgn="base" hangingPunct="1">
              <a:lnSpc>
                <a:spcPct val="100000"/>
              </a:lnSpc>
              <a:spcBef>
                <a:spcPct val="0"/>
              </a:spcBef>
              <a:spcAft>
                <a:spcPts val="400"/>
              </a:spcAft>
              <a:buClr>
                <a:srgbClr val="4B306A"/>
              </a:buClr>
              <a:buSzPct val="100000"/>
              <a:buChar char="•"/>
              <a:defRPr sz="1600">
                <a:solidFill>
                  <a:schemeClr val="tx1"/>
                </a:solidFill>
                <a:latin typeface="+mn-lt"/>
              </a:defRPr>
            </a:lvl4pPr>
            <a:lvl5pPr marL="1435064" indent="-175680" algn="l" rtl="0" eaLnBrk="1" fontAlgn="base" hangingPunct="1">
              <a:lnSpc>
                <a:spcPct val="100000"/>
              </a:lnSpc>
              <a:spcBef>
                <a:spcPct val="0"/>
              </a:spcBef>
              <a:spcAft>
                <a:spcPct val="0"/>
              </a:spcAft>
              <a:buClr>
                <a:srgbClr val="7AB800"/>
              </a:buClr>
              <a:buChar char="•"/>
              <a:defRPr sz="1467">
                <a:solidFill>
                  <a:schemeClr val="tx1"/>
                </a:solidFill>
                <a:latin typeface="+mn-lt"/>
              </a:defRPr>
            </a:lvl5pPr>
            <a:lvl6pPr marL="1620798" indent="-176209" algn="l" rtl="0" eaLnBrk="1" fontAlgn="base" hangingPunct="1">
              <a:spcBef>
                <a:spcPct val="0"/>
              </a:spcBef>
              <a:spcAft>
                <a:spcPct val="0"/>
              </a:spcAft>
              <a:buChar char="•"/>
              <a:defRPr sz="1467">
                <a:solidFill>
                  <a:schemeClr val="tx1"/>
                </a:solidFill>
                <a:latin typeface="+mn-lt"/>
              </a:defRPr>
            </a:lvl6pPr>
            <a:lvl7pPr marL="2077987" indent="-176209" algn="l" rtl="0" eaLnBrk="1" fontAlgn="base" hangingPunct="1">
              <a:spcBef>
                <a:spcPct val="0"/>
              </a:spcBef>
              <a:spcAft>
                <a:spcPct val="0"/>
              </a:spcAft>
              <a:buChar char="•"/>
              <a:defRPr sz="1467">
                <a:solidFill>
                  <a:schemeClr val="tx1"/>
                </a:solidFill>
                <a:latin typeface="+mn-lt"/>
              </a:defRPr>
            </a:lvl7pPr>
            <a:lvl8pPr marL="2535175" indent="-176209" algn="l" rtl="0" eaLnBrk="1" fontAlgn="base" hangingPunct="1">
              <a:spcBef>
                <a:spcPct val="0"/>
              </a:spcBef>
              <a:spcAft>
                <a:spcPct val="0"/>
              </a:spcAft>
              <a:buChar char="•"/>
              <a:defRPr sz="1467">
                <a:solidFill>
                  <a:schemeClr val="tx1"/>
                </a:solidFill>
                <a:latin typeface="+mn-lt"/>
              </a:defRPr>
            </a:lvl8pPr>
            <a:lvl9pPr marL="2992364" indent="-176209" algn="l" rtl="0" eaLnBrk="1" fontAlgn="base" hangingPunct="1">
              <a:spcBef>
                <a:spcPct val="0"/>
              </a:spcBef>
              <a:spcAft>
                <a:spcPct val="0"/>
              </a:spcAft>
              <a:buChar char="•"/>
              <a:defRPr sz="1467">
                <a:solidFill>
                  <a:schemeClr val="tx1"/>
                </a:solidFill>
                <a:latin typeface="+mn-lt"/>
              </a:defRPr>
            </a:lvl9pPr>
          </a:lstStyle>
          <a:p>
            <a:pPr marL="0" marR="0" lvl="0" indent="0" algn="ctr" defTabSz="1219170" rtl="0" eaLnBrk="1" fontAlgn="base" latinLnBrk="0" hangingPunct="1">
              <a:spcBef>
                <a:spcPts val="0"/>
              </a:spcBef>
              <a:spcAft>
                <a:spcPts val="0"/>
              </a:spcAft>
              <a:buClr>
                <a:srgbClr val="F0AB00"/>
              </a:buClr>
              <a:buSzPts val="1100"/>
              <a:buFontTx/>
              <a:buNone/>
              <a:tabLst/>
              <a:defRPr/>
            </a:pPr>
            <a:endParaRPr kumimoji="0" lang="en-GB" sz="1800" b="0" i="0" u="none" strike="noStrike" kern="0" cap="none" spc="0" normalizeH="0" baseline="0" noProof="0" dirty="0">
              <a:ln>
                <a:noFill/>
              </a:ln>
              <a:solidFill>
                <a:srgbClr val="3F4444"/>
              </a:solidFill>
              <a:effectLst/>
              <a:uLnTx/>
              <a:uFillTx/>
              <a:latin typeface="+mn-lt"/>
              <a:ea typeface="Times New Roman" panose="02020603050405020304" pitchFamily="18" charset="0"/>
              <a:cs typeface="Calibri" panose="020F0502020204030204" pitchFamily="34" charset="0"/>
            </a:endParaRPr>
          </a:p>
          <a:p>
            <a:pPr marL="0" marR="0" lvl="0" indent="0" algn="ctr" defTabSz="1219170" rtl="0" eaLnBrk="1" fontAlgn="base" latinLnBrk="0" hangingPunct="1">
              <a:spcBef>
                <a:spcPts val="0"/>
              </a:spcBef>
              <a:spcAft>
                <a:spcPts val="0"/>
              </a:spcAft>
              <a:buClr>
                <a:srgbClr val="F0AB00"/>
              </a:buClr>
              <a:buSzPts val="1100"/>
              <a:buFontTx/>
              <a:buNone/>
              <a:tabLst/>
              <a:defRPr/>
            </a:pPr>
            <a:endParaRPr lang="en-GB" sz="1800" i="0" kern="0" dirty="0">
              <a:solidFill>
                <a:srgbClr val="3F4444"/>
              </a:solidFill>
              <a:latin typeface="+mn-lt"/>
              <a:ea typeface="Times New Roman" panose="02020603050405020304" pitchFamily="18" charset="0"/>
              <a:cs typeface="Calibri" panose="020F0502020204030204" pitchFamily="34" charset="0"/>
            </a:endParaRPr>
          </a:p>
          <a:p>
            <a:pPr marL="0" marR="0" lvl="0" indent="0" algn="ctr" defTabSz="1219170" rtl="0" eaLnBrk="1" fontAlgn="base" latinLnBrk="0" hangingPunct="1">
              <a:spcBef>
                <a:spcPts val="0"/>
              </a:spcBef>
              <a:spcAft>
                <a:spcPts val="0"/>
              </a:spcAft>
              <a:buClr>
                <a:srgbClr val="F0AB00"/>
              </a:buClr>
              <a:buSzPts val="1100"/>
              <a:buFontTx/>
              <a:buNone/>
              <a:tabLst/>
              <a:defRPr/>
            </a:pPr>
            <a:endParaRPr kumimoji="0" lang="en-GB" sz="1800" b="0" i="0" u="none" strike="noStrike" kern="0" cap="none" spc="0" normalizeH="0" baseline="0" noProof="0" dirty="0">
              <a:ln>
                <a:noFill/>
              </a:ln>
              <a:solidFill>
                <a:srgbClr val="3F4444"/>
              </a:solidFill>
              <a:effectLst/>
              <a:uLnTx/>
              <a:uFillTx/>
              <a:latin typeface="+mn-lt"/>
              <a:ea typeface="Times New Roman" panose="02020603050405020304" pitchFamily="18" charset="0"/>
              <a:cs typeface="Calibri" panose="020F0502020204030204" pitchFamily="34" charset="0"/>
            </a:endParaRPr>
          </a:p>
          <a:p>
            <a:pPr marL="0" marR="0" lvl="0" indent="0" algn="ctr" defTabSz="1219170" rtl="0" eaLnBrk="1" fontAlgn="base" latinLnBrk="0" hangingPunct="1">
              <a:spcBef>
                <a:spcPts val="0"/>
              </a:spcBef>
              <a:spcAft>
                <a:spcPts val="0"/>
              </a:spcAft>
              <a:buClr>
                <a:srgbClr val="F0AB00"/>
              </a:buClr>
              <a:buSzPts val="1100"/>
              <a:buFontTx/>
              <a:buNone/>
              <a:tabLst/>
              <a:defRPr/>
            </a:pPr>
            <a:endParaRPr kumimoji="0" lang="en-GB" sz="1200" b="0" i="0" u="none" strike="noStrike" kern="0" cap="none" spc="0" normalizeH="0" baseline="0" noProof="0" dirty="0">
              <a:ln>
                <a:noFill/>
              </a:ln>
              <a:solidFill>
                <a:srgbClr val="3F4444"/>
              </a:solidFill>
              <a:effectLst/>
              <a:uLnTx/>
              <a:uFillTx/>
              <a:latin typeface="+mn-lt"/>
              <a:ea typeface="Times New Roman" panose="02020603050405020304" pitchFamily="18" charset="0"/>
              <a:cs typeface="Calibri" panose="020F0502020204030204" pitchFamily="34" charset="0"/>
            </a:endParaRPr>
          </a:p>
          <a:p>
            <a:pPr marL="0" marR="0" lvl="0" indent="0" algn="ctr" defTabSz="1219170" rtl="0" eaLnBrk="1" fontAlgn="base" latinLnBrk="0" hangingPunct="1">
              <a:spcBef>
                <a:spcPts val="0"/>
              </a:spcBef>
              <a:spcAft>
                <a:spcPts val="0"/>
              </a:spcAft>
              <a:buClr>
                <a:srgbClr val="F0AB00"/>
              </a:buClr>
              <a:buSzPts val="1100"/>
              <a:buFontTx/>
              <a:buNone/>
              <a:tabLst/>
              <a:defRPr/>
            </a:pPr>
            <a:r>
              <a:rPr lang="ru" b="0" i="0" u="none" strike="noStrike" kern="0" cap="none" spc="0" normalizeH="0" noProof="0" dirty="0">
                <a:ln>
                  <a:noFill/>
                </a:ln>
                <a:solidFill>
                  <a:srgbClr val="3F4444"/>
                </a:solidFill>
                <a:effectLst/>
                <a:uLnTx/>
                <a:uFillTx/>
                <a:latin typeface="+mn-lt"/>
                <a:ea typeface="Times New Roman" panose="02020603050405020304" pitchFamily="18" charset="0"/>
                <a:cs typeface="Calibri" panose="020F0502020204030204" pitchFamily="34" charset="0"/>
              </a:rPr>
              <a:t>Препараты, которые являются мощными индукторами изофермента CYP3A4, могут </a:t>
            </a:r>
            <a:r>
              <a:rPr lang="ru" b="1" i="0" u="none" strike="noStrike" kern="0" cap="none" spc="0" normalizeH="0" noProof="0" dirty="0">
                <a:ln>
                  <a:noFill/>
                </a:ln>
                <a:solidFill>
                  <a:srgbClr val="3F4444"/>
                </a:solidFill>
                <a:effectLst/>
                <a:uLnTx/>
                <a:uFillTx/>
                <a:latin typeface="+mn-lt"/>
                <a:ea typeface="Times New Roman" panose="02020603050405020304" pitchFamily="18" charset="0"/>
                <a:cs typeface="Calibri" panose="020F0502020204030204" pitchFamily="34" charset="0"/>
              </a:rPr>
              <a:t>снижать концентрацию </a:t>
            </a:r>
            <a:r>
              <a:rPr lang="ru" b="0" i="0" u="none" strike="noStrike" kern="0" cap="none" spc="0" normalizeH="0" noProof="0" dirty="0">
                <a:ln>
                  <a:noFill/>
                </a:ln>
                <a:solidFill>
                  <a:srgbClr val="3F4444"/>
                </a:solidFill>
                <a:effectLst/>
                <a:uLnTx/>
                <a:uFillTx/>
                <a:latin typeface="+mn-lt"/>
                <a:ea typeface="Times New Roman" panose="02020603050405020304" pitchFamily="18" charset="0"/>
                <a:cs typeface="Calibri" panose="020F0502020204030204" pitchFamily="34" charset="0"/>
              </a:rPr>
              <a:t>олапариба</a:t>
            </a:r>
            <a:r>
              <a:rPr lang="en" b="1" i="0" u="none" strike="noStrike" kern="0" cap="none" spc="0" normalizeH="0" noProof="0" dirty="0">
                <a:ln>
                  <a:noFill/>
                </a:ln>
                <a:solidFill>
                  <a:srgbClr val="3F4444"/>
                </a:solidFill>
                <a:effectLst/>
                <a:uLnTx/>
                <a:uFillTx/>
                <a:latin typeface="+mn-lt"/>
                <a:ea typeface="Times New Roman" panose="02020603050405020304" pitchFamily="18" charset="0"/>
                <a:cs typeface="Calibri" panose="020F0502020204030204" pitchFamily="34" charset="0"/>
              </a:rPr>
              <a:t> в плазме крови</a:t>
            </a:r>
            <a:r>
              <a:rPr lang="en" b="0" i="0" u="none" strike="noStrike" kern="0" cap="none" spc="0" normalizeH="0" noProof="0" dirty="0">
                <a:ln>
                  <a:noFill/>
                </a:ln>
                <a:solidFill>
                  <a:srgbClr val="3F4444"/>
                </a:solidFill>
                <a:effectLst/>
                <a:uLnTx/>
                <a:uFillTx/>
                <a:latin typeface="+mn-lt"/>
                <a:ea typeface="Times New Roman" panose="02020603050405020304" pitchFamily="18" charset="0"/>
                <a:cs typeface="Calibri" panose="020F0502020204030204" pitchFamily="34" charset="0"/>
              </a:rPr>
              <a:t>, потенциально оказывая влияние на эффективность.</a:t>
            </a:r>
            <a:endParaRPr kumimoji="0" lang="en-GB" b="0" i="0" u="none" strike="noStrike" kern="0" cap="none" spc="0" normalizeH="0" baseline="0" noProof="0" dirty="0">
              <a:ln>
                <a:noFill/>
              </a:ln>
              <a:solidFill>
                <a:srgbClr val="3F4444"/>
              </a:solidFill>
              <a:effectLst/>
              <a:uLnTx/>
              <a:uFillTx/>
              <a:latin typeface="+mn-lt"/>
              <a:cs typeface="Calibri" panose="020F0502020204030204" pitchFamily="34" charset="0"/>
            </a:endParaRPr>
          </a:p>
        </p:txBody>
      </p:sp>
      <p:sp>
        <p:nvSpPr>
          <p:cNvPr id="5" name="Rectangle: Diagonal Corners Rounded 4">
            <a:extLst>
              <a:ext uri="{FF2B5EF4-FFF2-40B4-BE49-F238E27FC236}">
                <a16:creationId xmlns:a16="http://schemas.microsoft.com/office/drawing/2014/main" id="{CD70FC61-D1A0-441E-AB67-BD76A5DDB740}"/>
              </a:ext>
            </a:extLst>
          </p:cNvPr>
          <p:cNvSpPr/>
          <p:nvPr/>
        </p:nvSpPr>
        <p:spPr bwMode="auto">
          <a:xfrm>
            <a:off x="8101740" y="1426471"/>
            <a:ext cx="3355905" cy="3237152"/>
          </a:xfrm>
          <a:prstGeom prst="round2DiagRect">
            <a:avLst/>
          </a:prstGeom>
          <a:solidFill>
            <a:schemeClr val="accent3">
              <a:lumMod val="60000"/>
              <a:lumOff val="40000"/>
            </a:schemeClr>
          </a:solidFill>
          <a:ln w="9525" cap="flat" cmpd="sng" algn="ctr">
            <a:noFill/>
            <a:prstDash val="solid"/>
            <a:round/>
            <a:headEnd type="none" w="med" len="med"/>
            <a:tailEnd type="none" w="med" len="med"/>
          </a:ln>
          <a:effectLst/>
        </p:spPr>
        <p:txBody>
          <a:bodyPr vert="horz" wrap="square" lIns="0" tIns="45720" rIns="0" bIns="45720" numCol="1" rtlCol="0" anchor="t" anchorCtr="0" compatLnSpc="1">
            <a:prstTxWarp prst="textNoShape">
              <a:avLst/>
            </a:prstTxWarp>
          </a:bodyPr>
          <a:lstStyle/>
          <a:p>
            <a:pPr marL="0" marR="0" lvl="0" indent="0" algn="ctr" defTabSz="914400" rtl="0" eaLnBrk="1" fontAlgn="auto" latinLnBrk="0" hangingPunct="1">
              <a:spcBef>
                <a:spcPts val="0"/>
              </a:spcBef>
              <a:buClrTx/>
              <a:buSzTx/>
              <a:buFontTx/>
              <a:buNone/>
              <a:tabLst/>
              <a:defRPr/>
            </a:pPr>
            <a:endParaRPr kumimoji="0" lang="en-GB" sz="1800" b="0" i="0" u="none" strike="noStrike" kern="1200" cap="none" spc="0" normalizeH="0" baseline="0" noProof="0" dirty="0">
              <a:ln>
                <a:noFill/>
              </a:ln>
              <a:solidFill>
                <a:srgbClr val="3F4444"/>
              </a:solidFill>
              <a:effectLst/>
              <a:uLnTx/>
              <a:uFillTx/>
              <a:ea typeface="Times New Roman" panose="02020603050405020304" pitchFamily="18" charset="0"/>
              <a:cs typeface="+mn-cs"/>
            </a:endParaRPr>
          </a:p>
          <a:p>
            <a:pPr marL="0" marR="0" lvl="0" indent="0" algn="ctr" defTabSz="914400" rtl="0" eaLnBrk="1" fontAlgn="auto" latinLnBrk="0" hangingPunct="1">
              <a:spcBef>
                <a:spcPts val="0"/>
              </a:spcBef>
              <a:buClrTx/>
              <a:buSzTx/>
              <a:buFontTx/>
              <a:buNone/>
              <a:tabLst/>
              <a:defRPr/>
            </a:pPr>
            <a:endParaRPr lang="en-GB" dirty="0">
              <a:solidFill>
                <a:srgbClr val="3F4444"/>
              </a:solidFill>
              <a:ea typeface="Times New Roman" panose="02020603050405020304" pitchFamily="18" charset="0"/>
            </a:endParaRPr>
          </a:p>
          <a:p>
            <a:pPr marL="0" marR="0" lvl="0" indent="0" algn="ctr" defTabSz="914400" rtl="0" eaLnBrk="1" fontAlgn="auto" latinLnBrk="0" hangingPunct="1">
              <a:spcBef>
                <a:spcPts val="0"/>
              </a:spcBef>
              <a:buClrTx/>
              <a:buSzTx/>
              <a:buFontTx/>
              <a:buNone/>
              <a:tabLst/>
              <a:defRPr/>
            </a:pPr>
            <a:endParaRPr lang="en-GB" dirty="0">
              <a:solidFill>
                <a:srgbClr val="3F4444"/>
              </a:solidFill>
              <a:ea typeface="Times New Roman" panose="02020603050405020304" pitchFamily="18" charset="0"/>
            </a:endParaRPr>
          </a:p>
          <a:p>
            <a:pPr marL="0" marR="0" lvl="0" indent="0" algn="ctr" defTabSz="914400" rtl="0" eaLnBrk="1" fontAlgn="auto" latinLnBrk="0" hangingPunct="1">
              <a:spcBef>
                <a:spcPts val="0"/>
              </a:spcBef>
              <a:buClrTx/>
              <a:buSzTx/>
              <a:buFontTx/>
              <a:buNone/>
              <a:tabLst/>
              <a:defRPr/>
            </a:pPr>
            <a:endParaRPr lang="en-GB" dirty="0">
              <a:solidFill>
                <a:srgbClr val="3F4444"/>
              </a:solidFill>
              <a:ea typeface="Times New Roman" panose="02020603050405020304" pitchFamily="18" charset="0"/>
            </a:endParaRPr>
          </a:p>
          <a:p>
            <a:pPr marL="0" marR="0" lvl="0" indent="0" algn="ctr" defTabSz="914400" rtl="0" eaLnBrk="1" fontAlgn="auto" latinLnBrk="0" hangingPunct="1">
              <a:spcBef>
                <a:spcPts val="0"/>
              </a:spcBef>
              <a:buClrTx/>
              <a:buSzTx/>
              <a:buFontTx/>
              <a:buNone/>
              <a:tabLst/>
              <a:defRPr/>
            </a:pPr>
            <a:endParaRPr kumimoji="0" lang="en-GB" sz="1100" b="0" i="0" u="none" strike="noStrike" kern="1200" cap="none" spc="0" normalizeH="0" baseline="0" noProof="0" dirty="0">
              <a:ln>
                <a:noFill/>
              </a:ln>
              <a:solidFill>
                <a:srgbClr val="3F4444"/>
              </a:solidFill>
              <a:effectLst/>
              <a:uLnTx/>
              <a:uFillTx/>
              <a:ea typeface="Times New Roman" panose="02020603050405020304" pitchFamily="18" charset="0"/>
              <a:cs typeface="+mn-cs"/>
            </a:endParaRPr>
          </a:p>
          <a:p>
            <a:pPr marL="0" marR="0" lvl="0" indent="0" algn="ctr" defTabSz="914400" rtl="0" eaLnBrk="1" fontAlgn="auto" latinLnBrk="0" hangingPunct="1">
              <a:spcBef>
                <a:spcPts val="0"/>
              </a:spcBef>
              <a:buClrTx/>
              <a:buSzTx/>
              <a:buFontTx/>
              <a:buNone/>
              <a:tabLst/>
              <a:defRPr/>
            </a:pPr>
            <a:r>
              <a:rPr sz="1600" dirty="0" err="1"/>
              <a:t>Было</a:t>
            </a:r>
            <a:r>
              <a:rPr sz="1600" dirty="0"/>
              <a:t> показано, что одновременное применение мощного индуктора изоферментов CYP </a:t>
            </a:r>
            <a:r>
              <a:rPr lang="ru" sz="1600" b="1" i="0" u="none" strike="noStrike" kern="1200" cap="none" spc="0" normalizeH="0" noProof="0" dirty="0">
                <a:ln>
                  <a:noFill/>
                </a:ln>
                <a:solidFill>
                  <a:srgbClr val="3F4444"/>
                </a:solidFill>
                <a:effectLst/>
                <a:uLnTx/>
                <a:uFillTx/>
                <a:ea typeface="Times New Roman" panose="02020603050405020304" pitchFamily="18" charset="0"/>
                <a:cs typeface="+mn-cs"/>
              </a:rPr>
              <a:t>снижает концентрацию олапариба в крови.</a:t>
            </a:r>
            <a:endParaRPr kumimoji="0" lang="en-GB" sz="1600" b="1" i="0" u="none" strike="noStrike" kern="1200" cap="none" spc="0" normalizeH="0" baseline="0" noProof="0" dirty="0">
              <a:ln>
                <a:noFill/>
              </a:ln>
              <a:solidFill>
                <a:srgbClr val="3F4444"/>
              </a:solidFill>
              <a:effectLst/>
              <a:uLnTx/>
              <a:uFillTx/>
              <a:ea typeface="Times New Roman" panose="02020603050405020304" pitchFamily="18" charset="0"/>
              <a:cs typeface="+mn-cs"/>
            </a:endParaRPr>
          </a:p>
        </p:txBody>
      </p:sp>
      <p:sp>
        <p:nvSpPr>
          <p:cNvPr id="9" name="Arrow: Down 8">
            <a:extLst>
              <a:ext uri="{FF2B5EF4-FFF2-40B4-BE49-F238E27FC236}">
                <a16:creationId xmlns:a16="http://schemas.microsoft.com/office/drawing/2014/main" id="{8E08BA36-1FC9-4D43-9669-7A575D71A962}"/>
              </a:ext>
            </a:extLst>
          </p:cNvPr>
          <p:cNvSpPr/>
          <p:nvPr/>
        </p:nvSpPr>
        <p:spPr bwMode="auto">
          <a:xfrm>
            <a:off x="8561423" y="1890550"/>
            <a:ext cx="412903" cy="598884"/>
          </a:xfrm>
          <a:prstGeom prst="downArrow">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GB" sz="1800" b="1" i="0" u="none" strike="noStrike" kern="1200" cap="none" spc="0" normalizeH="0" baseline="0" noProof="0" dirty="0">
              <a:ln>
                <a:noFill/>
              </a:ln>
              <a:solidFill>
                <a:srgbClr val="3F4444"/>
              </a:solidFill>
              <a:effectLst/>
              <a:uLnTx/>
              <a:uFillTx/>
              <a:ea typeface="+mn-ea"/>
              <a:cs typeface="+mn-cs"/>
            </a:endParaRPr>
          </a:p>
        </p:txBody>
      </p:sp>
      <p:sp>
        <p:nvSpPr>
          <p:cNvPr id="10" name="TextBox 9">
            <a:extLst>
              <a:ext uri="{FF2B5EF4-FFF2-40B4-BE49-F238E27FC236}">
                <a16:creationId xmlns:a16="http://schemas.microsoft.com/office/drawing/2014/main" id="{2DD08D1D-84AD-4C49-B009-F14C0FEC9BC0}"/>
              </a:ext>
            </a:extLst>
          </p:cNvPr>
          <p:cNvSpPr txBox="1"/>
          <p:nvPr/>
        </p:nvSpPr>
        <p:spPr>
          <a:xfrm>
            <a:off x="9233732" y="1654352"/>
            <a:ext cx="2012215" cy="1054263"/>
          </a:xfrm>
          <a:prstGeom prst="rect">
            <a:avLst/>
          </a:prstGeom>
          <a:noFill/>
        </p:spPr>
        <p:txBody>
          <a:bodyPr wrap="square" rtlCol="0">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ru" sz="2000" b="1" i="0" u="none" strike="noStrike" kern="1200" cap="none" spc="0" normalizeH="0" noProof="0" dirty="0">
                <a:ln>
                  <a:noFill/>
                </a:ln>
                <a:solidFill>
                  <a:schemeClr val="accent5"/>
                </a:solidFill>
                <a:effectLst/>
                <a:uLnTx/>
                <a:uFillTx/>
                <a:ea typeface="Times New Roman" panose="02020603050405020304" pitchFamily="18" charset="0"/>
                <a:cs typeface="+mn-cs"/>
              </a:rPr>
              <a:t>C</a:t>
            </a:r>
            <a:r>
              <a:rPr lang="ru" sz="2000" b="1" i="0" u="none" strike="noStrike" kern="1200" cap="none" spc="0" normalizeH="0" baseline="-25000" noProof="0" dirty="0">
                <a:ln>
                  <a:noFill/>
                </a:ln>
                <a:solidFill>
                  <a:schemeClr val="accent5"/>
                </a:solidFill>
                <a:effectLst/>
                <a:uLnTx/>
                <a:uFillTx/>
                <a:ea typeface="Times New Roman" panose="02020603050405020304" pitchFamily="18" charset="0"/>
                <a:cs typeface="+mn-cs"/>
              </a:rPr>
              <a:t>max</a:t>
            </a:r>
            <a:r>
              <a:rPr lang="ru" b="0" i="0" u="none" strike="noStrike" kern="1200" cap="none" spc="0" normalizeH="0" noProof="0" dirty="0">
                <a:ln>
                  <a:noFill/>
                </a:ln>
                <a:solidFill>
                  <a:schemeClr val="accent5"/>
                </a:solidFill>
                <a:effectLst/>
                <a:uLnTx/>
                <a:uFillTx/>
                <a:ea typeface="Times New Roman" panose="02020603050405020304" pitchFamily="18" charset="0"/>
                <a:cs typeface="+mn-cs"/>
              </a:rPr>
              <a:t> на </a:t>
            </a:r>
            <a:r>
              <a:rPr lang="ru" sz="2800" b="0" i="0" u="none" strike="noStrike" kern="1200" cap="none" spc="0" normalizeH="0" noProof="0" dirty="0">
                <a:ln>
                  <a:noFill/>
                </a:ln>
                <a:solidFill>
                  <a:schemeClr val="accent5"/>
                </a:solidFill>
                <a:effectLst/>
                <a:uLnTx/>
                <a:uFillTx/>
                <a:ea typeface="Times New Roman" panose="02020603050405020304" pitchFamily="18" charset="0"/>
                <a:cs typeface="+mn-cs"/>
              </a:rPr>
              <a:t>71 % </a:t>
            </a:r>
          </a:p>
          <a:p>
            <a:pPr marL="0" marR="0" lvl="0" indent="0" algn="l" defTabSz="914400" rtl="0" eaLnBrk="1" fontAlgn="auto" latinLnBrk="0" hangingPunct="1">
              <a:lnSpc>
                <a:spcPct val="115000"/>
              </a:lnSpc>
              <a:spcBef>
                <a:spcPts val="0"/>
              </a:spcBef>
              <a:spcAft>
                <a:spcPts val="0"/>
              </a:spcAft>
              <a:buClrTx/>
              <a:buSzTx/>
              <a:buFontTx/>
              <a:buNone/>
              <a:tabLst/>
              <a:defRPr/>
            </a:pPr>
            <a:r>
              <a:rPr lang="ru" sz="2000" b="1" i="0" u="none" strike="noStrike" kern="1200" cap="none" spc="0" normalizeH="0" noProof="0" dirty="0">
                <a:ln>
                  <a:noFill/>
                </a:ln>
                <a:solidFill>
                  <a:schemeClr val="accent5"/>
                </a:solidFill>
                <a:effectLst/>
                <a:uLnTx/>
                <a:uFillTx/>
                <a:ea typeface="Times New Roman" panose="02020603050405020304" pitchFamily="18" charset="0"/>
                <a:cs typeface="+mn-cs"/>
              </a:rPr>
              <a:t>AUC </a:t>
            </a:r>
            <a:r>
              <a:rPr lang="ru" b="0" i="0" u="none" strike="noStrike" kern="1200" cap="none" spc="0" normalizeH="0" noProof="0" dirty="0">
                <a:ln>
                  <a:noFill/>
                </a:ln>
                <a:solidFill>
                  <a:schemeClr val="accent5"/>
                </a:solidFill>
                <a:effectLst/>
                <a:uLnTx/>
                <a:uFillTx/>
                <a:ea typeface="Times New Roman" panose="02020603050405020304" pitchFamily="18" charset="0"/>
                <a:cs typeface="+mn-cs"/>
              </a:rPr>
              <a:t>на </a:t>
            </a:r>
            <a:r>
              <a:rPr lang="ru" sz="2800" b="0" i="0" u="none" strike="noStrike" kern="1200" cap="none" spc="0" normalizeH="0" noProof="0" dirty="0">
                <a:ln>
                  <a:noFill/>
                </a:ln>
                <a:solidFill>
                  <a:schemeClr val="accent5"/>
                </a:solidFill>
                <a:effectLst/>
                <a:uLnTx/>
                <a:uFillTx/>
                <a:ea typeface="Times New Roman" panose="02020603050405020304" pitchFamily="18" charset="0"/>
                <a:cs typeface="+mn-cs"/>
              </a:rPr>
              <a:t>87 %</a:t>
            </a:r>
            <a:endParaRPr kumimoji="0" lang="en-GB" sz="2400" b="0" i="0" u="none" strike="noStrike" kern="1200" cap="none" spc="0" normalizeH="0" baseline="0" noProof="0" dirty="0">
              <a:ln>
                <a:noFill/>
              </a:ln>
              <a:solidFill>
                <a:schemeClr val="accent5"/>
              </a:solidFill>
              <a:effectLst/>
              <a:uLnTx/>
              <a:uFillTx/>
              <a:ea typeface="Times New Roman" panose="02020603050405020304" pitchFamily="18" charset="0"/>
              <a:cs typeface="+mn-cs"/>
            </a:endParaRPr>
          </a:p>
        </p:txBody>
      </p:sp>
      <p:pic>
        <p:nvPicPr>
          <p:cNvPr id="16" name="Picture 15">
            <a:extLst>
              <a:ext uri="{FF2B5EF4-FFF2-40B4-BE49-F238E27FC236}">
                <a16:creationId xmlns:a16="http://schemas.microsoft.com/office/drawing/2014/main" id="{8C24CAF2-308C-48DF-9CFE-008042E0519E}"/>
              </a:ext>
            </a:extLst>
          </p:cNvPr>
          <p:cNvPicPr>
            <a:picLocks noChangeAspect="1"/>
          </p:cNvPicPr>
          <p:nvPr/>
        </p:nvPicPr>
        <p:blipFill>
          <a:blip r:embed="rId3">
            <a:clrChange>
              <a:clrFrom>
                <a:srgbClr val="FFFFFF"/>
              </a:clrFrom>
              <a:clrTo>
                <a:srgbClr val="FFFFFF">
                  <a:alpha val="0"/>
                </a:srgbClr>
              </a:clrTo>
            </a:clrChange>
            <a:duotone>
              <a:schemeClr val="accent2">
                <a:shade val="45000"/>
                <a:satMod val="135000"/>
              </a:schemeClr>
              <a:prstClr val="white"/>
            </a:duotone>
          </a:blip>
          <a:stretch>
            <a:fillRect/>
          </a:stretch>
        </p:blipFill>
        <p:spPr>
          <a:xfrm>
            <a:off x="5487449" y="1544188"/>
            <a:ext cx="1081596" cy="1057693"/>
          </a:xfrm>
          <a:prstGeom prst="rect">
            <a:avLst/>
          </a:prstGeom>
        </p:spPr>
      </p:pic>
      <p:pic>
        <p:nvPicPr>
          <p:cNvPr id="19" name="Picture 18">
            <a:extLst>
              <a:ext uri="{FF2B5EF4-FFF2-40B4-BE49-F238E27FC236}">
                <a16:creationId xmlns:a16="http://schemas.microsoft.com/office/drawing/2014/main" id="{E363BA18-06C7-47F6-A995-7E37F1E12267}"/>
              </a:ext>
            </a:extLst>
          </p:cNvPr>
          <p:cNvPicPr>
            <a:picLocks noChangeAspect="1"/>
          </p:cNvPicPr>
          <p:nvPr/>
        </p:nvPicPr>
        <p:blipFill>
          <a:blip r:embed="rId4">
            <a:clrChange>
              <a:clrFrom>
                <a:srgbClr val="FFFFFF"/>
              </a:clrFrom>
              <a:clrTo>
                <a:srgbClr val="FFFFFF">
                  <a:alpha val="0"/>
                </a:srgbClr>
              </a:clrTo>
            </a:clrChange>
            <a:lum bright="70000" contrast="-70000"/>
          </a:blip>
          <a:stretch>
            <a:fillRect/>
          </a:stretch>
        </p:blipFill>
        <p:spPr>
          <a:xfrm>
            <a:off x="1698101" y="1669628"/>
            <a:ext cx="1258031" cy="1149813"/>
          </a:xfrm>
          <a:prstGeom prst="rect">
            <a:avLst/>
          </a:prstGeom>
        </p:spPr>
      </p:pic>
      <p:sp>
        <p:nvSpPr>
          <p:cNvPr id="3" name="Title 1">
            <a:extLst>
              <a:ext uri="{FF2B5EF4-FFF2-40B4-BE49-F238E27FC236}">
                <a16:creationId xmlns:a16="http://schemas.microsoft.com/office/drawing/2014/main" id="{15325C7B-B6F0-3C9E-AB08-5E4A57F88FA9}"/>
              </a:ext>
            </a:extLst>
          </p:cNvPr>
          <p:cNvSpPr txBox="1">
            <a:spLocks/>
          </p:cNvSpPr>
          <p:nvPr/>
        </p:nvSpPr>
        <p:spPr>
          <a:xfrm>
            <a:off x="258422" y="5148775"/>
            <a:ext cx="11675156" cy="1007427"/>
          </a:xfrm>
        </p:spPr>
        <p:txBody>
          <a:bodyPr rtlCol="0">
            <a:no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 sz="1800" dirty="0">
                <a:latin typeface="+mn-lt"/>
                <a:ea typeface="+mn-ea"/>
                <a:cs typeface="+mn-cs"/>
              </a:rPr>
              <a:t>Концентрация препарата в крови и, следовательно, эффективность олапариба могут быть снижены при применении </a:t>
            </a:r>
            <a:r>
              <a:rPr lang="ru" sz="1800" b="1" dirty="0">
                <a:latin typeface="+mn-lt"/>
                <a:ea typeface="+mn-ea"/>
                <a:cs typeface="+mn-cs"/>
              </a:rPr>
              <a:t>мощных индукторов изофермента CYP3A4, таких как энзалутамид</a:t>
            </a:r>
            <a:r>
              <a:rPr lang="ru" sz="1800" dirty="0">
                <a:latin typeface="+mn-lt"/>
                <a:ea typeface="+mn-ea"/>
                <a:cs typeface="+mn-cs"/>
              </a:rPr>
              <a:t>, поэтому эти препараты нельзя комбинировать</a:t>
            </a:r>
            <a:endParaRPr lang="en-GB" sz="1800" dirty="0">
              <a:latin typeface="+mn-lt"/>
              <a:ea typeface="+mn-ea"/>
              <a:cs typeface="+mn-cs"/>
            </a:endParaRPr>
          </a:p>
        </p:txBody>
      </p:sp>
    </p:spTree>
    <p:extLst>
      <p:ext uri="{BB962C8B-B14F-4D97-AF65-F5344CB8AC3E}">
        <p14:creationId xmlns:p14="http://schemas.microsoft.com/office/powerpoint/2010/main" val="14618584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99A3C04-6B6A-1C48-8C9D-395ABD787350}"/>
              </a:ext>
            </a:extLst>
          </p:cNvPr>
          <p:cNvSpPr>
            <a:spLocks noGrp="1"/>
          </p:cNvSpPr>
          <p:nvPr>
            <p:ph type="title"/>
          </p:nvPr>
        </p:nvSpPr>
        <p:spPr>
          <a:solidFill>
            <a:schemeClr val="tx1"/>
          </a:solidFill>
        </p:spPr>
        <p:txBody>
          <a:bodyPr bIns="2124000" rtlCol="0">
            <a:noAutofit/>
          </a:bodyPr>
          <a:lstStyle/>
          <a:p>
            <a:pPr rtl="0"/>
            <a:br>
              <a:rPr lang="en-US" sz="4400" dirty="0"/>
            </a:br>
            <a:br>
              <a:rPr lang="en-US" sz="4400" dirty="0"/>
            </a:br>
            <a:br>
              <a:rPr lang="en-US" sz="4400" dirty="0"/>
            </a:br>
            <a:br>
              <a:rPr lang="en-US" sz="4400" dirty="0"/>
            </a:br>
            <a:br>
              <a:rPr lang="en-US" sz="4400" dirty="0"/>
            </a:br>
            <a:br>
              <a:rPr lang="en-US" sz="4400" dirty="0"/>
            </a:br>
            <a:r>
              <a:rPr lang="ru" sz="4400" dirty="0"/>
              <a:t>Дизайн исследования PROpel</a:t>
            </a:r>
            <a:br>
              <a:rPr lang="en-GB" sz="4400" dirty="0"/>
            </a:br>
            <a:endParaRPr lang="en-US" sz="4400" dirty="0"/>
          </a:p>
        </p:txBody>
      </p:sp>
    </p:spTree>
    <p:extLst>
      <p:ext uri="{BB962C8B-B14F-4D97-AF65-F5344CB8AC3E}">
        <p14:creationId xmlns:p14="http://schemas.microsoft.com/office/powerpoint/2010/main" val="22679800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857564-BDC5-4271-B6DF-9A71EB9C9450}"/>
              </a:ext>
            </a:extLst>
          </p:cNvPr>
          <p:cNvSpPr>
            <a:spLocks noGrp="1"/>
          </p:cNvSpPr>
          <p:nvPr>
            <p:ph type="title"/>
          </p:nvPr>
        </p:nvSpPr>
        <p:spPr>
          <a:xfrm>
            <a:off x="370470" y="129478"/>
            <a:ext cx="11580018" cy="1007427"/>
          </a:xfrm>
        </p:spPr>
        <p:txBody>
          <a:bodyPr rtlCol="0">
            <a:noAutofit/>
          </a:bodyPr>
          <a:lstStyle/>
          <a:p>
            <a:pPr rtl="0"/>
            <a:r>
              <a:rPr lang="ru" sz="2000" b="1" i="1" dirty="0">
                <a:latin typeface="+mn-lt"/>
                <a:ea typeface="+mn-ea"/>
                <a:cs typeface="+mn-cs"/>
              </a:rPr>
              <a:t>Исследование PROpel: Исследование III фазы для оценки эффективности, безопасности и переносимости комбинации олапариба с абиратероном в качестве терапии первой линии у пациентов с мКРРПЖ</a:t>
            </a:r>
            <a:endParaRPr lang="en-GB" sz="2000" b="1" i="1" dirty="0">
              <a:latin typeface="+mn-lt"/>
              <a:ea typeface="+mn-ea"/>
              <a:cs typeface="+mn-cs"/>
            </a:endParaRPr>
          </a:p>
        </p:txBody>
      </p:sp>
      <p:sp>
        <p:nvSpPr>
          <p:cNvPr id="4" name="Text Placeholder 3">
            <a:extLst>
              <a:ext uri="{FF2B5EF4-FFF2-40B4-BE49-F238E27FC236}">
                <a16:creationId xmlns:a16="http://schemas.microsoft.com/office/drawing/2014/main" id="{F37D83B6-316E-4AF4-953B-CD984A4177A3}"/>
              </a:ext>
            </a:extLst>
          </p:cNvPr>
          <p:cNvSpPr>
            <a:spLocks noGrp="1"/>
          </p:cNvSpPr>
          <p:nvPr>
            <p:ph type="body" sz="quarter" idx="111"/>
          </p:nvPr>
        </p:nvSpPr>
        <p:spPr>
          <a:xfrm>
            <a:off x="407987" y="6200774"/>
            <a:ext cx="11257143" cy="657225"/>
          </a:xfrm>
        </p:spPr>
        <p:txBody>
          <a:bodyPr rtlCol="0"/>
          <a:lstStyle/>
          <a:p>
            <a:pPr marL="0" indent="0" rtl="0" fontAlgn="base">
              <a:spcBef>
                <a:spcPts val="0"/>
              </a:spcBef>
              <a:spcAft>
                <a:spcPts val="0"/>
              </a:spcAft>
            </a:pPr>
            <a:endParaRPr lang="ru" sz="700" dirty="0">
              <a:cs typeface="Calibri" panose="020F0502020204030204" pitchFamily="34" charset="0"/>
            </a:endParaRPr>
          </a:p>
          <a:p>
            <a:pPr marL="0" indent="0" rtl="0" fontAlgn="base">
              <a:spcBef>
                <a:spcPts val="0"/>
              </a:spcBef>
              <a:spcAft>
                <a:spcPts val="0"/>
              </a:spcAft>
            </a:pPr>
            <a:endParaRPr lang="ru" sz="700" dirty="0">
              <a:cs typeface="Calibri" panose="020F0502020204030204" pitchFamily="34" charset="0"/>
            </a:endParaRPr>
          </a:p>
          <a:p>
            <a:pPr marL="0" indent="0" rtl="0" fontAlgn="base">
              <a:spcBef>
                <a:spcPts val="0"/>
              </a:spcBef>
              <a:spcAft>
                <a:spcPts val="0"/>
              </a:spcAft>
            </a:pPr>
            <a:r>
              <a:rPr lang="ru" sz="700" dirty="0">
                <a:cs typeface="Calibri" panose="020F0502020204030204" pitchFamily="34" charset="0"/>
              </a:rPr>
              <a:t>*Допускалось применение доцетаксела в рамках неоадъювантной/адъювантной терапии локализованного рака предстательной железы и на этапе мГЧРПЖ.†В</a:t>
            </a:r>
            <a:r>
              <a:rPr lang="ru" sz="700" b="0" i="0" u="none" strike="noStrike" kern="1200" cap="none" spc="0" normalizeH="0" noProof="0" dirty="0">
                <a:ln>
                  <a:noFill/>
                </a:ln>
                <a:effectLst/>
                <a:uLnTx/>
                <a:uFillTx/>
                <a:cs typeface="Calibri" panose="020F0502020204030204" pitchFamily="34" charset="0"/>
              </a:rPr>
              <a:t> комбинации с преднизолоном 5 мг 2 р/сут.</a:t>
            </a:r>
            <a:r>
              <a:rPr lang="ru" sz="700" b="0" i="0" u="none" strike="noStrike" kern="1200" cap="none" spc="0" normalizeH="0" baseline="30000" noProof="0" dirty="0">
                <a:ln>
                  <a:noFill/>
                </a:ln>
                <a:effectLst/>
                <a:uLnTx/>
                <a:uFillTx/>
                <a:cs typeface="Calibri" panose="020F0502020204030204" pitchFamily="34" charset="0"/>
              </a:rPr>
              <a:t>‡</a:t>
            </a:r>
            <a:r>
              <a:rPr lang="ru" sz="700" b="0" i="0" u="none" strike="noStrike" kern="1200" cap="none" spc="0" normalizeH="0" noProof="0" dirty="0">
                <a:ln>
                  <a:noFill/>
                </a:ln>
                <a:effectLst/>
                <a:uLnTx/>
                <a:uFillTx/>
                <a:cs typeface="Calibri" panose="020F0502020204030204" pitchFamily="34" charset="0"/>
              </a:rPr>
              <a:t>Статус мутаций HRRm определяется путем анализа на основе цоДНК («FoundationOne Liquid CDx») или анализа опухолевой ткани («FoundationOne CDx») для выявления изменений в следующих генах: </a:t>
            </a:r>
            <a:r>
              <a:rPr lang="ru" sz="700" b="0" i="1" u="none" strike="noStrike" kern="1200" cap="none" spc="0" normalizeH="0" noProof="0" dirty="0">
                <a:ln>
                  <a:noFill/>
                </a:ln>
                <a:effectLst/>
                <a:uLnTx/>
                <a:uFillTx/>
                <a:cs typeface="Calibri" panose="020F0502020204030204" pitchFamily="34" charset="0"/>
              </a:rPr>
              <a:t>ATM</a:t>
            </a:r>
            <a:r>
              <a:rPr lang="ru" sz="700" b="0" i="0" u="none" strike="noStrike" kern="1200" cap="none" spc="0" normalizeH="0" noProof="0" dirty="0">
                <a:ln>
                  <a:noFill/>
                </a:ln>
                <a:effectLst/>
                <a:uLnTx/>
                <a:uFillTx/>
                <a:cs typeface="Calibri" panose="020F0502020204030204" pitchFamily="34" charset="0"/>
              </a:rPr>
              <a:t>, </a:t>
            </a:r>
            <a:r>
              <a:rPr lang="ru" sz="700" b="0" i="1" u="none" strike="noStrike" kern="1200" cap="none" spc="0" normalizeH="0" noProof="0" dirty="0">
                <a:ln>
                  <a:noFill/>
                </a:ln>
                <a:effectLst/>
                <a:uLnTx/>
                <a:uFillTx/>
                <a:cs typeface="Calibri" panose="020F0502020204030204" pitchFamily="34" charset="0"/>
              </a:rPr>
              <a:t>BRCA1</a:t>
            </a:r>
            <a:r>
              <a:rPr lang="ru" sz="700" b="0" i="0" u="none" strike="noStrike" kern="1200" cap="none" spc="0" normalizeH="0" noProof="0" dirty="0">
                <a:ln>
                  <a:noFill/>
                </a:ln>
                <a:effectLst/>
                <a:uLnTx/>
                <a:uFillTx/>
                <a:cs typeface="Calibri" panose="020F0502020204030204" pitchFamily="34" charset="0"/>
              </a:rPr>
              <a:t>, </a:t>
            </a:r>
            <a:r>
              <a:rPr lang="ru" sz="700" b="0" i="1" u="none" strike="noStrike" kern="1200" cap="none" spc="0" normalizeH="0" noProof="0" dirty="0">
                <a:ln>
                  <a:noFill/>
                </a:ln>
                <a:effectLst/>
                <a:uLnTx/>
                <a:uFillTx/>
                <a:cs typeface="Calibri" panose="020F0502020204030204" pitchFamily="34" charset="0"/>
              </a:rPr>
              <a:t>BRCA2</a:t>
            </a:r>
            <a:r>
              <a:rPr lang="ru" sz="700" b="0" i="0" u="none" strike="noStrike" kern="1200" cap="none" spc="0" normalizeH="0" noProof="0" dirty="0">
                <a:ln>
                  <a:noFill/>
                </a:ln>
                <a:effectLst/>
                <a:uLnTx/>
                <a:uFillTx/>
                <a:cs typeface="Calibri" panose="020F0502020204030204" pitchFamily="34" charset="0"/>
              </a:rPr>
              <a:t>, </a:t>
            </a:r>
            <a:r>
              <a:rPr lang="ru" sz="700" b="0" i="1" u="none" strike="noStrike" kern="1200" cap="none" spc="0" normalizeH="0" noProof="0" dirty="0">
                <a:ln>
                  <a:noFill/>
                </a:ln>
                <a:effectLst/>
                <a:uLnTx/>
                <a:uFillTx/>
                <a:cs typeface="Calibri" panose="020F0502020204030204" pitchFamily="34" charset="0"/>
              </a:rPr>
              <a:t>BARD1</a:t>
            </a:r>
            <a:r>
              <a:rPr lang="ru" sz="700" b="0" i="0" u="none" strike="noStrike" kern="1200" cap="none" spc="0" normalizeH="0" noProof="0" dirty="0">
                <a:ln>
                  <a:noFill/>
                </a:ln>
                <a:effectLst/>
                <a:uLnTx/>
                <a:uFillTx/>
                <a:cs typeface="Calibri" panose="020F0502020204030204" pitchFamily="34" charset="0"/>
              </a:rPr>
              <a:t>, </a:t>
            </a:r>
            <a:r>
              <a:rPr lang="ru" sz="700" b="0" i="1" u="none" strike="noStrike" kern="1200" cap="none" spc="0" normalizeH="0" noProof="0" dirty="0">
                <a:ln>
                  <a:noFill/>
                </a:ln>
                <a:effectLst/>
                <a:uLnTx/>
                <a:uFillTx/>
                <a:cs typeface="Calibri" panose="020F0502020204030204" pitchFamily="34" charset="0"/>
              </a:rPr>
              <a:t>BRIP1</a:t>
            </a:r>
            <a:r>
              <a:rPr lang="ru" sz="700" b="0" i="0" u="none" strike="noStrike" kern="1200" cap="none" spc="0" normalizeH="0" noProof="0" dirty="0">
                <a:ln>
                  <a:noFill/>
                </a:ln>
                <a:effectLst/>
                <a:uLnTx/>
                <a:uFillTx/>
                <a:cs typeface="Calibri" panose="020F0502020204030204" pitchFamily="34" charset="0"/>
              </a:rPr>
              <a:t>, </a:t>
            </a:r>
            <a:r>
              <a:rPr lang="ru" sz="700" b="0" i="1" u="none" strike="noStrike" kern="1200" cap="none" spc="0" normalizeH="0" noProof="0" dirty="0">
                <a:ln>
                  <a:noFill/>
                </a:ln>
                <a:effectLst/>
                <a:uLnTx/>
                <a:uFillTx/>
                <a:cs typeface="Calibri" panose="020F0502020204030204" pitchFamily="34" charset="0"/>
              </a:rPr>
              <a:t>CDK12</a:t>
            </a:r>
            <a:r>
              <a:rPr lang="ru" sz="700" b="0" i="0" u="none" strike="noStrike" kern="1200" cap="none" spc="0" normalizeH="0" noProof="0" dirty="0">
                <a:ln>
                  <a:noFill/>
                </a:ln>
                <a:effectLst/>
                <a:uLnTx/>
                <a:uFillTx/>
                <a:cs typeface="Calibri" panose="020F0502020204030204" pitchFamily="34" charset="0"/>
              </a:rPr>
              <a:t>, </a:t>
            </a:r>
            <a:r>
              <a:rPr lang="ru" sz="700" b="0" i="1" u="none" strike="noStrike" kern="1200" cap="none" spc="0" normalizeH="0" noProof="0" dirty="0">
                <a:ln>
                  <a:noFill/>
                </a:ln>
                <a:effectLst/>
                <a:uLnTx/>
                <a:uFillTx/>
                <a:cs typeface="Calibri" panose="020F0502020204030204" pitchFamily="34" charset="0"/>
              </a:rPr>
              <a:t>CHEK1</a:t>
            </a:r>
            <a:r>
              <a:rPr lang="ru" sz="700" b="0" i="0" u="none" strike="noStrike" kern="1200" cap="none" spc="0" normalizeH="0" noProof="0" dirty="0">
                <a:ln>
                  <a:noFill/>
                </a:ln>
                <a:effectLst/>
                <a:uLnTx/>
                <a:uFillTx/>
                <a:cs typeface="Calibri" panose="020F0502020204030204" pitchFamily="34" charset="0"/>
              </a:rPr>
              <a:t>, </a:t>
            </a:r>
            <a:r>
              <a:rPr lang="ru" sz="700" b="0" i="1" u="none" strike="noStrike" kern="1200" cap="none" spc="0" normalizeH="0" noProof="0" dirty="0">
                <a:ln>
                  <a:noFill/>
                </a:ln>
                <a:effectLst/>
                <a:uLnTx/>
                <a:uFillTx/>
                <a:cs typeface="Calibri" panose="020F0502020204030204" pitchFamily="34" charset="0"/>
              </a:rPr>
              <a:t>CHEK2</a:t>
            </a:r>
            <a:r>
              <a:rPr lang="ru" sz="700" b="0" i="0" u="none" strike="noStrike" kern="1200" cap="none" spc="0" normalizeH="0" noProof="0" dirty="0">
                <a:ln>
                  <a:noFill/>
                </a:ln>
                <a:effectLst/>
                <a:uLnTx/>
                <a:uFillTx/>
                <a:cs typeface="Calibri" panose="020F0502020204030204" pitchFamily="34" charset="0"/>
              </a:rPr>
              <a:t>, </a:t>
            </a:r>
            <a:r>
              <a:rPr lang="ru" sz="700" b="0" i="1" u="none" strike="noStrike" kern="1200" cap="none" spc="0" normalizeH="0" noProof="0" dirty="0">
                <a:ln>
                  <a:noFill/>
                </a:ln>
                <a:effectLst/>
                <a:uLnTx/>
                <a:uFillTx/>
                <a:cs typeface="Calibri" panose="020F0502020204030204" pitchFamily="34" charset="0"/>
              </a:rPr>
              <a:t>FANCL</a:t>
            </a:r>
            <a:r>
              <a:rPr lang="ru" sz="700" b="0" i="0" u="none" strike="noStrike" kern="1200" cap="none" spc="0" normalizeH="0" noProof="0" dirty="0">
                <a:ln>
                  <a:noFill/>
                </a:ln>
                <a:effectLst/>
                <a:uLnTx/>
                <a:uFillTx/>
                <a:cs typeface="Calibri" panose="020F0502020204030204" pitchFamily="34" charset="0"/>
              </a:rPr>
              <a:t>, </a:t>
            </a:r>
            <a:r>
              <a:rPr lang="ru" sz="700" b="0" i="1" u="none" strike="noStrike" kern="1200" cap="none" spc="0" normalizeH="0" noProof="0" dirty="0">
                <a:ln>
                  <a:noFill/>
                </a:ln>
                <a:effectLst/>
                <a:uLnTx/>
                <a:uFillTx/>
                <a:cs typeface="Calibri" panose="020F0502020204030204" pitchFamily="34" charset="0"/>
              </a:rPr>
              <a:t>PALB2</a:t>
            </a:r>
            <a:r>
              <a:rPr lang="ru" sz="700" b="0" i="0" u="none" strike="noStrike" kern="1200" cap="none" spc="0" normalizeH="0" noProof="0" dirty="0">
                <a:ln>
                  <a:noFill/>
                </a:ln>
                <a:effectLst/>
                <a:uLnTx/>
                <a:uFillTx/>
                <a:cs typeface="Calibri" panose="020F0502020204030204" pitchFamily="34" charset="0"/>
              </a:rPr>
              <a:t>, </a:t>
            </a:r>
            <a:r>
              <a:rPr lang="ru" sz="700" b="0" i="1" u="none" strike="noStrike" kern="1200" cap="none" spc="0" normalizeH="0" noProof="0" dirty="0">
                <a:ln>
                  <a:noFill/>
                </a:ln>
                <a:effectLst/>
                <a:uLnTx/>
                <a:uFillTx/>
                <a:cs typeface="Calibri" panose="020F0502020204030204" pitchFamily="34" charset="0"/>
              </a:rPr>
              <a:t>RAD51B</a:t>
            </a:r>
            <a:r>
              <a:rPr lang="ru" sz="700" b="0" i="0" u="none" strike="noStrike" kern="1200" cap="none" spc="0" normalizeH="0" noProof="0" dirty="0">
                <a:ln>
                  <a:noFill/>
                </a:ln>
                <a:effectLst/>
                <a:uLnTx/>
                <a:uFillTx/>
                <a:cs typeface="Calibri" panose="020F0502020204030204" pitchFamily="34" charset="0"/>
              </a:rPr>
              <a:t>, </a:t>
            </a:r>
            <a:r>
              <a:rPr lang="ru" sz="700" b="0" i="1" u="none" strike="noStrike" kern="1200" cap="none" spc="0" normalizeH="0" noProof="0" dirty="0">
                <a:ln>
                  <a:noFill/>
                </a:ln>
                <a:effectLst/>
                <a:uLnTx/>
                <a:uFillTx/>
                <a:cs typeface="Calibri" panose="020F0502020204030204" pitchFamily="34" charset="0"/>
              </a:rPr>
              <a:t>RAD51C</a:t>
            </a:r>
            <a:r>
              <a:rPr lang="ru" sz="700" b="0" i="0" u="none" strike="noStrike" kern="1200" cap="none" spc="0" normalizeH="0" noProof="0" dirty="0">
                <a:ln>
                  <a:noFill/>
                </a:ln>
                <a:effectLst/>
                <a:uLnTx/>
                <a:uFillTx/>
                <a:cs typeface="Calibri" panose="020F0502020204030204" pitchFamily="34" charset="0"/>
              </a:rPr>
              <a:t>, </a:t>
            </a:r>
            <a:r>
              <a:rPr lang="ru" sz="700" b="0" i="1" u="none" strike="noStrike" kern="1200" cap="none" spc="0" normalizeH="0" noProof="0" dirty="0">
                <a:ln>
                  <a:noFill/>
                </a:ln>
                <a:effectLst/>
                <a:uLnTx/>
                <a:uFillTx/>
                <a:cs typeface="Calibri" panose="020F0502020204030204" pitchFamily="34" charset="0"/>
              </a:rPr>
              <a:t>RAD51D</a:t>
            </a:r>
            <a:r>
              <a:rPr lang="ru" sz="700" b="0" i="0" u="none" strike="noStrike" kern="1200" cap="none" spc="0" normalizeH="0" noProof="0" dirty="0">
                <a:ln>
                  <a:noFill/>
                </a:ln>
                <a:effectLst/>
                <a:uLnTx/>
                <a:uFillTx/>
                <a:cs typeface="Calibri" panose="020F0502020204030204" pitchFamily="34" charset="0"/>
              </a:rPr>
              <a:t> и </a:t>
            </a:r>
            <a:r>
              <a:rPr lang="ru" sz="700" b="0" i="1" u="none" strike="noStrike" kern="1200" cap="none" spc="0" normalizeH="0" noProof="0" dirty="0">
                <a:ln>
                  <a:noFill/>
                </a:ln>
                <a:effectLst/>
                <a:uLnTx/>
                <a:uFillTx/>
                <a:cs typeface="Calibri" panose="020F0502020204030204" pitchFamily="34" charset="0"/>
              </a:rPr>
              <a:t>RAD54L.</a:t>
            </a:r>
          </a:p>
          <a:p>
            <a:pPr marL="0" indent="0" rtl="0" fontAlgn="base">
              <a:spcBef>
                <a:spcPts val="0"/>
              </a:spcBef>
              <a:spcAft>
                <a:spcPts val="0"/>
              </a:spcAft>
            </a:pPr>
            <a:r>
              <a:rPr lang="ru" sz="700" i="1" dirty="0">
                <a:cs typeface="Calibri" panose="020F0502020204030204" pitchFamily="34" charset="0"/>
              </a:rPr>
              <a:t>**</a:t>
            </a:r>
            <a:r>
              <a:rPr lang="ru-RU" sz="700" i="1" dirty="0">
                <a:cs typeface="Calibri" panose="020F0502020204030204" pitchFamily="34" charset="0"/>
              </a:rPr>
              <a:t>Не допускалось применение других НГП менее чем за 12 месяцев до включения в исследование</a:t>
            </a:r>
            <a:r>
              <a:rPr lang="ru" sz="700" b="0" i="1" u="none" strike="noStrike" kern="1200" cap="none" spc="0" normalizeH="0" noProof="0" dirty="0">
                <a:ln>
                  <a:noFill/>
                </a:ln>
                <a:effectLst/>
                <a:uLnTx/>
                <a:uFillTx/>
                <a:cs typeface="Calibri" panose="020F0502020204030204" pitchFamily="34" charset="0"/>
              </a:rPr>
              <a:t>     </a:t>
            </a:r>
          </a:p>
          <a:p>
            <a:pPr marL="0" indent="0" rtl="0" fontAlgn="base">
              <a:spcBef>
                <a:spcPts val="0"/>
              </a:spcBef>
              <a:spcAft>
                <a:spcPts val="0"/>
              </a:spcAft>
            </a:pPr>
            <a:r>
              <a:rPr lang="ru" sz="700" b="0" i="0" u="none" strike="noStrike" kern="0" cap="none" spc="0" normalizeH="0" noProof="0" dirty="0">
                <a:ln>
                  <a:noFill/>
                </a:ln>
                <a:effectLst/>
                <a:uLnTx/>
                <a:uFillTx/>
                <a:cs typeface="Calibri" panose="020F0502020204030204" pitchFamily="34" charset="0"/>
              </a:rPr>
              <a:t>АДТ — андроген-депривационная терапия; 2 р/сут — два раза в сутки; ECOG </a:t>
            </a:r>
            <a:r>
              <a:rPr lang="ru" sz="700" kern="0" dirty="0">
                <a:cs typeface="Calibri" panose="020F0502020204030204" pitchFamily="34" charset="0"/>
              </a:rPr>
              <a:t>—</a:t>
            </a:r>
            <a:r>
              <a:rPr lang="ru" sz="700" b="0" i="0" u="none" strike="noStrike" kern="0" cap="none" spc="0" normalizeH="0" noProof="0" dirty="0">
                <a:ln>
                  <a:noFill/>
                </a:ln>
                <a:effectLst/>
                <a:uLnTx/>
                <a:uFillTx/>
                <a:cs typeface="Calibri" panose="020F0502020204030204" pitchFamily="34" charset="0"/>
              </a:rPr>
              <a:t> Восточная объединенная онкологическая группа; HRR </a:t>
            </a:r>
            <a:r>
              <a:rPr lang="ru" sz="700" kern="0" dirty="0">
                <a:cs typeface="Calibri" panose="020F0502020204030204" pitchFamily="34" charset="0"/>
              </a:rPr>
              <a:t>—</a:t>
            </a:r>
            <a:r>
              <a:rPr lang="ru" sz="700" b="0" i="0" u="none" strike="noStrike" kern="0" cap="none" spc="0" normalizeH="0" noProof="0" dirty="0">
                <a:ln>
                  <a:noFill/>
                </a:ln>
                <a:effectLst/>
                <a:uLnTx/>
                <a:uFillTx/>
                <a:cs typeface="Calibri" panose="020F0502020204030204" pitchFamily="34" charset="0"/>
              </a:rPr>
              <a:t> гены репарации посредством гомологичной рекомбинации; мКРРПЖ </a:t>
            </a:r>
            <a:r>
              <a:rPr lang="ru" sz="700" kern="0" dirty="0">
                <a:cs typeface="Calibri" panose="020F0502020204030204" pitchFamily="34" charset="0"/>
              </a:rPr>
              <a:t>—</a:t>
            </a:r>
            <a:r>
              <a:rPr lang="ru" sz="700" b="0" i="0" u="none" strike="noStrike" kern="0" cap="none" spc="0" normalizeH="0" noProof="0" dirty="0">
                <a:ln>
                  <a:noFill/>
                </a:ln>
                <a:effectLst/>
                <a:uLnTx/>
                <a:uFillTx/>
                <a:cs typeface="Calibri" panose="020F0502020204030204" pitchFamily="34" charset="0"/>
              </a:rPr>
              <a:t> метастатический кастрационно-резистентный рак предстательной железы; мГЧРПЖ </a:t>
            </a:r>
            <a:r>
              <a:rPr lang="ru" sz="700" kern="0" dirty="0">
                <a:cs typeface="Calibri" panose="020F0502020204030204" pitchFamily="34" charset="0"/>
              </a:rPr>
              <a:t>—</a:t>
            </a:r>
            <a:r>
              <a:rPr lang="ru" sz="700" b="0" i="0" u="none" strike="noStrike" kern="0" cap="none" spc="0" normalizeH="0" noProof="0" dirty="0">
                <a:ln>
                  <a:noFill/>
                </a:ln>
                <a:effectLst/>
                <a:uLnTx/>
                <a:uFillTx/>
                <a:cs typeface="Calibri" panose="020F0502020204030204" pitchFamily="34" charset="0"/>
              </a:rPr>
              <a:t> метастатический гормоночувствительный рак предстательной железы; НГП </a:t>
            </a:r>
            <a:r>
              <a:rPr lang="ru" sz="700" kern="0" dirty="0">
                <a:cs typeface="Calibri" panose="020F0502020204030204" pitchFamily="34" charset="0"/>
              </a:rPr>
              <a:t>—</a:t>
            </a:r>
            <a:r>
              <a:rPr lang="ru" sz="700" b="0" i="0" u="none" strike="noStrike" kern="0" cap="none" spc="0" normalizeH="0" noProof="0" dirty="0">
                <a:ln>
                  <a:noFill/>
                </a:ln>
                <a:effectLst/>
                <a:uLnTx/>
                <a:uFillTx/>
                <a:cs typeface="Calibri" panose="020F0502020204030204" pitchFamily="34" charset="0"/>
              </a:rPr>
              <a:t> новый гормональный препарат; ОВ </a:t>
            </a:r>
            <a:r>
              <a:rPr lang="ru" sz="700" kern="0" dirty="0">
                <a:cs typeface="Calibri" panose="020F0502020204030204" pitchFamily="34" charset="0"/>
              </a:rPr>
              <a:t>—</a:t>
            </a:r>
            <a:r>
              <a:rPr lang="ru" sz="700" b="0" i="0" u="none" strike="noStrike" kern="0" cap="none" spc="0" normalizeH="0" noProof="0" dirty="0">
                <a:ln>
                  <a:noFill/>
                </a:ln>
                <a:effectLst/>
                <a:uLnTx/>
                <a:uFillTx/>
                <a:cs typeface="Calibri" panose="020F0502020204030204" pitchFamily="34" charset="0"/>
              </a:rPr>
              <a:t> общая выживаемость; 1 р/сут — один раз в сутки; рВБП </a:t>
            </a:r>
            <a:r>
              <a:rPr lang="ru" sz="700" kern="0" dirty="0">
                <a:cs typeface="Calibri" panose="020F0502020204030204" pitchFamily="34" charset="0"/>
              </a:rPr>
              <a:t>—</a:t>
            </a:r>
            <a:r>
              <a:rPr lang="ru" sz="700" b="0" i="0" u="none" strike="noStrike" kern="0" cap="none" spc="0" normalizeH="0" noProof="0" dirty="0">
                <a:ln>
                  <a:noFill/>
                </a:ln>
                <a:effectLst/>
                <a:uLnTx/>
                <a:uFillTx/>
                <a:cs typeface="Calibri" panose="020F0502020204030204" pitchFamily="34" charset="0"/>
              </a:rPr>
              <a:t> выживаемость без радиологического прогрессирования</a:t>
            </a:r>
            <a:endParaRPr lang="en-GB" sz="700" kern="0" dirty="0">
              <a:cs typeface="Calibri" panose="020F0502020204030204" pitchFamily="34" charset="0"/>
            </a:endParaRPr>
          </a:p>
          <a:p>
            <a:pPr marL="0" marR="0" lvl="0" indent="-342891" algn="l" defTabSz="609570" rtl="0" eaLnBrk="1" fontAlgn="base" latinLnBrk="0" hangingPunct="1">
              <a:lnSpc>
                <a:spcPct val="100000"/>
              </a:lnSpc>
              <a:spcBef>
                <a:spcPts val="0"/>
              </a:spcBef>
              <a:spcAft>
                <a:spcPts val="0"/>
              </a:spcAft>
              <a:buClr>
                <a:srgbClr val="1F497D"/>
              </a:buClr>
              <a:buSzTx/>
              <a:buFontTx/>
              <a:buNone/>
              <a:tabLst/>
              <a:defRPr/>
            </a:pPr>
            <a:r>
              <a:rPr lang="ru" sz="700" dirty="0">
                <a:cs typeface="Calibri" panose="020F0502020204030204" pitchFamily="34" charset="0"/>
              </a:rPr>
              <a:t>Saad F, et al. Представлено на конгрессе ASCO GU 2022, 17–19 февраля, Сан-Франциско, Калифорния. Устный доклад 1</a:t>
            </a:r>
            <a:r>
              <a:rPr lang="en-US" sz="700" dirty="0">
                <a:cs typeface="Calibri" panose="020F0502020204030204" pitchFamily="34" charset="0"/>
              </a:rPr>
              <a:t>; </a:t>
            </a:r>
            <a:r>
              <a:rPr lang="en-GB" sz="700" kern="0" dirty="0">
                <a:cs typeface="Arial" panose="020B0604020202020204" pitchFamily="34" charset="0"/>
              </a:rPr>
              <a:t>Clarke N</a:t>
            </a:r>
            <a:r>
              <a:rPr lang="en-GB" sz="700" dirty="0"/>
              <a:t>, et al. </a:t>
            </a:r>
            <a:r>
              <a:rPr lang="en-GB" sz="700" i="1" dirty="0"/>
              <a:t>New </a:t>
            </a:r>
            <a:r>
              <a:rPr lang="en-GB" sz="700" i="1" dirty="0" err="1"/>
              <a:t>Engl</a:t>
            </a:r>
            <a:r>
              <a:rPr lang="en-GB" sz="700" i="1" dirty="0"/>
              <a:t> J Med Evid </a:t>
            </a:r>
            <a:r>
              <a:rPr lang="en-US" sz="700" b="0" dirty="0">
                <a:solidFill>
                  <a:srgbClr val="4D4D4D"/>
                </a:solidFill>
                <a:effectLst/>
              </a:rPr>
              <a:t>Published June 3, 2022</a:t>
            </a:r>
            <a:r>
              <a:rPr lang="en-GB" sz="700" dirty="0"/>
              <a:t>. </a:t>
            </a:r>
            <a:r>
              <a:rPr lang="en-US" sz="700" dirty="0"/>
              <a:t>DOI: 10.1056/EVIDoa2200043</a:t>
            </a:r>
            <a:endParaRPr kumimoji="0" lang="en-GB" sz="700" b="0" i="0" u="none" strike="noStrike" kern="0" cap="none" spc="0" normalizeH="0" baseline="0" noProof="0" dirty="0">
              <a:ln>
                <a:noFill/>
              </a:ln>
              <a:effectLst/>
              <a:uLnTx/>
              <a:uFillTx/>
              <a:cs typeface="Calibri" panose="020F0502020204030204" pitchFamily="34" charset="0"/>
            </a:endParaRPr>
          </a:p>
        </p:txBody>
      </p:sp>
      <p:sp>
        <p:nvSpPr>
          <p:cNvPr id="21" name="Rectangle 3">
            <a:extLst>
              <a:ext uri="{FF2B5EF4-FFF2-40B4-BE49-F238E27FC236}">
                <a16:creationId xmlns:a16="http://schemas.microsoft.com/office/drawing/2014/main" id="{B2D0ED2C-B1DD-42D5-8656-E7E8481D0199}"/>
              </a:ext>
            </a:extLst>
          </p:cNvPr>
          <p:cNvSpPr/>
          <p:nvPr/>
        </p:nvSpPr>
        <p:spPr bwMode="auto">
          <a:xfrm>
            <a:off x="4506613" y="4048868"/>
            <a:ext cx="3178773" cy="356765"/>
          </a:xfrm>
          <a:prstGeom prst="roundRect">
            <a:avLst>
              <a:gd name="adj" fmla="val 30906"/>
            </a:avLst>
          </a:prstGeom>
          <a:noFill/>
          <a:ln w="25400" cap="flat" cmpd="sng" algn="ctr">
            <a:noFill/>
            <a:prstDash val="solid"/>
          </a:ln>
          <a:effectLst/>
        </p:spPr>
        <p:txBody>
          <a:bodyPr rtlCol="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914354" rtl="0" eaLnBrk="1" fontAlgn="base" latinLnBrk="0" hangingPunct="1">
              <a:lnSpc>
                <a:spcPct val="100000"/>
              </a:lnSpc>
              <a:spcBef>
                <a:spcPct val="0"/>
              </a:spcBef>
              <a:spcAft>
                <a:spcPct val="0"/>
              </a:spcAft>
              <a:buClrTx/>
              <a:buSzTx/>
              <a:buFontTx/>
              <a:buNone/>
              <a:tabLst/>
              <a:defRPr/>
            </a:pPr>
            <a:r>
              <a:rPr lang="ru" sz="1200" b="1" i="0" u="none" strike="noStrike" kern="1200" cap="none" spc="0" normalizeH="0" noProof="0" dirty="0">
                <a:ln>
                  <a:noFill/>
                </a:ln>
                <a:solidFill>
                  <a:schemeClr val="tx2">
                    <a:lumMod val="75000"/>
                  </a:schemeClr>
                </a:solidFill>
                <a:effectLst/>
                <a:uLnTx/>
                <a:uFillTx/>
                <a:ea typeface="+mn-ea"/>
                <a:cs typeface="+mn-cs"/>
              </a:rPr>
              <a:t>Применяли полные дозы препаратов!</a:t>
            </a:r>
            <a:endParaRPr kumimoji="0" lang="en-GB" sz="1200" b="0" i="0" u="none" strike="noStrike" kern="1200" cap="none" spc="0" normalizeH="0" baseline="0" noProof="0" dirty="0">
              <a:ln>
                <a:noFill/>
              </a:ln>
              <a:solidFill>
                <a:schemeClr val="tx2">
                  <a:lumMod val="75000"/>
                </a:schemeClr>
              </a:solidFill>
              <a:effectLst/>
              <a:uLnTx/>
              <a:uFillTx/>
              <a:ea typeface="+mn-ea"/>
              <a:cs typeface="+mn-cs"/>
            </a:endParaRPr>
          </a:p>
        </p:txBody>
      </p:sp>
      <p:sp>
        <p:nvSpPr>
          <p:cNvPr id="22" name="Rounded Rectangle 40">
            <a:extLst>
              <a:ext uri="{FF2B5EF4-FFF2-40B4-BE49-F238E27FC236}">
                <a16:creationId xmlns:a16="http://schemas.microsoft.com/office/drawing/2014/main" id="{7DF22C93-4569-4FA2-BE1E-AD9E2F6B4012}"/>
              </a:ext>
            </a:extLst>
          </p:cNvPr>
          <p:cNvSpPr/>
          <p:nvPr/>
        </p:nvSpPr>
        <p:spPr bwMode="auto">
          <a:xfrm>
            <a:off x="405906" y="1923959"/>
            <a:ext cx="3035096" cy="2180421"/>
          </a:xfrm>
          <a:prstGeom prst="roundRect">
            <a:avLst>
              <a:gd name="adj" fmla="val 4004"/>
            </a:avLst>
          </a:prstGeom>
          <a:solidFill>
            <a:schemeClr val="accent2">
              <a:lumMod val="20000"/>
              <a:lumOff val="80000"/>
            </a:schemeClr>
          </a:solidFill>
          <a:ln w="25400" cap="flat" cmpd="sng" algn="ctr">
            <a:solidFill>
              <a:schemeClr val="tx2"/>
            </a:solidFill>
            <a:prstDash val="solid"/>
            <a:headEnd type="none" w="med" len="med"/>
            <a:tailEnd type="none" w="med" len="med"/>
          </a:ln>
          <a:effectLst/>
        </p:spPr>
        <p:txBody>
          <a:bodyPr vert="horz" wrap="square" lIns="72000" tIns="45720" rIns="72000" bIns="45720" numCol="1" rtlCol="0" anchor="ctr" anchorCtr="0" compatLnSpc="1">
            <a:prstTxWarp prst="textNoShape">
              <a:avLst/>
            </a:prstTxWarp>
            <a:spAutoFit/>
          </a:bodyPr>
          <a:lstStyle/>
          <a:p>
            <a:pPr marL="0" marR="0" lvl="0" indent="0" algn="l" defTabSz="914354" rtl="0" eaLnBrk="1" fontAlgn="auto" latinLnBrk="0" hangingPunct="1">
              <a:lnSpc>
                <a:spcPct val="100000"/>
              </a:lnSpc>
              <a:spcBef>
                <a:spcPts val="0"/>
              </a:spcBef>
              <a:spcAft>
                <a:spcPts val="600"/>
              </a:spcAft>
              <a:buClrTx/>
              <a:buSzTx/>
              <a:buFontTx/>
              <a:buNone/>
              <a:tabLst/>
              <a:defRPr/>
            </a:pPr>
            <a:r>
              <a:rPr lang="ru" sz="1200" b="1" i="0" u="none" strike="noStrike" kern="0" cap="none" spc="0" normalizeH="0" noProof="0" dirty="0">
                <a:ln>
                  <a:noFill/>
                </a:ln>
                <a:solidFill>
                  <a:srgbClr val="000000"/>
                </a:solidFill>
                <a:effectLst/>
                <a:uLnTx/>
                <a:uFillTx/>
                <a:cs typeface="Arial" panose="020B0604020202020204" pitchFamily="34" charset="0"/>
              </a:rPr>
              <a:t>Популяция пациентов</a:t>
            </a:r>
          </a:p>
          <a:p>
            <a:pPr marL="116412" marR="0" lvl="0" indent="-116412" algn="l"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ru" sz="1200" b="1" i="0" u="none" strike="noStrike" kern="0" cap="none" spc="0" normalizeH="0" noProof="0" dirty="0">
                <a:ln>
                  <a:noFill/>
                </a:ln>
                <a:solidFill>
                  <a:srgbClr val="000000"/>
                </a:solidFill>
                <a:effectLst/>
                <a:uLnTx/>
                <a:uFillTx/>
                <a:cs typeface="Arial" panose="020B0604020202020204" pitchFamily="34" charset="0"/>
              </a:rPr>
              <a:t>Терапия 1 линии мКРРПЖ</a:t>
            </a:r>
          </a:p>
          <a:p>
            <a:pPr marL="116412" marR="0" lvl="0" indent="-116412" algn="l"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ru" sz="1200" i="0" u="none" strike="noStrike" kern="0" cap="none" spc="0" normalizeH="0" noProof="0" dirty="0">
                <a:ln>
                  <a:noFill/>
                </a:ln>
                <a:solidFill>
                  <a:srgbClr val="000000"/>
                </a:solidFill>
                <a:effectLst/>
                <a:uLnTx/>
                <a:uFillTx/>
                <a:cs typeface="Arial" panose="020B0604020202020204" pitchFamily="34" charset="0"/>
              </a:rPr>
              <a:t>На стадии мГЧРПЖ допустимо применение доцетаксела*</a:t>
            </a:r>
          </a:p>
          <a:p>
            <a:pPr marL="116412" marR="0" lvl="0" indent="-116412" algn="l"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ru" sz="1200" kern="0" dirty="0">
                <a:solidFill>
                  <a:srgbClr val="000000"/>
                </a:solidFill>
                <a:cs typeface="Arial" panose="020B0604020202020204" pitchFamily="34" charset="0"/>
              </a:rPr>
              <a:t>Отсутствие предшествующей терапии абиратероном**</a:t>
            </a:r>
          </a:p>
          <a:p>
            <a:pPr marL="116412" marR="0" lvl="0" indent="-116412" algn="l"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ru" sz="1200" kern="0" dirty="0">
                <a:solidFill>
                  <a:srgbClr val="000000"/>
                </a:solidFill>
                <a:cs typeface="Arial" panose="020B0604020202020204" pitchFamily="34" charset="0"/>
              </a:rPr>
              <a:t>Текущая АДТ</a:t>
            </a:r>
            <a:endParaRPr kumimoji="0" lang="en-GB" sz="1200" i="0" u="none" strike="noStrike" kern="0" cap="none" spc="0" normalizeH="0" baseline="0" noProof="0" dirty="0">
              <a:ln>
                <a:noFill/>
              </a:ln>
              <a:solidFill>
                <a:srgbClr val="000000"/>
              </a:solidFill>
              <a:effectLst/>
              <a:uLnTx/>
              <a:uFillTx/>
              <a:cs typeface="Arial" panose="020B0604020202020204" pitchFamily="34" charset="0"/>
            </a:endParaRPr>
          </a:p>
          <a:p>
            <a:pPr marL="116412" marR="0" lvl="0" indent="-116412" algn="l"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ru" sz="1200" b="0" i="0" u="none" strike="noStrike" kern="0" cap="none" spc="0" normalizeH="0" noProof="0" dirty="0">
                <a:ln>
                  <a:noFill/>
                </a:ln>
                <a:solidFill>
                  <a:srgbClr val="000000"/>
                </a:solidFill>
                <a:effectLst/>
                <a:uLnTx/>
                <a:uFillTx/>
                <a:cs typeface="Arial" panose="020B0604020202020204" pitchFamily="34" charset="0"/>
              </a:rPr>
              <a:t>Функциональный статус по шкале ECOG 0–1</a:t>
            </a:r>
          </a:p>
        </p:txBody>
      </p:sp>
      <p:sp>
        <p:nvSpPr>
          <p:cNvPr id="23" name="Rounded Rectangle 43">
            <a:extLst>
              <a:ext uri="{FF2B5EF4-FFF2-40B4-BE49-F238E27FC236}">
                <a16:creationId xmlns:a16="http://schemas.microsoft.com/office/drawing/2014/main" id="{872314CE-17C3-428B-9930-A51AE85FAC4D}"/>
              </a:ext>
            </a:extLst>
          </p:cNvPr>
          <p:cNvSpPr/>
          <p:nvPr/>
        </p:nvSpPr>
        <p:spPr bwMode="auto">
          <a:xfrm>
            <a:off x="8506232" y="1018700"/>
            <a:ext cx="2920224" cy="4462199"/>
          </a:xfrm>
          <a:prstGeom prst="roundRect">
            <a:avLst>
              <a:gd name="adj" fmla="val 4582"/>
            </a:avLst>
          </a:prstGeom>
          <a:solidFill>
            <a:schemeClr val="accent2">
              <a:lumMod val="20000"/>
              <a:lumOff val="80000"/>
            </a:schemeClr>
          </a:solidFill>
          <a:ln w="25400" cap="flat" cmpd="sng" algn="ctr">
            <a:solidFill>
              <a:schemeClr val="tx2"/>
            </a:solidFill>
            <a:prstDash val="solid"/>
            <a:headEnd type="none" w="med" len="med"/>
            <a:tailEnd type="none" w="med" len="med"/>
          </a:ln>
          <a:effectLst/>
        </p:spPr>
        <p:txBody>
          <a:bodyPr vert="horz" wrap="square" lIns="91440" tIns="108000" rIns="91440" bIns="45720" numCol="1" rtlCol="0" anchor="ctr"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ru" sz="1200" b="1" i="0" u="none" strike="noStrike" kern="0" cap="none" spc="0" normalizeH="0" noProof="0" dirty="0">
                <a:ln>
                  <a:noFill/>
                </a:ln>
                <a:solidFill>
                  <a:schemeClr val="tx2">
                    <a:lumMod val="75000"/>
                  </a:schemeClr>
                </a:solidFill>
                <a:effectLst/>
                <a:uLnTx/>
                <a:uFillTx/>
              </a:rPr>
              <a:t>Первичная конечная точка</a:t>
            </a:r>
          </a:p>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 sz="1200" kern="0" dirty="0">
                <a:solidFill>
                  <a:schemeClr val="tx2">
                    <a:lumMod val="75000"/>
                  </a:schemeClr>
                </a:solidFill>
              </a:rPr>
              <a:t>Выживаемость без радиологического прогрессирования (рВБП) по оценке исследователя</a:t>
            </a:r>
          </a:p>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1" i="0" u="none" strike="noStrike" kern="0" cap="none" spc="0" normalizeH="0" baseline="0" noProof="0" dirty="0">
              <a:ln>
                <a:noFill/>
              </a:ln>
              <a:solidFill>
                <a:schemeClr val="tx2">
                  <a:lumMod val="75000"/>
                </a:schemeClr>
              </a:solidFill>
              <a:effectLst/>
              <a:uLnTx/>
              <a:uFillTx/>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ru" sz="1200" b="1" i="0" u="none" strike="noStrike" kern="0" cap="none" spc="0" normalizeH="0" noProof="0" dirty="0">
                <a:ln>
                  <a:noFill/>
                </a:ln>
                <a:solidFill>
                  <a:schemeClr val="tx2">
                    <a:lumMod val="75000"/>
                  </a:schemeClr>
                </a:solidFill>
                <a:effectLst/>
                <a:uLnTx/>
                <a:uFillTx/>
              </a:rPr>
              <a:t>Ключевая вторичная конечная точка:</a:t>
            </a:r>
          </a:p>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 sz="1200" b="0" i="0" u="none" strike="noStrike" kern="0" cap="none" spc="0" normalizeH="0" noProof="0" dirty="0">
                <a:ln>
                  <a:noFill/>
                </a:ln>
                <a:solidFill>
                  <a:schemeClr val="tx2">
                    <a:lumMod val="75000"/>
                  </a:schemeClr>
                </a:solidFill>
                <a:effectLst/>
                <a:uLnTx/>
                <a:uFillTx/>
              </a:rPr>
              <a:t>Общая выживаемость</a:t>
            </a:r>
          </a:p>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1" i="0" u="none" strike="noStrike" kern="0" cap="none" spc="0" normalizeH="0" baseline="0" noProof="0" dirty="0">
              <a:ln>
                <a:noFill/>
              </a:ln>
              <a:solidFill>
                <a:schemeClr val="tx2">
                  <a:lumMod val="75000"/>
                </a:schemeClr>
              </a:solidFill>
              <a:effectLst/>
              <a:uLnTx/>
              <a:uFillTx/>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ru" sz="1200" b="1" i="0" u="none" strike="noStrike" kern="0" cap="none" spc="0" normalizeH="0" noProof="0" dirty="0">
                <a:ln>
                  <a:noFill/>
                </a:ln>
                <a:solidFill>
                  <a:schemeClr val="tx2">
                    <a:lumMod val="75000"/>
                  </a:schemeClr>
                </a:solidFill>
                <a:effectLst/>
                <a:uLnTx/>
                <a:uFillTx/>
              </a:rPr>
              <a:t>Дополнительные конечные точки:</a:t>
            </a:r>
          </a:p>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 sz="1200" b="0" i="0" u="none" strike="noStrike" kern="0" cap="none" spc="0" normalizeH="0" noProof="0" dirty="0">
                <a:ln>
                  <a:noFill/>
                </a:ln>
                <a:solidFill>
                  <a:schemeClr val="tx2">
                    <a:lumMod val="75000"/>
                  </a:schemeClr>
                </a:solidFill>
                <a:effectLst/>
                <a:uLnTx/>
                <a:uFillTx/>
              </a:rPr>
              <a:t>Время до первой последующей терапии или смерти</a:t>
            </a:r>
          </a:p>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 sz="1200" kern="0" dirty="0">
                <a:solidFill>
                  <a:schemeClr val="tx2">
                    <a:lumMod val="75000"/>
                  </a:schemeClr>
                </a:solidFill>
              </a:rPr>
              <a:t>Время до второго прогрессирования заболевания или смерти</a:t>
            </a:r>
          </a:p>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 sz="1200" kern="0" dirty="0">
                <a:solidFill>
                  <a:schemeClr val="tx2">
                    <a:lumMod val="75000"/>
                  </a:schemeClr>
                </a:solidFill>
              </a:rPr>
              <a:t>Частота объективного ответа</a:t>
            </a:r>
          </a:p>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 sz="1200" b="0" i="0" u="none" strike="noStrike" kern="0" cap="none" spc="0" normalizeH="0" noProof="0" dirty="0">
                <a:ln>
                  <a:noFill/>
                </a:ln>
                <a:solidFill>
                  <a:schemeClr val="tx2">
                    <a:lumMod val="75000"/>
                  </a:schemeClr>
                </a:solidFill>
                <a:effectLst/>
                <a:uLnTx/>
                <a:uFillTx/>
              </a:rPr>
              <a:t>Распространенность мутаций генов HRR (ретроспективный анализ)</a:t>
            </a:r>
            <a:r>
              <a:rPr lang="ru" sz="1200" kern="0" dirty="0">
                <a:solidFill>
                  <a:schemeClr val="tx2">
                    <a:lumMod val="75000"/>
                  </a:schemeClr>
                </a:solidFill>
              </a:rPr>
              <a:t>‡</a:t>
            </a:r>
          </a:p>
          <a:p>
            <a:pPr marL="285750" indent="-285750" defTabSz="914354" rtl="0">
              <a:buFont typeface="Arial" panose="020B0604020202020204" pitchFamily="34" charset="0"/>
              <a:buChar char="•"/>
              <a:defRPr/>
            </a:pPr>
            <a:r>
              <a:rPr lang="ru" sz="1200" kern="0" dirty="0">
                <a:solidFill>
                  <a:schemeClr val="tx2">
                    <a:lumMod val="75000"/>
                  </a:schemeClr>
                </a:solidFill>
              </a:rPr>
              <a:t>Качество жизни, связанное со здоровьем</a:t>
            </a:r>
          </a:p>
          <a:p>
            <a:pPr marL="285750" marR="0" lvl="0" indent="-2857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 sz="1200" b="0" i="0" u="none" strike="noStrike" kern="0" cap="none" spc="0" normalizeH="0" noProof="0" dirty="0">
                <a:ln>
                  <a:noFill/>
                </a:ln>
                <a:solidFill>
                  <a:schemeClr val="tx2">
                    <a:lumMod val="75000"/>
                  </a:schemeClr>
                </a:solidFill>
                <a:effectLst/>
                <a:uLnTx/>
                <a:uFillTx/>
              </a:rPr>
              <a:t>Безопасность и переносимость</a:t>
            </a:r>
          </a:p>
        </p:txBody>
      </p:sp>
      <p:sp>
        <p:nvSpPr>
          <p:cNvPr id="25" name="Rectangle 3">
            <a:extLst>
              <a:ext uri="{FF2B5EF4-FFF2-40B4-BE49-F238E27FC236}">
                <a16:creationId xmlns:a16="http://schemas.microsoft.com/office/drawing/2014/main" id="{A3D27D22-7149-4414-AC47-DB0111DA1934}"/>
              </a:ext>
            </a:extLst>
          </p:cNvPr>
          <p:cNvSpPr/>
          <p:nvPr/>
        </p:nvSpPr>
        <p:spPr bwMode="auto">
          <a:xfrm>
            <a:off x="4571094" y="1584567"/>
            <a:ext cx="3178773" cy="882186"/>
          </a:xfrm>
          <a:prstGeom prst="roundRect">
            <a:avLst>
              <a:gd name="adj" fmla="val 7064"/>
            </a:avLst>
          </a:prstGeom>
          <a:solidFill>
            <a:schemeClr val="accent3"/>
          </a:solidFill>
          <a:ln w="25400" cap="flat" cmpd="sng" algn="ctr">
            <a:solidFill>
              <a:schemeClr val="tx2"/>
            </a:solidFill>
            <a:prstDash val="solid"/>
          </a:ln>
          <a:effectLst/>
        </p:spPr>
        <p:txBody>
          <a:bodyPr rtlCol="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914354" rtl="0" eaLnBrk="1" fontAlgn="base" latinLnBrk="0" hangingPunct="1">
              <a:lnSpc>
                <a:spcPct val="100000"/>
              </a:lnSpc>
              <a:spcBef>
                <a:spcPct val="0"/>
              </a:spcBef>
              <a:spcAft>
                <a:spcPct val="0"/>
              </a:spcAft>
              <a:buClrTx/>
              <a:buSzTx/>
              <a:buFontTx/>
              <a:buNone/>
              <a:tabLst/>
              <a:defRPr/>
            </a:pPr>
            <a:r>
              <a:rPr lang="ru" sz="1400" b="1" i="0" u="none" strike="noStrike" kern="1200" cap="none" spc="0" normalizeH="0" noProof="0" dirty="0">
                <a:ln>
                  <a:noFill/>
                </a:ln>
                <a:solidFill>
                  <a:schemeClr val="tx2"/>
                </a:solidFill>
                <a:effectLst/>
                <a:uLnTx/>
                <a:uFillTx/>
                <a:ea typeface="+mn-ea"/>
                <a:cs typeface="+mn-cs"/>
              </a:rPr>
              <a:t>Олапариб,</a:t>
            </a:r>
            <a:r>
              <a:rPr lang="ru" sz="1400" b="0" i="0" u="none" strike="noStrike" kern="1200" cap="none" spc="0" normalizeH="0" noProof="0" dirty="0">
                <a:ln>
                  <a:noFill/>
                </a:ln>
                <a:solidFill>
                  <a:schemeClr val="tx2"/>
                </a:solidFill>
                <a:effectLst/>
                <a:uLnTx/>
                <a:uFillTx/>
                <a:ea typeface="+mn-ea"/>
                <a:cs typeface="+mn-cs"/>
              </a:rPr>
              <a:t> 300 мг 2 р/сут, внутрь</a:t>
            </a:r>
          </a:p>
          <a:p>
            <a:pPr marL="0" marR="0" lvl="0" indent="0" algn="ctr" defTabSz="609570" rtl="0" eaLnBrk="1" fontAlgn="base" latinLnBrk="0" hangingPunct="1">
              <a:lnSpc>
                <a:spcPct val="100000"/>
              </a:lnSpc>
              <a:spcBef>
                <a:spcPct val="0"/>
              </a:spcBef>
              <a:spcAft>
                <a:spcPct val="0"/>
              </a:spcAft>
              <a:buClrTx/>
              <a:buSzTx/>
              <a:buFontTx/>
              <a:buNone/>
              <a:tabLst/>
              <a:defRPr/>
            </a:pPr>
            <a:r>
              <a:rPr lang="ru" sz="1400" b="0" i="0" u="none" strike="noStrike" kern="1200" cap="none" spc="0" normalizeH="0" noProof="0" dirty="0">
                <a:ln>
                  <a:noFill/>
                </a:ln>
                <a:solidFill>
                  <a:schemeClr val="tx2"/>
                </a:solidFill>
                <a:effectLst/>
                <a:uLnTx/>
                <a:uFillTx/>
                <a:ea typeface="+mn-ea"/>
                <a:cs typeface="+mn-cs"/>
              </a:rPr>
              <a:t> + </a:t>
            </a:r>
            <a:r>
              <a:rPr lang="ru" sz="1400" b="1" i="0" u="none" strike="noStrike" kern="1200" cap="none" spc="0" normalizeH="0" noProof="0" dirty="0">
                <a:ln>
                  <a:noFill/>
                </a:ln>
                <a:solidFill>
                  <a:schemeClr val="tx2"/>
                </a:solidFill>
                <a:effectLst/>
                <a:uLnTx/>
                <a:uFillTx/>
                <a:ea typeface="+mn-ea"/>
                <a:cs typeface="+mn-cs"/>
              </a:rPr>
              <a:t>абиратерон,</a:t>
            </a:r>
            <a:r>
              <a:rPr lang="ru" sz="1400" b="0" i="0" u="none" strike="noStrike" kern="1200" cap="none" spc="0" normalizeH="0" noProof="0" dirty="0">
                <a:ln>
                  <a:noFill/>
                </a:ln>
                <a:solidFill>
                  <a:schemeClr val="tx2"/>
                </a:solidFill>
                <a:effectLst/>
                <a:uLnTx/>
                <a:uFillTx/>
                <a:ea typeface="+mn-ea"/>
                <a:cs typeface="+mn-cs"/>
              </a:rPr>
              <a:t> </a:t>
            </a:r>
            <a:r>
              <a:rPr lang="ru" sz="1400" i="0" u="none" strike="noStrike" kern="1200" cap="none" spc="0" normalizeH="0" noProof="0" dirty="0">
                <a:ln>
                  <a:noFill/>
                </a:ln>
                <a:solidFill>
                  <a:schemeClr val="tx2"/>
                </a:solidFill>
                <a:effectLst/>
                <a:uLnTx/>
                <a:uFillTx/>
                <a:ea typeface="+mn-ea"/>
                <a:cs typeface="+mn-cs"/>
              </a:rPr>
              <a:t>1000 мг 1 р/сут</a:t>
            </a:r>
            <a:r>
              <a:rPr lang="ru" sz="1400" i="0" u="none" strike="noStrike" kern="1200" cap="none" spc="0" normalizeH="0" baseline="30000" noProof="0" dirty="0">
                <a:ln>
                  <a:noFill/>
                </a:ln>
                <a:solidFill>
                  <a:schemeClr val="tx2"/>
                </a:solidFill>
                <a:effectLst/>
                <a:uLnTx/>
                <a:uFillTx/>
                <a:ea typeface="+mn-ea"/>
                <a:cs typeface="+mn-cs"/>
              </a:rPr>
              <a:t>†</a:t>
            </a:r>
          </a:p>
          <a:p>
            <a:pPr marL="0" marR="0" lvl="0" indent="0" algn="ctr" defTabSz="609570" rtl="0" eaLnBrk="1" fontAlgn="base" latinLnBrk="0" hangingPunct="1">
              <a:lnSpc>
                <a:spcPct val="100000"/>
              </a:lnSpc>
              <a:spcBef>
                <a:spcPct val="0"/>
              </a:spcBef>
              <a:spcAft>
                <a:spcPct val="0"/>
              </a:spcAft>
              <a:buClrTx/>
              <a:buSzTx/>
              <a:buFontTx/>
              <a:buNone/>
              <a:tabLst/>
              <a:defRPr/>
            </a:pPr>
            <a:r>
              <a:rPr lang="ru" sz="1400" b="1" i="0" u="none" strike="noStrike" kern="0" cap="none" spc="0" normalizeH="0" noProof="0" dirty="0">
                <a:ln>
                  <a:noFill/>
                </a:ln>
                <a:solidFill>
                  <a:schemeClr val="tx2"/>
                </a:solidFill>
                <a:effectLst/>
                <a:uLnTx/>
                <a:uFillTx/>
                <a:ea typeface="+mn-ea"/>
                <a:cs typeface="+mn-cs"/>
              </a:rPr>
              <a:t>n = 399</a:t>
            </a:r>
            <a:endParaRPr kumimoji="0" lang="en-GB" sz="1400" b="1" i="0" u="none" strike="noStrike" kern="1200" cap="none" spc="0" normalizeH="0" baseline="0" noProof="0" dirty="0">
              <a:ln>
                <a:noFill/>
              </a:ln>
              <a:solidFill>
                <a:schemeClr val="tx2"/>
              </a:solidFill>
              <a:effectLst/>
              <a:uLnTx/>
              <a:uFillTx/>
              <a:ea typeface="+mn-ea"/>
              <a:cs typeface="+mn-cs"/>
            </a:endParaRPr>
          </a:p>
        </p:txBody>
      </p:sp>
      <p:sp>
        <p:nvSpPr>
          <p:cNvPr id="26" name="Rounded Rectangle 16">
            <a:extLst>
              <a:ext uri="{FF2B5EF4-FFF2-40B4-BE49-F238E27FC236}">
                <a16:creationId xmlns:a16="http://schemas.microsoft.com/office/drawing/2014/main" id="{F59D6BDB-F43E-4CEF-938B-01476B57D28F}"/>
              </a:ext>
            </a:extLst>
          </p:cNvPr>
          <p:cNvSpPr/>
          <p:nvPr/>
        </p:nvSpPr>
        <p:spPr bwMode="auto">
          <a:xfrm>
            <a:off x="4571094" y="3021948"/>
            <a:ext cx="3183776" cy="911406"/>
          </a:xfrm>
          <a:prstGeom prst="roundRect">
            <a:avLst>
              <a:gd name="adj" fmla="val 8665"/>
            </a:avLst>
          </a:prstGeom>
          <a:solidFill>
            <a:schemeClr val="tx2"/>
          </a:solidFill>
          <a:ln w="25400" cap="flat" cmpd="sng" algn="ctr">
            <a:solidFill>
              <a:schemeClr val="tx2"/>
            </a:solidFill>
            <a:prstDash val="solid"/>
          </a:ln>
          <a:effectLst/>
        </p:spPr>
        <p:txBody>
          <a:bodyPr rtlCol="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914354" rtl="0" eaLnBrk="1" fontAlgn="base" latinLnBrk="0" hangingPunct="1">
              <a:lnSpc>
                <a:spcPct val="100000"/>
              </a:lnSpc>
              <a:spcBef>
                <a:spcPct val="0"/>
              </a:spcBef>
              <a:spcAft>
                <a:spcPct val="0"/>
              </a:spcAft>
              <a:buClrTx/>
              <a:buSzTx/>
              <a:buFontTx/>
              <a:buNone/>
              <a:tabLst/>
              <a:defRPr/>
            </a:pPr>
            <a:r>
              <a:rPr lang="ru" sz="1400" b="1" i="0" u="none" strike="noStrike" kern="1200" cap="none" spc="0" normalizeH="0" noProof="0" dirty="0">
                <a:ln>
                  <a:noFill/>
                </a:ln>
                <a:solidFill>
                  <a:srgbClr val="FFFFFF"/>
                </a:solidFill>
                <a:effectLst/>
                <a:uLnTx/>
                <a:uFillTx/>
                <a:ea typeface="+mn-ea"/>
                <a:cs typeface="+mn-cs"/>
              </a:rPr>
              <a:t>Плацебо</a:t>
            </a:r>
            <a:r>
              <a:rPr lang="ru" sz="1400" b="0" i="0" u="none" strike="noStrike" kern="1200" cap="none" spc="0" normalizeH="0" noProof="0" dirty="0">
                <a:ln>
                  <a:noFill/>
                </a:ln>
                <a:solidFill>
                  <a:srgbClr val="FFFFFF"/>
                </a:solidFill>
                <a:effectLst/>
                <a:uLnTx/>
                <a:uFillTx/>
                <a:ea typeface="+mn-ea"/>
                <a:cs typeface="+mn-cs"/>
              </a:rPr>
              <a:t> </a:t>
            </a:r>
          </a:p>
          <a:p>
            <a:pPr marL="0" marR="0" lvl="0" indent="0" algn="ctr" defTabSz="914354" rtl="0" eaLnBrk="1" fontAlgn="base" latinLnBrk="0" hangingPunct="1">
              <a:lnSpc>
                <a:spcPct val="100000"/>
              </a:lnSpc>
              <a:spcBef>
                <a:spcPct val="0"/>
              </a:spcBef>
              <a:spcAft>
                <a:spcPct val="0"/>
              </a:spcAft>
              <a:buClrTx/>
              <a:buSzTx/>
              <a:buFontTx/>
              <a:buNone/>
              <a:tabLst/>
              <a:defRPr/>
            </a:pPr>
            <a:r>
              <a:rPr lang="ru" sz="1400" b="0" i="0" u="none" strike="noStrike" kern="1200" cap="none" spc="0" normalizeH="0" noProof="0" dirty="0">
                <a:ln>
                  <a:noFill/>
                </a:ln>
                <a:solidFill>
                  <a:srgbClr val="FFFFFF"/>
                </a:solidFill>
                <a:effectLst/>
                <a:uLnTx/>
                <a:uFillTx/>
                <a:ea typeface="+mn-ea"/>
                <a:cs typeface="+mn-cs"/>
              </a:rPr>
              <a:t>+ </a:t>
            </a:r>
            <a:r>
              <a:rPr lang="ru" sz="1400" b="1" i="0" u="none" strike="noStrike" kern="1200" cap="none" spc="0" normalizeH="0" noProof="0" dirty="0">
                <a:ln>
                  <a:noFill/>
                </a:ln>
                <a:solidFill>
                  <a:srgbClr val="FFFFFF"/>
                </a:solidFill>
                <a:effectLst/>
                <a:uLnTx/>
                <a:uFillTx/>
                <a:ea typeface="+mn-ea"/>
                <a:cs typeface="+mn-cs"/>
              </a:rPr>
              <a:t>абиратерон,</a:t>
            </a:r>
            <a:r>
              <a:rPr lang="ru" sz="1400" b="0" i="0" u="none" strike="noStrike" kern="1200" cap="none" spc="0" normalizeH="0" noProof="0" dirty="0">
                <a:ln>
                  <a:noFill/>
                </a:ln>
                <a:solidFill>
                  <a:srgbClr val="FFFFFF"/>
                </a:solidFill>
                <a:effectLst/>
                <a:uLnTx/>
                <a:uFillTx/>
                <a:ea typeface="+mn-ea"/>
                <a:cs typeface="+mn-cs"/>
              </a:rPr>
              <a:t> 1000 мг 1 р/сут</a:t>
            </a:r>
            <a:r>
              <a:rPr lang="ru" sz="1400" b="0" i="0" u="none" strike="noStrike" kern="1200" cap="none" spc="0" normalizeH="0" baseline="30000" noProof="0" dirty="0">
                <a:ln>
                  <a:noFill/>
                </a:ln>
                <a:solidFill>
                  <a:srgbClr val="FFFFFF"/>
                </a:solidFill>
                <a:effectLst/>
                <a:uLnTx/>
                <a:uFillTx/>
                <a:ea typeface="+mn-ea"/>
                <a:cs typeface="+mn-cs"/>
              </a:rPr>
              <a:t>†</a:t>
            </a:r>
            <a:br>
              <a:rPr kumimoji="0" lang="en-GB" sz="1400" b="0" i="0" u="none" strike="noStrike" kern="1200" cap="none" spc="0" normalizeH="0" baseline="0" noProof="0" dirty="0">
                <a:ln>
                  <a:noFill/>
                </a:ln>
                <a:solidFill>
                  <a:srgbClr val="FFFFFF"/>
                </a:solidFill>
                <a:effectLst/>
                <a:uLnTx/>
                <a:uFillTx/>
                <a:ea typeface="+mn-ea"/>
                <a:cs typeface="+mn-cs"/>
              </a:rPr>
            </a:br>
            <a:r>
              <a:rPr lang="ru" sz="1400" b="1" i="0" u="none" strike="noStrike" kern="1200" cap="none" spc="0" normalizeH="0" noProof="0" dirty="0">
                <a:ln>
                  <a:noFill/>
                </a:ln>
                <a:solidFill>
                  <a:srgbClr val="FFFFFF"/>
                </a:solidFill>
                <a:effectLst/>
                <a:uLnTx/>
                <a:uFillTx/>
                <a:ea typeface="+mn-ea"/>
                <a:cs typeface="+mn-cs"/>
              </a:rPr>
              <a:t>n = 397</a:t>
            </a:r>
          </a:p>
        </p:txBody>
      </p:sp>
      <p:sp>
        <p:nvSpPr>
          <p:cNvPr id="28" name="TextBox 27">
            <a:extLst>
              <a:ext uri="{FF2B5EF4-FFF2-40B4-BE49-F238E27FC236}">
                <a16:creationId xmlns:a16="http://schemas.microsoft.com/office/drawing/2014/main" id="{BE30AD69-C74A-4273-90E1-608A7C4B0AD7}"/>
              </a:ext>
            </a:extLst>
          </p:cNvPr>
          <p:cNvSpPr txBox="1"/>
          <p:nvPr/>
        </p:nvSpPr>
        <p:spPr>
          <a:xfrm>
            <a:off x="3471949" y="2734297"/>
            <a:ext cx="662855" cy="830997"/>
          </a:xfrm>
          <a:prstGeom prst="rect">
            <a:avLst/>
          </a:prstGeom>
          <a:noFill/>
        </p:spPr>
        <p:txBody>
          <a:bodyPr wrap="square" lIns="36000" rIns="36000"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ru" sz="1200" b="1" i="0" u="none" strike="noStrike" kern="1200" cap="none" spc="0" normalizeH="0" noProof="0" dirty="0">
                <a:ln>
                  <a:noFill/>
                </a:ln>
                <a:solidFill>
                  <a:srgbClr val="000000"/>
                </a:solidFill>
                <a:effectLst/>
                <a:uLnTx/>
                <a:uFillTx/>
                <a:ea typeface="+mn-ea"/>
                <a:cs typeface="+mn-cs"/>
              </a:rPr>
              <a:t>1:1</a:t>
            </a:r>
          </a:p>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000000"/>
              </a:solidFill>
              <a:effectLst/>
              <a:uLnTx/>
              <a:uFillTx/>
              <a:ea typeface="+mn-ea"/>
              <a:cs typeface="+mn-cs"/>
            </a:endParaRPr>
          </a:p>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000000"/>
              </a:solidFill>
              <a:effectLst/>
              <a:uLnTx/>
              <a:uFillTx/>
              <a:ea typeface="+mn-ea"/>
              <a:cs typeface="+mn-cs"/>
            </a:endParaRPr>
          </a:p>
          <a:p>
            <a:pPr marL="0" marR="0" lvl="0" indent="0" algn="ctr" defTabSz="457189" rtl="0" eaLnBrk="1" fontAlgn="auto" latinLnBrk="0" hangingPunct="1">
              <a:lnSpc>
                <a:spcPct val="100000"/>
              </a:lnSpc>
              <a:spcBef>
                <a:spcPts val="0"/>
              </a:spcBef>
              <a:spcAft>
                <a:spcPts val="0"/>
              </a:spcAft>
              <a:buClrTx/>
              <a:buSzTx/>
              <a:buFontTx/>
              <a:buNone/>
              <a:tabLst/>
              <a:defRPr/>
            </a:pPr>
            <a:r>
              <a:rPr lang="ru" sz="1200" b="1" i="0" u="none" strike="noStrike" kern="1200" cap="none" spc="0" normalizeH="0" noProof="0" dirty="0">
                <a:ln>
                  <a:noFill/>
                </a:ln>
                <a:solidFill>
                  <a:srgbClr val="000000"/>
                </a:solidFill>
                <a:effectLst/>
                <a:uLnTx/>
                <a:uFillTx/>
                <a:ea typeface="+mn-ea"/>
                <a:cs typeface="+mn-cs"/>
              </a:rPr>
              <a:t>N = 796</a:t>
            </a:r>
          </a:p>
        </p:txBody>
      </p:sp>
      <p:cxnSp>
        <p:nvCxnSpPr>
          <p:cNvPr id="29" name="Elbow Connector 38">
            <a:extLst>
              <a:ext uri="{FF2B5EF4-FFF2-40B4-BE49-F238E27FC236}">
                <a16:creationId xmlns:a16="http://schemas.microsoft.com/office/drawing/2014/main" id="{40F549CA-789D-4205-8249-73B043AA9685}"/>
              </a:ext>
            </a:extLst>
          </p:cNvPr>
          <p:cNvCxnSpPr>
            <a:cxnSpLocks/>
            <a:endCxn id="25" idx="1"/>
          </p:cNvCxnSpPr>
          <p:nvPr/>
        </p:nvCxnSpPr>
        <p:spPr bwMode="auto">
          <a:xfrm rot="5400000" flipH="1" flipV="1">
            <a:off x="3880069" y="2300857"/>
            <a:ext cx="966222" cy="415828"/>
          </a:xfrm>
          <a:prstGeom prst="bentConnector2">
            <a:avLst/>
          </a:prstGeom>
          <a:solidFill>
            <a:schemeClr val="accent1"/>
          </a:solidFill>
          <a:ln w="19050" cap="flat" cmpd="sng" algn="ctr">
            <a:solidFill>
              <a:schemeClr val="tx2"/>
            </a:solidFill>
            <a:prstDash val="solid"/>
            <a:round/>
            <a:headEnd type="none" w="med" len="med"/>
            <a:tailEnd type="triangle"/>
          </a:ln>
          <a:effectLst/>
        </p:spPr>
      </p:cxnSp>
      <p:cxnSp>
        <p:nvCxnSpPr>
          <p:cNvPr id="31" name="Elbow Connector 39">
            <a:extLst>
              <a:ext uri="{FF2B5EF4-FFF2-40B4-BE49-F238E27FC236}">
                <a16:creationId xmlns:a16="http://schemas.microsoft.com/office/drawing/2014/main" id="{D0F38803-455A-4599-BE43-FB9B01FD98F7}"/>
              </a:ext>
            </a:extLst>
          </p:cNvPr>
          <p:cNvCxnSpPr>
            <a:cxnSpLocks/>
            <a:endCxn id="26" idx="1"/>
          </p:cNvCxnSpPr>
          <p:nvPr/>
        </p:nvCxnSpPr>
        <p:spPr bwMode="auto">
          <a:xfrm rot="16200000" flipH="1">
            <a:off x="4122100" y="3028657"/>
            <a:ext cx="483000" cy="414988"/>
          </a:xfrm>
          <a:prstGeom prst="bentConnector2">
            <a:avLst/>
          </a:prstGeom>
          <a:solidFill>
            <a:schemeClr val="accent1"/>
          </a:solidFill>
          <a:ln w="19050" cap="flat" cmpd="sng" algn="ctr">
            <a:solidFill>
              <a:schemeClr val="tx2"/>
            </a:solidFill>
            <a:prstDash val="solid"/>
            <a:round/>
            <a:headEnd type="none" w="med" len="med"/>
            <a:tailEnd type="triangle"/>
          </a:ln>
          <a:effectLst/>
        </p:spPr>
      </p:cxnSp>
      <p:cxnSp>
        <p:nvCxnSpPr>
          <p:cNvPr id="35" name="Straight Connector 34">
            <a:extLst>
              <a:ext uri="{FF2B5EF4-FFF2-40B4-BE49-F238E27FC236}">
                <a16:creationId xmlns:a16="http://schemas.microsoft.com/office/drawing/2014/main" id="{ABC14F0A-12FD-41DD-B66D-2ACCED1D7C64}"/>
              </a:ext>
            </a:extLst>
          </p:cNvPr>
          <p:cNvCxnSpPr>
            <a:cxnSpLocks/>
          </p:cNvCxnSpPr>
          <p:nvPr/>
        </p:nvCxnSpPr>
        <p:spPr>
          <a:xfrm flipV="1">
            <a:off x="3447267" y="3014169"/>
            <a:ext cx="720000" cy="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FB5E6C8A-46BB-448C-94FE-C07AA7AE207E}"/>
              </a:ext>
            </a:extLst>
          </p:cNvPr>
          <p:cNvCxnSpPr>
            <a:cxnSpLocks/>
            <a:endCxn id="26" idx="3"/>
          </p:cNvCxnSpPr>
          <p:nvPr/>
        </p:nvCxnSpPr>
        <p:spPr>
          <a:xfrm rot="5400000">
            <a:off x="7694394" y="3082426"/>
            <a:ext cx="455702" cy="334749"/>
          </a:xfrm>
          <a:prstGeom prst="bentConnector2">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CF3A334A-843F-4A19-838F-B43E6AFB837F}"/>
              </a:ext>
            </a:extLst>
          </p:cNvPr>
          <p:cNvCxnSpPr>
            <a:cxnSpLocks/>
          </p:cNvCxnSpPr>
          <p:nvPr/>
        </p:nvCxnSpPr>
        <p:spPr>
          <a:xfrm flipV="1">
            <a:off x="8089616" y="3021948"/>
            <a:ext cx="416616" cy="1"/>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A2EB5EF1-BA9C-4F53-AAAE-593CDC87CA1E}"/>
              </a:ext>
            </a:extLst>
          </p:cNvPr>
          <p:cNvGrpSpPr/>
          <p:nvPr/>
        </p:nvGrpSpPr>
        <p:grpSpPr>
          <a:xfrm>
            <a:off x="3425378" y="2877482"/>
            <a:ext cx="279722" cy="282965"/>
            <a:chOff x="3786056" y="1972058"/>
            <a:chExt cx="279722" cy="282965"/>
          </a:xfrm>
        </p:grpSpPr>
        <p:sp>
          <p:nvSpPr>
            <p:cNvPr id="43" name="Oval 42">
              <a:extLst>
                <a:ext uri="{FF2B5EF4-FFF2-40B4-BE49-F238E27FC236}">
                  <a16:creationId xmlns:a16="http://schemas.microsoft.com/office/drawing/2014/main" id="{87626ACD-89E4-4A3A-B68F-22C6FF0C492F}"/>
                </a:ext>
              </a:extLst>
            </p:cNvPr>
            <p:cNvSpPr/>
            <p:nvPr/>
          </p:nvSpPr>
          <p:spPr bwMode="auto">
            <a:xfrm>
              <a:off x="3795778" y="1972058"/>
              <a:ext cx="270000" cy="270000"/>
            </a:xfrm>
            <a:prstGeom prst="ellipse">
              <a:avLst/>
            </a:prstGeom>
            <a:solidFill>
              <a:srgbClr val="3C0F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1" i="0" u="none" strike="noStrike" kern="0" cap="none" spc="0" normalizeH="0" baseline="0" noProof="0" dirty="0">
                <a:ln>
                  <a:noFill/>
                </a:ln>
                <a:solidFill>
                  <a:srgbClr val="000000"/>
                </a:solidFill>
                <a:effectLst/>
                <a:uLnTx/>
                <a:uFillTx/>
                <a:ea typeface="+mn-ea"/>
                <a:cs typeface="+mn-cs"/>
              </a:endParaRPr>
            </a:p>
          </p:txBody>
        </p:sp>
        <p:sp>
          <p:nvSpPr>
            <p:cNvPr id="44" name="TextBox 43">
              <a:extLst>
                <a:ext uri="{FF2B5EF4-FFF2-40B4-BE49-F238E27FC236}">
                  <a16:creationId xmlns:a16="http://schemas.microsoft.com/office/drawing/2014/main" id="{1C6AAFDE-BB95-460A-BB13-2B3B69E95491}"/>
                </a:ext>
              </a:extLst>
            </p:cNvPr>
            <p:cNvSpPr txBox="1"/>
            <p:nvPr/>
          </p:nvSpPr>
          <p:spPr>
            <a:xfrm>
              <a:off x="3786056" y="1978024"/>
              <a:ext cx="25885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ru" sz="1200" b="0" i="0" u="none" strike="noStrike" kern="0" cap="none" spc="0" normalizeH="0" noProof="0">
                  <a:ln>
                    <a:noFill/>
                  </a:ln>
                  <a:solidFill>
                    <a:srgbClr val="FFFFFF"/>
                  </a:solidFill>
                  <a:effectLst/>
                  <a:uLnTx/>
                  <a:uFillTx/>
                  <a:ea typeface="+mn-ea"/>
                  <a:cs typeface="+mn-cs"/>
                </a:rPr>
                <a:t>R</a:t>
              </a:r>
            </a:p>
          </p:txBody>
        </p:sp>
      </p:grpSp>
      <p:sp>
        <p:nvSpPr>
          <p:cNvPr id="45" name="TextBox 3">
            <a:extLst>
              <a:ext uri="{FF2B5EF4-FFF2-40B4-BE49-F238E27FC236}">
                <a16:creationId xmlns:a16="http://schemas.microsoft.com/office/drawing/2014/main" id="{004337C7-DF2D-46B8-B97D-143F013B81B4}"/>
              </a:ext>
            </a:extLst>
          </p:cNvPr>
          <p:cNvSpPr txBox="1">
            <a:spLocks noChangeArrowheads="1"/>
          </p:cNvSpPr>
          <p:nvPr/>
        </p:nvSpPr>
        <p:spPr bwMode="auto">
          <a:xfrm>
            <a:off x="407987" y="4636522"/>
            <a:ext cx="5120943" cy="580665"/>
          </a:xfrm>
          <a:prstGeom prst="rect">
            <a:avLst/>
          </a:prstGeom>
          <a:noFill/>
          <a:ln w="25400" cap="flat" cmpd="sng" algn="ctr">
            <a:noFill/>
            <a:prstDash val="solid"/>
            <a:headEnd/>
            <a:tailEnd/>
          </a:ln>
          <a:effectLst/>
        </p:spPr>
        <p:txBody>
          <a:bodyPr wrap="square" rtlCol="0" anchor="ctr" anchorCtr="0">
            <a:noAutofit/>
          </a:bodyPr>
          <a:lstStyle/>
          <a:p>
            <a:pPr marL="0" marR="0" lvl="0" indent="0" algn="l" defTabSz="914354" rtl="0" eaLnBrk="1" fontAlgn="auto" latinLnBrk="0" hangingPunct="1">
              <a:lnSpc>
                <a:spcPct val="100000"/>
              </a:lnSpc>
              <a:spcBef>
                <a:spcPts val="0"/>
              </a:spcBef>
              <a:spcAft>
                <a:spcPts val="0"/>
              </a:spcAft>
              <a:buClr>
                <a:srgbClr val="720D3E"/>
              </a:buClr>
              <a:buSzTx/>
              <a:buFontTx/>
              <a:buNone/>
              <a:tabLst/>
              <a:defRPr/>
            </a:pPr>
            <a:r>
              <a:rPr lang="ru" sz="1200" b="1" i="0" u="none" strike="noStrike" kern="0" cap="none" spc="0" normalizeH="0" noProof="0" dirty="0">
                <a:ln>
                  <a:noFill/>
                </a:ln>
                <a:solidFill>
                  <a:srgbClr val="000000"/>
                </a:solidFill>
                <a:effectLst/>
                <a:uLnTx/>
                <a:uFillTx/>
              </a:rPr>
              <a:t>Факторы стратификации:</a:t>
            </a:r>
          </a:p>
          <a:p>
            <a:pPr marL="304784" marR="0" lvl="0" indent="-304784" algn="l" defTabSz="914354" rtl="0" eaLnBrk="1" fontAlgn="auto" latinLnBrk="0" hangingPunct="1">
              <a:lnSpc>
                <a:spcPct val="100000"/>
              </a:lnSpc>
              <a:spcBef>
                <a:spcPts val="0"/>
              </a:spcBef>
              <a:spcAft>
                <a:spcPts val="0"/>
              </a:spcAft>
              <a:buClr>
                <a:srgbClr val="720D3E"/>
              </a:buClr>
              <a:buSzTx/>
              <a:buFontTx/>
              <a:buAutoNum type="arabicPeriod"/>
              <a:tabLst/>
              <a:defRPr/>
            </a:pPr>
            <a:r>
              <a:rPr lang="ru" sz="1200" b="0" i="0" u="none" strike="noStrike" kern="0" cap="none" spc="0" normalizeH="0" noProof="0" dirty="0">
                <a:ln>
                  <a:noFill/>
                </a:ln>
                <a:effectLst/>
                <a:uLnTx/>
                <a:uFillTx/>
              </a:rPr>
              <a:t>Локализация отдаленных метастазов: наличие только в костях по сравнению с наличием висцеральных метастазов по сравнению с наличием в других локализациях</a:t>
            </a:r>
          </a:p>
          <a:p>
            <a:pPr marL="304784" marR="0" lvl="0" indent="-304784" algn="l" defTabSz="914354" rtl="0" eaLnBrk="1" fontAlgn="auto" latinLnBrk="0" hangingPunct="1">
              <a:lnSpc>
                <a:spcPct val="100000"/>
              </a:lnSpc>
              <a:spcBef>
                <a:spcPts val="0"/>
              </a:spcBef>
              <a:spcAft>
                <a:spcPts val="0"/>
              </a:spcAft>
              <a:buClr>
                <a:srgbClr val="720D3E"/>
              </a:buClr>
              <a:buSzTx/>
              <a:buFontTx/>
              <a:buAutoNum type="arabicPeriod"/>
              <a:tabLst/>
              <a:defRPr/>
            </a:pPr>
            <a:r>
              <a:rPr lang="ru" sz="1200" kern="0" dirty="0"/>
              <a:t>Предшествующая терапия таксанами при мГЧРПЖ: да или нет</a:t>
            </a:r>
            <a:endParaRPr kumimoji="0" lang="en-GB" sz="1200" b="0" i="0" u="none" strike="noStrike" kern="0" cap="none" spc="0" normalizeH="0" baseline="0" noProof="0" dirty="0">
              <a:ln>
                <a:noFill/>
              </a:ln>
              <a:effectLst/>
              <a:uLnTx/>
              <a:uFillTx/>
            </a:endParaRPr>
          </a:p>
        </p:txBody>
      </p:sp>
      <p:cxnSp>
        <p:nvCxnSpPr>
          <p:cNvPr id="46" name="Connector: Elbow 45">
            <a:extLst>
              <a:ext uri="{FF2B5EF4-FFF2-40B4-BE49-F238E27FC236}">
                <a16:creationId xmlns:a16="http://schemas.microsoft.com/office/drawing/2014/main" id="{692A3F08-0CFC-4BB4-B74C-62CF9C76B43A}"/>
              </a:ext>
            </a:extLst>
          </p:cNvPr>
          <p:cNvCxnSpPr>
            <a:cxnSpLocks/>
            <a:endCxn id="25" idx="3"/>
          </p:cNvCxnSpPr>
          <p:nvPr/>
        </p:nvCxnSpPr>
        <p:spPr>
          <a:xfrm rot="16200000" flipV="1">
            <a:off x="7426332" y="2349195"/>
            <a:ext cx="986824" cy="339753"/>
          </a:xfrm>
          <a:prstGeom prst="bentConnector2">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98468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99A3C04-6B6A-1C48-8C9D-395ABD787350}"/>
              </a:ext>
            </a:extLst>
          </p:cNvPr>
          <p:cNvSpPr>
            <a:spLocks noGrp="1"/>
          </p:cNvSpPr>
          <p:nvPr>
            <p:ph type="title"/>
          </p:nvPr>
        </p:nvSpPr>
        <p:spPr>
          <a:solidFill>
            <a:schemeClr val="tx1"/>
          </a:solidFill>
        </p:spPr>
        <p:txBody>
          <a:bodyPr bIns="2124000" rtlCol="0">
            <a:noAutofit/>
          </a:bodyPr>
          <a:lstStyle/>
          <a:p>
            <a:pPr rtl="0"/>
            <a:br>
              <a:rPr lang="en-GB" sz="4400" dirty="0"/>
            </a:br>
            <a:br>
              <a:rPr lang="en-GB" sz="4400" dirty="0"/>
            </a:br>
            <a:endParaRPr lang="en-US" sz="4400" dirty="0"/>
          </a:p>
        </p:txBody>
      </p:sp>
      <p:sp>
        <p:nvSpPr>
          <p:cNvPr id="2" name="Rectangle 1">
            <a:extLst>
              <a:ext uri="{FF2B5EF4-FFF2-40B4-BE49-F238E27FC236}">
                <a16:creationId xmlns:a16="http://schemas.microsoft.com/office/drawing/2014/main" id="{8C4DE25B-9083-0029-A702-59C21CB0C503}"/>
              </a:ext>
            </a:extLst>
          </p:cNvPr>
          <p:cNvSpPr/>
          <p:nvPr/>
        </p:nvSpPr>
        <p:spPr>
          <a:xfrm>
            <a:off x="552894" y="1013637"/>
            <a:ext cx="5096539" cy="4203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 sz="4400" dirty="0"/>
              <a:t>Результаты исследования PROpel:</a:t>
            </a:r>
            <a:br>
              <a:rPr lang="ru" sz="4400" dirty="0"/>
            </a:br>
            <a:r>
              <a:rPr lang="ru" sz="4400" dirty="0"/>
              <a:t>Первичная конечная точка</a:t>
            </a:r>
            <a:endParaRPr lang="ru-RU" sz="4400" dirty="0"/>
          </a:p>
        </p:txBody>
      </p:sp>
    </p:spTree>
    <p:extLst>
      <p:ext uri="{BB962C8B-B14F-4D97-AF65-F5344CB8AC3E}">
        <p14:creationId xmlns:p14="http://schemas.microsoft.com/office/powerpoint/2010/main" val="12555658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5BD55-1873-4BD9-AA86-CD27081B8F1C}"/>
              </a:ext>
            </a:extLst>
          </p:cNvPr>
          <p:cNvSpPr>
            <a:spLocks noGrp="1"/>
          </p:cNvSpPr>
          <p:nvPr>
            <p:ph type="title"/>
          </p:nvPr>
        </p:nvSpPr>
        <p:spPr>
          <a:xfrm>
            <a:off x="418373" y="216126"/>
            <a:ext cx="11376025" cy="1007427"/>
          </a:xfrm>
        </p:spPr>
        <p:txBody>
          <a:bodyPr rtlCol="0">
            <a:normAutofit/>
          </a:bodyPr>
          <a:lstStyle/>
          <a:p>
            <a:pPr rtl="0"/>
            <a:r>
              <a:rPr lang="ru" sz="2800" b="1" i="1" dirty="0">
                <a:latin typeface="+mn-lt"/>
                <a:ea typeface="+mn-ea"/>
                <a:cs typeface="+mn-cs"/>
              </a:rPr>
              <a:t>Исходные характеристики пациентов были в целом хорошо сбалансированы между группами лечения</a:t>
            </a:r>
            <a:endParaRPr lang="en-GB" sz="2800" b="1" i="1" dirty="0">
              <a:latin typeface="+mn-lt"/>
              <a:ea typeface="+mn-ea"/>
              <a:cs typeface="+mn-cs"/>
            </a:endParaRPr>
          </a:p>
        </p:txBody>
      </p:sp>
      <p:sp>
        <p:nvSpPr>
          <p:cNvPr id="4" name="Text Placeholder 3">
            <a:extLst>
              <a:ext uri="{FF2B5EF4-FFF2-40B4-BE49-F238E27FC236}">
                <a16:creationId xmlns:a16="http://schemas.microsoft.com/office/drawing/2014/main" id="{64E16FB6-2A30-4395-8E5E-9FB280A35AAC}"/>
              </a:ext>
            </a:extLst>
          </p:cNvPr>
          <p:cNvSpPr>
            <a:spLocks noGrp="1"/>
          </p:cNvSpPr>
          <p:nvPr>
            <p:ph type="body" sz="quarter" idx="111"/>
          </p:nvPr>
        </p:nvSpPr>
        <p:spPr>
          <a:xfrm>
            <a:off x="407988" y="6252685"/>
            <a:ext cx="11231018" cy="554207"/>
          </a:xfrm>
        </p:spPr>
        <p:txBody>
          <a:bodyPr rtlCol="0"/>
          <a:lstStyle/>
          <a:p>
            <a:pPr algn="l" rtl="0" fontAlgn="base">
              <a:spcBef>
                <a:spcPts val="600"/>
              </a:spcBef>
              <a:spcAft>
                <a:spcPts val="0"/>
              </a:spcAft>
            </a:pPr>
            <a:r>
              <a:rPr lang="ru" dirty="0">
                <a:cs typeface="Arial Narrow"/>
              </a:rPr>
              <a:t>*Количество пациентов с наличием боли на исходном уровне: Оценка пункта 3 по краткому опроснику оценки выраженности боли (BPI-SF) на ≥ 4 баллов и/или применение опиоидных анальгетиков на исходном уровне. </a:t>
            </a:r>
          </a:p>
          <a:p>
            <a:pPr marL="0" indent="0" algn="l" rtl="0" fontAlgn="base">
              <a:spcBef>
                <a:spcPts val="600"/>
              </a:spcBef>
              <a:spcAft>
                <a:spcPts val="0"/>
              </a:spcAft>
            </a:pPr>
            <a:r>
              <a:rPr lang="ru" baseline="30000" dirty="0">
                <a:cs typeface="Arial Narrow"/>
              </a:rPr>
              <a:t>†</a:t>
            </a:r>
            <a:r>
              <a:rPr lang="ru" dirty="0">
                <a:cs typeface="Arial Narrow"/>
              </a:rPr>
              <a:t>В исследовании PROpel статус мутации в генах HRR у пациентов определяли ретроспективно в ткани опухоли и цоДНК в плазме крови. Пациентов классифицировали, как имеющих мутации HRR, если любым из методов анализа были обнаружены (одна или несколько) мутаций генов HRR; пациентов классифицировали, как не имеющих мутаций HRR, если ни один из анализов не обнаруживал мутации гена HRR; пациентов классифицировали, как обладающих неуточненным статусом мутаций HRR, если ни при одном из анализов не было получено достоверного результата.</a:t>
            </a:r>
            <a:endParaRPr kumimoji="0" lang="en-GB" b="0" i="0" u="none" strike="noStrike" kern="1200" cap="none" spc="0" normalizeH="0" baseline="0" noProof="0" dirty="0">
              <a:ln>
                <a:noFill/>
              </a:ln>
              <a:effectLst/>
              <a:uLnTx/>
              <a:uFillTx/>
              <a:cs typeface="Calibri" panose="020F0502020204030204" pitchFamily="34" charset="0"/>
            </a:endParaRPr>
          </a:p>
          <a:p>
            <a:pPr marL="0" indent="0" rtl="0">
              <a:spcBef>
                <a:spcPts val="600"/>
              </a:spcBef>
              <a:spcAft>
                <a:spcPts val="0"/>
              </a:spcAft>
            </a:pPr>
            <a:r>
              <a:rPr lang="ru" b="0" i="0" u="none" strike="noStrike" kern="1200" cap="none" spc="0" normalizeH="0" noProof="0" dirty="0">
                <a:ln>
                  <a:noFill/>
                </a:ln>
                <a:effectLst/>
                <a:uLnTx/>
                <a:uFillTx/>
                <a:cs typeface="Calibri" panose="020F0502020204030204" pitchFamily="34" charset="0"/>
              </a:rPr>
              <a:t>BPI-SF — краткий опросник для оценки выраженности </a:t>
            </a:r>
            <a:r>
              <a:rPr lang="ru" dirty="0">
                <a:cs typeface="Calibri" panose="020F0502020204030204" pitchFamily="34" charset="0"/>
              </a:rPr>
              <a:t>боли; </a:t>
            </a:r>
            <a:r>
              <a:rPr lang="ru" b="0" i="0" u="none" strike="noStrike" kern="1200" cap="none" spc="0" normalizeH="0" noProof="0" dirty="0">
                <a:ln>
                  <a:noFill/>
                </a:ln>
                <a:effectLst/>
                <a:uLnTx/>
                <a:uFillTx/>
                <a:cs typeface="Calibri" panose="020F0502020204030204" pitchFamily="34" charset="0"/>
              </a:rPr>
              <a:t>цоДНК </a:t>
            </a:r>
            <a:r>
              <a:rPr lang="ru" dirty="0">
                <a:cs typeface="Calibri" panose="020F0502020204030204" pitchFamily="34" charset="0"/>
              </a:rPr>
              <a:t>—</a:t>
            </a:r>
            <a:r>
              <a:rPr lang="ru" b="0" i="0" u="none" strike="noStrike" kern="1200" cap="none" spc="0" normalizeH="0" noProof="0" dirty="0">
                <a:ln>
                  <a:noFill/>
                </a:ln>
                <a:effectLst/>
                <a:uLnTx/>
                <a:uFillTx/>
                <a:cs typeface="Calibri" panose="020F0502020204030204" pitchFamily="34" charset="0"/>
              </a:rPr>
              <a:t> циркулирующая опухолевая ДНК; ECOG — Восточная объединенная онкологическая группа; HRR — ген репарации посредством гомологичной рекомбинации; мГЧРПЖ — метастатический гормоночувствительный рак предстательной железы; ПСА — простатспецифический антиген.</a:t>
            </a:r>
            <a:endParaRPr kumimoji="0" lang="en-GB" b="0" i="0" u="none" strike="noStrike" kern="0" cap="none" spc="0" normalizeH="0" baseline="0" noProof="0" dirty="0">
              <a:ln>
                <a:noFill/>
              </a:ln>
              <a:effectLst/>
              <a:uLnTx/>
              <a:uFillTx/>
              <a:cs typeface="Calibri" panose="020F0502020204030204" pitchFamily="34" charset="0"/>
            </a:endParaRPr>
          </a:p>
          <a:p>
            <a:pPr marL="0" indent="0" rtl="0">
              <a:spcBef>
                <a:spcPts val="600"/>
              </a:spcBef>
              <a:spcAft>
                <a:spcPts val="0"/>
              </a:spcAft>
            </a:pPr>
            <a:r>
              <a:rPr lang="ru" dirty="0">
                <a:cs typeface="Calibri" panose="020F0502020204030204" pitchFamily="34" charset="0"/>
              </a:rPr>
              <a:t>Saad F, et al. Представлено на конгрессе ASCO GU 2022, 17–19 февраля, Сан-Франциско, Калифорния. Устный доклад 1</a:t>
            </a:r>
            <a:r>
              <a:rPr lang="en-US" dirty="0">
                <a:cs typeface="Calibri" panose="020F0502020204030204" pitchFamily="34" charset="0"/>
              </a:rPr>
              <a:t>; </a:t>
            </a:r>
            <a:r>
              <a:rPr lang="en-GB" kern="0" dirty="0">
                <a:cs typeface="Arial" panose="020B0604020202020204" pitchFamily="34" charset="0"/>
              </a:rPr>
              <a:t>Clarke N</a:t>
            </a:r>
            <a:r>
              <a:rPr lang="en-GB" dirty="0"/>
              <a:t>, et al. </a:t>
            </a:r>
            <a:r>
              <a:rPr lang="en-GB" i="1" dirty="0"/>
              <a:t>New </a:t>
            </a:r>
            <a:r>
              <a:rPr lang="en-GB" i="1" dirty="0" err="1"/>
              <a:t>Engl</a:t>
            </a:r>
            <a:r>
              <a:rPr lang="en-GB" i="1" dirty="0"/>
              <a:t> J Med Evid </a:t>
            </a:r>
            <a:r>
              <a:rPr lang="en-US" b="0" dirty="0">
                <a:solidFill>
                  <a:srgbClr val="4D4D4D"/>
                </a:solidFill>
                <a:effectLst/>
              </a:rPr>
              <a:t>Published June 3, 2022</a:t>
            </a:r>
            <a:r>
              <a:rPr lang="en-GB" dirty="0"/>
              <a:t>. </a:t>
            </a:r>
            <a:r>
              <a:rPr lang="en-US" dirty="0"/>
              <a:t>DOI: 10.1056/EVIDoa2200043</a:t>
            </a:r>
            <a:endParaRPr lang="ru" dirty="0">
              <a:cs typeface="Calibri" panose="020F0502020204030204" pitchFamily="34" charset="0"/>
            </a:endParaRPr>
          </a:p>
        </p:txBody>
      </p:sp>
      <p:graphicFrame>
        <p:nvGraphicFramePr>
          <p:cNvPr id="7" name="Table 4">
            <a:extLst>
              <a:ext uri="{FF2B5EF4-FFF2-40B4-BE49-F238E27FC236}">
                <a16:creationId xmlns:a16="http://schemas.microsoft.com/office/drawing/2014/main" id="{B45FDD33-FFE5-44DC-97D6-E52A5D16EEEF}"/>
              </a:ext>
            </a:extLst>
          </p:cNvPr>
          <p:cNvGraphicFramePr>
            <a:graphicFrameLocks noGrp="1"/>
          </p:cNvGraphicFramePr>
          <p:nvPr>
            <p:extLst>
              <p:ext uri="{D42A27DB-BD31-4B8C-83A1-F6EECF244321}">
                <p14:modId xmlns:p14="http://schemas.microsoft.com/office/powerpoint/2010/main" val="3426489267"/>
              </p:ext>
            </p:extLst>
          </p:nvPr>
        </p:nvGraphicFramePr>
        <p:xfrm>
          <a:off x="734291" y="1196905"/>
          <a:ext cx="10702638" cy="4266393"/>
        </p:xfrm>
        <a:graphic>
          <a:graphicData uri="http://schemas.openxmlformats.org/drawingml/2006/table">
            <a:tbl>
              <a:tblPr firstRow="1" bandRow="1"/>
              <a:tblGrid>
                <a:gridCol w="5234072">
                  <a:extLst>
                    <a:ext uri="{9D8B030D-6E8A-4147-A177-3AD203B41FA5}">
                      <a16:colId xmlns:a16="http://schemas.microsoft.com/office/drawing/2014/main" val="162591529"/>
                    </a:ext>
                  </a:extLst>
                </a:gridCol>
                <a:gridCol w="2785141">
                  <a:extLst>
                    <a:ext uri="{9D8B030D-6E8A-4147-A177-3AD203B41FA5}">
                      <a16:colId xmlns:a16="http://schemas.microsoft.com/office/drawing/2014/main" val="211796807"/>
                    </a:ext>
                  </a:extLst>
                </a:gridCol>
                <a:gridCol w="2683425">
                  <a:extLst>
                    <a:ext uri="{9D8B030D-6E8A-4147-A177-3AD203B41FA5}">
                      <a16:colId xmlns:a16="http://schemas.microsoft.com/office/drawing/2014/main" val="3508867054"/>
                    </a:ext>
                  </a:extLst>
                </a:gridCol>
              </a:tblGrid>
              <a:tr h="320552">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rtl="0"/>
                      <a:endParaRPr lang="en-GB" sz="1200" dirty="0">
                        <a:solidFill>
                          <a:schemeClr val="bg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rtl="0"/>
                      <a:r>
                        <a:rPr lang="ru" sz="1200" dirty="0">
                          <a:solidFill>
                            <a:schemeClr val="tx1"/>
                          </a:solidFill>
                          <a:latin typeface="+mn-lt"/>
                          <a:cs typeface="Arial" panose="020B0604020202020204" pitchFamily="34" charset="0"/>
                        </a:rPr>
                        <a:t>Олапариб + абиратерон</a:t>
                      </a:r>
                    </a:p>
                    <a:p>
                      <a:pPr algn="ctr" rtl="0"/>
                      <a:r>
                        <a:rPr lang="ru" sz="1200" dirty="0">
                          <a:solidFill>
                            <a:schemeClr val="tx1"/>
                          </a:solidFill>
                          <a:latin typeface="+mn-lt"/>
                          <a:cs typeface="Arial" panose="020B0604020202020204" pitchFamily="34" charset="0"/>
                        </a:rPr>
                        <a:t>(n = 399)</a:t>
                      </a:r>
                      <a:endParaRPr lang="en-GB" sz="1200" dirty="0">
                        <a:solidFill>
                          <a:schemeClr val="tx1"/>
                        </a:solidFill>
                        <a:latin typeface="+mn-lt"/>
                        <a:cs typeface="Arial" panose="020B0604020202020204" pitchFamily="34" charset="0"/>
                      </a:endParaRPr>
                    </a:p>
                  </a:txBody>
                  <a:tcPr>
                    <a:lnL w="12700" cap="flat" cmpd="sng" algn="ctr">
                      <a:noFill/>
                      <a:prstDash val="solid"/>
                      <a:round/>
                      <a:headEnd type="none" w="med" len="med"/>
                      <a:tailEnd type="none" w="med" len="med"/>
                    </a:lnL>
                    <a:lnR w="127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rtl="0"/>
                      <a:r>
                        <a:rPr lang="ru" sz="1200" dirty="0">
                          <a:solidFill>
                            <a:schemeClr val="bg1"/>
                          </a:solidFill>
                          <a:latin typeface="+mn-lt"/>
                          <a:cs typeface="Arial" panose="020B0604020202020204" pitchFamily="34" charset="0"/>
                        </a:rPr>
                        <a:t>Плацебо + абиратерон</a:t>
                      </a:r>
                    </a:p>
                    <a:p>
                      <a:pPr algn="ctr" rtl="0"/>
                      <a:r>
                        <a:rPr lang="ru" sz="1200" dirty="0">
                          <a:solidFill>
                            <a:schemeClr val="bg1"/>
                          </a:solidFill>
                          <a:latin typeface="+mn-lt"/>
                          <a:cs typeface="Arial" panose="020B0604020202020204" pitchFamily="34" charset="0"/>
                        </a:rPr>
                        <a:t>(n = 397)</a:t>
                      </a:r>
                      <a:endParaRPr lang="en-GB" sz="1200" dirty="0">
                        <a:solidFill>
                          <a:schemeClr val="bg1"/>
                        </a:solidFill>
                        <a:latin typeface="+mn-lt"/>
                        <a:cs typeface="Arial" panose="020B0604020202020204" pitchFamily="34" charset="0"/>
                      </a:endParaRPr>
                    </a:p>
                  </a:txBody>
                  <a:tcPr>
                    <a:lnL w="12700" cap="flat" cmpd="sng" algn="ctr">
                      <a:solidFill>
                        <a:srgbClr val="002557"/>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690983419"/>
                  </a:ext>
                </a:extLst>
              </a:tr>
              <a:tr h="19233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 sz="1200" b="0">
                          <a:solidFill>
                            <a:schemeClr val="tx1"/>
                          </a:solidFill>
                          <a:effectLst/>
                          <a:latin typeface="+mn-lt"/>
                          <a:ea typeface="MS Mincho" panose="02020609040205080304" pitchFamily="49" charset="-128"/>
                          <a:cs typeface="Arial" panose="020B0604020202020204" pitchFamily="34" charset="0"/>
                        </a:rPr>
                        <a:t>Медиана (диапазон) возраста, лет</a:t>
                      </a:r>
                      <a:endParaRPr lang="en-US" sz="1200" b="0" dirty="0">
                        <a:solidFill>
                          <a:schemeClr val="tx1"/>
                        </a:solidFill>
                        <a:effectLst/>
                        <a:latin typeface="+mn-lt"/>
                        <a:ea typeface="MS Mincho" panose="02020609040205080304" pitchFamily="49" charset="-128"/>
                        <a:cs typeface="Times New Roman" panose="02020603050405020304" pitchFamily="18" charset="0"/>
                      </a:endParaRPr>
                    </a:p>
                  </a:txBody>
                  <a:tcPr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69,0 (43–91)</a:t>
                      </a:r>
                    </a:p>
                  </a:txBody>
                  <a:tcPr marL="68580" marR="68580" marT="0" marB="0"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chemeClr val="accent3">
                        <a:alpha val="30196"/>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70,0 (46–88)</a:t>
                      </a:r>
                    </a:p>
                  </a:txBody>
                  <a:tcPr marL="68580" marR="68580" marT="0" marB="0"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chemeClr val="tx2">
                        <a:alpha val="30196"/>
                      </a:schemeClr>
                    </a:solidFill>
                  </a:tcPr>
                </a:tc>
                <a:extLst>
                  <a:ext uri="{0D108BD9-81ED-4DB2-BD59-A6C34878D82A}">
                    <a16:rowId xmlns:a16="http://schemas.microsoft.com/office/drawing/2014/main" val="259203576"/>
                  </a:ext>
                </a:extLst>
              </a:tr>
              <a:tr h="448773">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rtl="0">
                        <a:lnSpc>
                          <a:spcPct val="100000"/>
                        </a:lnSpc>
                        <a:spcAft>
                          <a:spcPts val="0"/>
                        </a:spcAft>
                      </a:pPr>
                      <a:r>
                        <a:rPr lang="ru" sz="1200" b="0">
                          <a:solidFill>
                            <a:schemeClr val="tx1"/>
                          </a:solidFill>
                          <a:effectLst/>
                          <a:latin typeface="+mn-lt"/>
                          <a:ea typeface="MS Mincho" panose="02020609040205080304" pitchFamily="49" charset="-128"/>
                          <a:cs typeface="Arial" panose="020B0604020202020204" pitchFamily="34" charset="0"/>
                        </a:rPr>
                        <a:t>Функциональный статус по шкале ECOG, n (%)</a:t>
                      </a:r>
                    </a:p>
                    <a:p>
                      <a:pPr lvl="1" rtl="0">
                        <a:lnSpc>
                          <a:spcPct val="100000"/>
                        </a:lnSpc>
                        <a:spcAft>
                          <a:spcPts val="0"/>
                        </a:spcAft>
                      </a:pPr>
                      <a:r>
                        <a:rPr lang="ru" sz="1200" b="0">
                          <a:solidFill>
                            <a:schemeClr val="tx1"/>
                          </a:solidFill>
                          <a:effectLst/>
                          <a:latin typeface="+mn-lt"/>
                          <a:ea typeface="MS Mincho" panose="02020609040205080304" pitchFamily="49" charset="-128"/>
                          <a:cs typeface="Arial" panose="020B0604020202020204" pitchFamily="34" charset="0"/>
                        </a:rPr>
                        <a:t>0</a:t>
                      </a:r>
                    </a:p>
                    <a:p>
                      <a:pPr lvl="1" rtl="0">
                        <a:lnSpc>
                          <a:spcPct val="100000"/>
                        </a:lnSpc>
                        <a:spcAft>
                          <a:spcPts val="0"/>
                        </a:spcAft>
                      </a:pPr>
                      <a:r>
                        <a:rPr lang="ru" sz="1200" b="0">
                          <a:solidFill>
                            <a:schemeClr val="tx1"/>
                          </a:solidFill>
                          <a:effectLst/>
                          <a:latin typeface="+mn-lt"/>
                          <a:ea typeface="MS Mincho" panose="02020609040205080304" pitchFamily="49" charset="-128"/>
                          <a:cs typeface="Arial" panose="020B0604020202020204" pitchFamily="34" charset="0"/>
                        </a:rPr>
                        <a:t>1</a:t>
                      </a:r>
                      <a:endParaRPr lang="en-GB" sz="1200" dirty="0">
                        <a:solidFill>
                          <a:schemeClr val="tx1"/>
                        </a:solidFill>
                        <a:latin typeface="+mn-lt"/>
                      </a:endParaRPr>
                    </a:p>
                  </a:txBody>
                  <a:tcPr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 </a:t>
                      </a:r>
                    </a:p>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286 (71,7)</a:t>
                      </a:r>
                    </a:p>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112 (28,1)</a:t>
                      </a:r>
                    </a:p>
                  </a:txBody>
                  <a:tcPr marL="68580" marR="68580" marT="0" marB="0"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chemeClr val="accent3">
                        <a:alpha val="30196"/>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 </a:t>
                      </a:r>
                    </a:p>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272 (68,5)</a:t>
                      </a:r>
                    </a:p>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124 (31,2)</a:t>
                      </a:r>
                    </a:p>
                  </a:txBody>
                  <a:tcPr marL="68580" marR="68580" marT="0" marB="0"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chemeClr val="tx2">
                        <a:alpha val="30196"/>
                      </a:schemeClr>
                    </a:solidFill>
                  </a:tcPr>
                </a:tc>
                <a:extLst>
                  <a:ext uri="{0D108BD9-81ED-4DB2-BD59-A6C34878D82A}">
                    <a16:rowId xmlns:a16="http://schemas.microsoft.com/office/drawing/2014/main" val="4157482434"/>
                  </a:ext>
                </a:extLst>
              </a:tr>
              <a:tr h="19233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0" dirty="0">
                          <a:solidFill>
                            <a:schemeClr val="tx1"/>
                          </a:solidFill>
                          <a:effectLst/>
                          <a:latin typeface="+mn-lt"/>
                          <a:ea typeface="MS Mincho" panose="02020609040205080304" pitchFamily="49" charset="-128"/>
                          <a:cs typeface="Times New Roman" panose="02020603050405020304" pitchFamily="18" charset="0"/>
                        </a:rPr>
                        <a:t>Наличие симптомов</a:t>
                      </a:r>
                      <a:r>
                        <a:rPr lang="ru" sz="1200" b="0" dirty="0">
                          <a:solidFill>
                            <a:schemeClr val="tx1"/>
                          </a:solidFill>
                          <a:effectLst/>
                          <a:latin typeface="+mn-lt"/>
                          <a:ea typeface="MS Mincho" panose="02020609040205080304" pitchFamily="49" charset="-128"/>
                          <a:cs typeface="Times New Roman" panose="02020603050405020304" pitchFamily="18" charset="0"/>
                        </a:rPr>
                        <a:t> (боль),* n (%)</a:t>
                      </a:r>
                    </a:p>
                  </a:txBody>
                  <a:tcPr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latinLnBrk="0" hangingPunct="1">
                        <a:lnSpc>
                          <a:spcPct val="100000"/>
                        </a:lnSpc>
                        <a:spcAft>
                          <a:spcPts val="0"/>
                        </a:spcAft>
                      </a:pPr>
                      <a:r>
                        <a:rPr lang="ru" sz="1200" b="1" kern="1200" dirty="0">
                          <a:solidFill>
                            <a:schemeClr val="tx1"/>
                          </a:solidFill>
                          <a:latin typeface="+mn-lt"/>
                          <a:ea typeface="+mn-ea"/>
                          <a:cs typeface="Arial" panose="020B0604020202020204" pitchFamily="34" charset="0"/>
                        </a:rPr>
                        <a:t>103 (25,8)</a:t>
                      </a:r>
                    </a:p>
                  </a:txBody>
                  <a:tcPr marL="68580" marR="68580" marT="0" marB="0"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chemeClr val="accent3">
                        <a:alpha val="30196"/>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latinLnBrk="0" hangingPunct="1">
                        <a:lnSpc>
                          <a:spcPct val="100000"/>
                        </a:lnSpc>
                        <a:spcAft>
                          <a:spcPts val="0"/>
                        </a:spcAft>
                      </a:pPr>
                      <a:r>
                        <a:rPr lang="ru" sz="1200" b="1" kern="1200" dirty="0">
                          <a:solidFill>
                            <a:schemeClr val="tx1"/>
                          </a:solidFill>
                          <a:latin typeface="+mn-lt"/>
                          <a:ea typeface="+mn-ea"/>
                          <a:cs typeface="Arial" panose="020B0604020202020204" pitchFamily="34" charset="0"/>
                        </a:rPr>
                        <a:t>80 (20,2)</a:t>
                      </a:r>
                    </a:p>
                  </a:txBody>
                  <a:tcPr marL="68580" marR="68580" marT="0" marB="0"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chemeClr val="tx2">
                        <a:alpha val="30196"/>
                      </a:schemeClr>
                    </a:solidFill>
                  </a:tcPr>
                </a:tc>
                <a:extLst>
                  <a:ext uri="{0D108BD9-81ED-4DB2-BD59-A6C34878D82A}">
                    <a16:rowId xmlns:a16="http://schemas.microsoft.com/office/drawing/2014/main" val="4006171424"/>
                  </a:ext>
                </a:extLst>
              </a:tr>
              <a:tr h="96165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 sz="1200" b="0" dirty="0">
                          <a:solidFill>
                            <a:schemeClr val="tx1"/>
                          </a:solidFill>
                          <a:effectLst/>
                          <a:latin typeface="+mn-lt"/>
                          <a:ea typeface="MS Mincho" panose="02020609040205080304" pitchFamily="49" charset="-128"/>
                          <a:cs typeface="Arial" panose="020B0604020202020204" pitchFamily="34" charset="0"/>
                        </a:rPr>
                        <a:t>Локализация метастазов, n (%)</a:t>
                      </a:r>
                    </a:p>
                    <a:p>
                      <a:pPr marL="457200" marR="0" lvl="1" indent="0" algn="l" defTabSz="914400" rtl="0" eaLnBrk="1" fontAlgn="auto" latinLnBrk="0" hangingPunct="1">
                        <a:lnSpc>
                          <a:spcPct val="100000"/>
                        </a:lnSpc>
                        <a:spcBef>
                          <a:spcPts val="0"/>
                        </a:spcBef>
                        <a:spcAft>
                          <a:spcPts val="0"/>
                        </a:spcAft>
                        <a:buClrTx/>
                        <a:buSzTx/>
                        <a:buFontTx/>
                        <a:buNone/>
                        <a:tabLst/>
                        <a:defRPr/>
                      </a:pPr>
                      <a:r>
                        <a:rPr lang="ru" sz="1200" b="0" dirty="0">
                          <a:solidFill>
                            <a:schemeClr val="tx1"/>
                          </a:solidFill>
                          <a:effectLst/>
                          <a:latin typeface="+mn-lt"/>
                          <a:ea typeface="MS Mincho" panose="02020609040205080304" pitchFamily="49" charset="-128"/>
                          <a:cs typeface="Arial" panose="020B0604020202020204" pitchFamily="34" charset="0"/>
                        </a:rPr>
                        <a:t>Кости</a:t>
                      </a:r>
                    </a:p>
                    <a:p>
                      <a:pPr marL="457200" marR="0" lvl="1" indent="0" algn="l" defTabSz="914400" rtl="0" eaLnBrk="1" fontAlgn="auto" latinLnBrk="0" hangingPunct="1">
                        <a:lnSpc>
                          <a:spcPct val="100000"/>
                        </a:lnSpc>
                        <a:spcBef>
                          <a:spcPts val="0"/>
                        </a:spcBef>
                        <a:spcAft>
                          <a:spcPts val="0"/>
                        </a:spcAft>
                        <a:buClrTx/>
                        <a:buSzTx/>
                        <a:buFontTx/>
                        <a:buNone/>
                        <a:tabLst/>
                        <a:defRPr/>
                      </a:pPr>
                      <a:r>
                        <a:rPr lang="ru" sz="1200" b="0" dirty="0">
                          <a:solidFill>
                            <a:schemeClr val="tx1"/>
                          </a:solidFill>
                          <a:effectLst/>
                          <a:latin typeface="+mn-lt"/>
                          <a:ea typeface="MS Mincho" panose="02020609040205080304" pitchFamily="49" charset="-128"/>
                          <a:cs typeface="Arial" panose="020B0604020202020204" pitchFamily="34" charset="0"/>
                        </a:rPr>
                        <a:t>Отдаленные лимфатические узлы</a:t>
                      </a:r>
                    </a:p>
                    <a:p>
                      <a:pPr marL="457200" marR="0" lvl="1" indent="0" algn="l" defTabSz="914400" rtl="0" eaLnBrk="1" fontAlgn="auto" latinLnBrk="0" hangingPunct="1">
                        <a:lnSpc>
                          <a:spcPct val="100000"/>
                        </a:lnSpc>
                        <a:spcBef>
                          <a:spcPts val="0"/>
                        </a:spcBef>
                        <a:spcAft>
                          <a:spcPts val="0"/>
                        </a:spcAft>
                        <a:buClrTx/>
                        <a:buSzTx/>
                        <a:buFontTx/>
                        <a:buNone/>
                        <a:tabLst/>
                        <a:defRPr/>
                      </a:pPr>
                      <a:r>
                        <a:rPr lang="ru" sz="1200" b="0" dirty="0">
                          <a:solidFill>
                            <a:schemeClr val="tx1"/>
                          </a:solidFill>
                          <a:effectLst/>
                          <a:latin typeface="+mn-lt"/>
                          <a:ea typeface="MS Mincho" panose="02020609040205080304" pitchFamily="49" charset="-128"/>
                          <a:cs typeface="Arial" panose="020B0604020202020204" pitchFamily="34" charset="0"/>
                        </a:rPr>
                        <a:t>Локорегионарные лимфатические узлы</a:t>
                      </a:r>
                    </a:p>
                    <a:p>
                      <a:pPr marL="457200" marR="0" lvl="1" indent="0" algn="l" defTabSz="914400" rtl="0" eaLnBrk="1" fontAlgn="auto" latinLnBrk="0" hangingPunct="1">
                        <a:lnSpc>
                          <a:spcPct val="100000"/>
                        </a:lnSpc>
                        <a:spcBef>
                          <a:spcPts val="0"/>
                        </a:spcBef>
                        <a:spcAft>
                          <a:spcPts val="0"/>
                        </a:spcAft>
                        <a:buClrTx/>
                        <a:buSzTx/>
                        <a:buFontTx/>
                        <a:buNone/>
                        <a:tabLst/>
                        <a:defRPr/>
                      </a:pPr>
                      <a:r>
                        <a:rPr lang="ru" sz="1200" b="0" dirty="0">
                          <a:solidFill>
                            <a:schemeClr val="tx1"/>
                          </a:solidFill>
                          <a:effectLst/>
                          <a:latin typeface="+mn-lt"/>
                          <a:ea typeface="MS Mincho" panose="02020609040205080304" pitchFamily="49" charset="-128"/>
                          <a:cs typeface="Arial" panose="020B0604020202020204" pitchFamily="34" charset="0"/>
                        </a:rPr>
                        <a:t>Легкие</a:t>
                      </a:r>
                    </a:p>
                    <a:p>
                      <a:pPr marL="457200" marR="0" lvl="1" indent="0" algn="l" defTabSz="914400" rtl="0" eaLnBrk="1" fontAlgn="auto" latinLnBrk="0" hangingPunct="1">
                        <a:lnSpc>
                          <a:spcPct val="100000"/>
                        </a:lnSpc>
                        <a:spcBef>
                          <a:spcPts val="0"/>
                        </a:spcBef>
                        <a:spcAft>
                          <a:spcPts val="0"/>
                        </a:spcAft>
                        <a:buClrTx/>
                        <a:buSzTx/>
                        <a:buFontTx/>
                        <a:buNone/>
                        <a:tabLst/>
                        <a:defRPr/>
                      </a:pPr>
                      <a:r>
                        <a:rPr lang="ru" sz="1200" b="0" dirty="0">
                          <a:solidFill>
                            <a:schemeClr val="tx1"/>
                          </a:solidFill>
                          <a:effectLst/>
                          <a:latin typeface="+mn-lt"/>
                          <a:ea typeface="MS Mincho" panose="02020609040205080304" pitchFamily="49" charset="-128"/>
                          <a:cs typeface="Arial" panose="020B0604020202020204" pitchFamily="34" charset="0"/>
                        </a:rPr>
                        <a:t>Печень</a:t>
                      </a:r>
                    </a:p>
                  </a:txBody>
                  <a:tcPr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 </a:t>
                      </a:r>
                    </a:p>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349 (87,5)</a:t>
                      </a:r>
                    </a:p>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133 (33,3)</a:t>
                      </a:r>
                    </a:p>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82 (20,6)</a:t>
                      </a:r>
                    </a:p>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40 (10,0)</a:t>
                      </a:r>
                    </a:p>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15 (3,8)</a:t>
                      </a:r>
                    </a:p>
                  </a:txBody>
                  <a:tcPr marL="68580" marR="68580" marT="0" marB="0"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chemeClr val="accent3">
                        <a:alpha val="30196"/>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 </a:t>
                      </a:r>
                    </a:p>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339 (85,4)</a:t>
                      </a:r>
                    </a:p>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119 (30,0)</a:t>
                      </a:r>
                    </a:p>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89 (22,4)</a:t>
                      </a:r>
                    </a:p>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42 (10,6)</a:t>
                      </a:r>
                    </a:p>
                    <a:p>
                      <a:pPr marL="0" algn="ctr" defTabSz="914400" rtl="0" eaLnBrk="1" latinLnBrk="0" hangingPunct="1">
                        <a:lnSpc>
                          <a:spcPct val="100000"/>
                        </a:lnSpc>
                        <a:spcAft>
                          <a:spcPts val="0"/>
                        </a:spcAft>
                      </a:pPr>
                      <a:r>
                        <a:rPr lang="ru" sz="1200" kern="1200" dirty="0">
                          <a:solidFill>
                            <a:schemeClr val="tx1"/>
                          </a:solidFill>
                          <a:latin typeface="+mn-lt"/>
                          <a:ea typeface="+mn-ea"/>
                          <a:cs typeface="Arial" panose="020B0604020202020204" pitchFamily="34" charset="0"/>
                        </a:rPr>
                        <a:t>18 (4,5)</a:t>
                      </a:r>
                    </a:p>
                  </a:txBody>
                  <a:tcPr marL="68580" marR="68580" marT="0" marB="0"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chemeClr val="tx2">
                        <a:alpha val="30196"/>
                      </a:schemeClr>
                    </a:solidFill>
                  </a:tcPr>
                </a:tc>
                <a:extLst>
                  <a:ext uri="{0D108BD9-81ED-4DB2-BD59-A6C34878D82A}">
                    <a16:rowId xmlns:a16="http://schemas.microsoft.com/office/drawing/2014/main" val="3815276584"/>
                  </a:ext>
                </a:extLst>
              </a:tr>
              <a:tr h="19233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 sz="1200" dirty="0">
                          <a:solidFill>
                            <a:schemeClr val="tx1"/>
                          </a:solidFill>
                          <a:latin typeface="+mn-lt"/>
                          <a:cs typeface="Arial" panose="020B0604020202020204" pitchFamily="34" charset="0"/>
                        </a:rPr>
                        <a:t>Применение доцетаксела на этапе мГЧРПЖ, n (%)</a:t>
                      </a:r>
                    </a:p>
                  </a:txBody>
                  <a:tcPr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lnSpc>
                          <a:spcPct val="100000"/>
                        </a:lnSpc>
                        <a:spcAft>
                          <a:spcPts val="0"/>
                        </a:spcAft>
                      </a:pPr>
                      <a:r>
                        <a:rPr lang="ru" sz="1200" b="1" dirty="0">
                          <a:solidFill>
                            <a:schemeClr val="tx1"/>
                          </a:solidFill>
                          <a:latin typeface="+mn-lt"/>
                        </a:rPr>
                        <a:t>90 (22,6)</a:t>
                      </a:r>
                    </a:p>
                  </a:txBody>
                  <a:tcPr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chemeClr val="accent3">
                        <a:alpha val="30196"/>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lnSpc>
                          <a:spcPct val="100000"/>
                        </a:lnSpc>
                        <a:spcAft>
                          <a:spcPts val="0"/>
                        </a:spcAft>
                      </a:pPr>
                      <a:r>
                        <a:rPr lang="ru" sz="1200" b="1" dirty="0">
                          <a:solidFill>
                            <a:schemeClr val="tx1"/>
                          </a:solidFill>
                          <a:latin typeface="+mn-lt"/>
                        </a:rPr>
                        <a:t>89 (22,4)</a:t>
                      </a:r>
                    </a:p>
                  </a:txBody>
                  <a:tcPr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chemeClr val="tx2">
                        <a:alpha val="30196"/>
                      </a:schemeClr>
                    </a:solidFill>
                  </a:tcPr>
                </a:tc>
                <a:extLst>
                  <a:ext uri="{0D108BD9-81ED-4DB2-BD59-A6C34878D82A}">
                    <a16:rowId xmlns:a16="http://schemas.microsoft.com/office/drawing/2014/main" val="1572009750"/>
                  </a:ext>
                </a:extLst>
              </a:tr>
              <a:tr h="334473">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 sz="1200" dirty="0">
                          <a:solidFill>
                            <a:schemeClr val="tx1"/>
                          </a:solidFill>
                          <a:latin typeface="+mn-lt"/>
                          <a:cs typeface="Arial" panose="020B0604020202020204" pitchFamily="34" charset="0"/>
                        </a:rPr>
                        <a:t>Медиана уровня ПСА, мкг/л (межквартильный интервал)</a:t>
                      </a:r>
                    </a:p>
                  </a:txBody>
                  <a:tcPr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lnSpc>
                          <a:spcPct val="100000"/>
                        </a:lnSpc>
                        <a:spcAft>
                          <a:spcPts val="0"/>
                        </a:spcAft>
                      </a:pPr>
                      <a:r>
                        <a:rPr lang="ru" sz="1200" dirty="0">
                          <a:effectLst/>
                          <a:latin typeface="+mn-lt"/>
                          <a:ea typeface="MS Mincho" panose="02020609040205080304" pitchFamily="49" charset="-128"/>
                        </a:rPr>
                        <a:t>17,90 (6,09–67,00)</a:t>
                      </a:r>
                    </a:p>
                  </a:txBody>
                  <a:tcPr marL="68580" marR="68580" marT="0" marB="0"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chemeClr val="accent3">
                        <a:alpha val="30196"/>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rtl="0">
                        <a:lnSpc>
                          <a:spcPct val="100000"/>
                        </a:lnSpc>
                        <a:spcAft>
                          <a:spcPts val="0"/>
                        </a:spcAft>
                      </a:pPr>
                      <a:r>
                        <a:rPr lang="ru" sz="1200" dirty="0">
                          <a:effectLst/>
                          <a:latin typeface="+mn-lt"/>
                          <a:ea typeface="MS Mincho" panose="02020609040205080304" pitchFamily="49" charset="-128"/>
                        </a:rPr>
                        <a:t>16,81 (6,26–53,30)</a:t>
                      </a:r>
                    </a:p>
                  </a:txBody>
                  <a:tcPr marL="68580" marR="68580" marT="0" marB="0"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chemeClr val="tx2">
                        <a:alpha val="30196"/>
                      </a:schemeClr>
                    </a:solidFill>
                  </a:tcPr>
                </a:tc>
                <a:extLst>
                  <a:ext uri="{0D108BD9-81ED-4DB2-BD59-A6C34878D82A}">
                    <a16:rowId xmlns:a16="http://schemas.microsoft.com/office/drawing/2014/main" val="3003369199"/>
                  </a:ext>
                </a:extLst>
              </a:tr>
              <a:tr h="57699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 sz="1200" dirty="0">
                          <a:solidFill>
                            <a:schemeClr val="tx1"/>
                          </a:solidFill>
                          <a:latin typeface="+mn-lt"/>
                          <a:cs typeface="Arial" panose="020B0604020202020204" pitchFamily="34" charset="0"/>
                        </a:rPr>
                        <a:t>Статус мутации НRR</a:t>
                      </a:r>
                      <a:r>
                        <a:rPr lang="ru" sz="1200" baseline="30000" dirty="0">
                          <a:solidFill>
                            <a:schemeClr val="tx1"/>
                          </a:solidFill>
                          <a:latin typeface="+mn-lt"/>
                          <a:cs typeface="Arial" panose="020B0604020202020204" pitchFamily="34" charset="0"/>
                        </a:rPr>
                        <a:t>† </a:t>
                      </a:r>
                      <a:r>
                        <a:rPr lang="ru" sz="1200" kern="1200" dirty="0">
                          <a:solidFill>
                            <a:schemeClr val="tx1"/>
                          </a:solidFill>
                          <a:latin typeface="+mn-lt"/>
                          <a:ea typeface="+mn-ea"/>
                          <a:cs typeface="Arial" panose="020B0604020202020204" pitchFamily="34" charset="0"/>
                        </a:rPr>
                        <a:t>(ретроспективный анализ)</a:t>
                      </a:r>
                    </a:p>
                    <a:p>
                      <a:pPr marL="457200" marR="0" lvl="1" indent="0" algn="l" defTabSz="914400" rtl="0" eaLnBrk="1" fontAlgn="auto" latinLnBrk="0" hangingPunct="1">
                        <a:lnSpc>
                          <a:spcPct val="100000"/>
                        </a:lnSpc>
                        <a:spcBef>
                          <a:spcPts val="0"/>
                        </a:spcBef>
                        <a:spcAft>
                          <a:spcPts val="0"/>
                        </a:spcAft>
                        <a:buClrTx/>
                        <a:buSzTx/>
                        <a:buFontTx/>
                        <a:buNone/>
                        <a:tabLst/>
                        <a:defRPr/>
                      </a:pPr>
                      <a:r>
                        <a:rPr lang="ru" sz="1200" dirty="0">
                          <a:solidFill>
                            <a:schemeClr val="tx1"/>
                          </a:solidFill>
                          <a:latin typeface="+mn-lt"/>
                          <a:cs typeface="Arial" panose="020B0604020202020204" pitchFamily="34" charset="0"/>
                        </a:rPr>
                        <a:t>Наличие мутации HRR </a:t>
                      </a:r>
                      <a:endParaRPr lang="en-US" sz="1200" dirty="0">
                        <a:solidFill>
                          <a:schemeClr val="tx1"/>
                        </a:solidFill>
                        <a:latin typeface="+mn-lt"/>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ru" sz="1200" dirty="0">
                          <a:solidFill>
                            <a:schemeClr val="tx1"/>
                          </a:solidFill>
                          <a:latin typeface="+mn-lt"/>
                          <a:cs typeface="Arial" panose="020B0604020202020204" pitchFamily="34" charset="0"/>
                        </a:rPr>
                        <a:t>Отсутствие мутаций HRR</a:t>
                      </a:r>
                    </a:p>
                    <a:p>
                      <a:pPr marL="457200" marR="0" lvl="1" indent="0" algn="l" defTabSz="914400" rtl="0" eaLnBrk="1" fontAlgn="auto" latinLnBrk="0" hangingPunct="1">
                        <a:lnSpc>
                          <a:spcPct val="100000"/>
                        </a:lnSpc>
                        <a:spcBef>
                          <a:spcPts val="0"/>
                        </a:spcBef>
                        <a:spcAft>
                          <a:spcPts val="0"/>
                        </a:spcAft>
                        <a:buClrTx/>
                        <a:buSzTx/>
                        <a:buFontTx/>
                        <a:buNone/>
                        <a:tabLst/>
                        <a:defRPr/>
                      </a:pPr>
                      <a:r>
                        <a:rPr lang="ru" sz="1200" dirty="0">
                          <a:solidFill>
                            <a:schemeClr val="tx1"/>
                          </a:solidFill>
                          <a:latin typeface="+mn-lt"/>
                          <a:cs typeface="Arial" panose="020B0604020202020204" pitchFamily="34" charset="0"/>
                        </a:rPr>
                        <a:t>Статус мутации НRR не уточнен </a:t>
                      </a:r>
                    </a:p>
                  </a:txBody>
                  <a:tcPr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latinLnBrk="0" hangingPunct="1">
                        <a:lnSpc>
                          <a:spcPct val="100000"/>
                        </a:lnSpc>
                        <a:spcAft>
                          <a:spcPts val="0"/>
                        </a:spcAft>
                      </a:pPr>
                      <a:r>
                        <a:rPr lang="ru" sz="1200" b="1" kern="1200" dirty="0">
                          <a:solidFill>
                            <a:schemeClr val="tx1"/>
                          </a:solidFill>
                          <a:latin typeface="+mn-lt"/>
                          <a:ea typeface="+mn-ea"/>
                          <a:cs typeface="Arial" panose="020B0604020202020204" pitchFamily="34" charset="0"/>
                        </a:rPr>
                        <a:t> </a:t>
                      </a:r>
                    </a:p>
                    <a:p>
                      <a:pPr marL="0" algn="ctr" defTabSz="914400" rtl="0" eaLnBrk="1" latinLnBrk="0" hangingPunct="1">
                        <a:lnSpc>
                          <a:spcPct val="100000"/>
                        </a:lnSpc>
                        <a:spcAft>
                          <a:spcPts val="0"/>
                        </a:spcAft>
                      </a:pPr>
                      <a:r>
                        <a:rPr lang="ru" sz="1200" b="1" kern="1200" dirty="0">
                          <a:solidFill>
                            <a:schemeClr val="tx1"/>
                          </a:solidFill>
                          <a:latin typeface="+mn-lt"/>
                          <a:ea typeface="+mn-ea"/>
                          <a:cs typeface="Arial" panose="020B0604020202020204" pitchFamily="34" charset="0"/>
                        </a:rPr>
                        <a:t>111 (27,8)</a:t>
                      </a:r>
                    </a:p>
                    <a:p>
                      <a:pPr marL="0" algn="ctr" defTabSz="914400" rtl="0" eaLnBrk="1" latinLnBrk="0" hangingPunct="1">
                        <a:lnSpc>
                          <a:spcPct val="100000"/>
                        </a:lnSpc>
                        <a:spcAft>
                          <a:spcPts val="0"/>
                        </a:spcAft>
                      </a:pPr>
                      <a:r>
                        <a:rPr lang="ru" sz="1200" b="1" kern="1200" dirty="0">
                          <a:solidFill>
                            <a:schemeClr val="tx1"/>
                          </a:solidFill>
                          <a:latin typeface="+mn-lt"/>
                          <a:ea typeface="+mn-ea"/>
                          <a:cs typeface="Arial" panose="020B0604020202020204" pitchFamily="34" charset="0"/>
                        </a:rPr>
                        <a:t>279 (69,9)</a:t>
                      </a:r>
                    </a:p>
                    <a:p>
                      <a:pPr marL="0" algn="ctr" defTabSz="914400" rtl="0" eaLnBrk="1" latinLnBrk="0" hangingPunct="1">
                        <a:lnSpc>
                          <a:spcPct val="100000"/>
                        </a:lnSpc>
                        <a:spcAft>
                          <a:spcPts val="0"/>
                        </a:spcAft>
                      </a:pPr>
                      <a:r>
                        <a:rPr lang="ru" sz="1200" b="1" kern="1200" dirty="0">
                          <a:solidFill>
                            <a:schemeClr val="tx1"/>
                          </a:solidFill>
                          <a:latin typeface="+mn-lt"/>
                          <a:ea typeface="+mn-ea"/>
                          <a:cs typeface="Arial" panose="020B0604020202020204" pitchFamily="34" charset="0"/>
                        </a:rPr>
                        <a:t>9 (2,3)</a:t>
                      </a:r>
                    </a:p>
                  </a:txBody>
                  <a:tcPr marL="68580" marR="68580" marT="0" marB="0"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chemeClr val="accent3">
                        <a:alpha val="30196"/>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latinLnBrk="0" hangingPunct="1">
                        <a:lnSpc>
                          <a:spcPct val="100000"/>
                        </a:lnSpc>
                        <a:spcAft>
                          <a:spcPts val="0"/>
                        </a:spcAft>
                      </a:pPr>
                      <a:r>
                        <a:rPr lang="ru" sz="1200" b="1" kern="1200" dirty="0">
                          <a:solidFill>
                            <a:schemeClr val="tx1"/>
                          </a:solidFill>
                          <a:latin typeface="+mn-lt"/>
                          <a:ea typeface="+mn-ea"/>
                          <a:cs typeface="Arial" panose="020B0604020202020204" pitchFamily="34" charset="0"/>
                        </a:rPr>
                        <a:t>  </a:t>
                      </a:r>
                    </a:p>
                    <a:p>
                      <a:pPr marL="0" algn="ctr" defTabSz="914400" rtl="0" eaLnBrk="1" latinLnBrk="0" hangingPunct="1">
                        <a:lnSpc>
                          <a:spcPct val="100000"/>
                        </a:lnSpc>
                        <a:spcAft>
                          <a:spcPts val="0"/>
                        </a:spcAft>
                      </a:pPr>
                      <a:r>
                        <a:rPr lang="ru" sz="1200" b="1" kern="1200" dirty="0">
                          <a:solidFill>
                            <a:schemeClr val="tx1"/>
                          </a:solidFill>
                          <a:latin typeface="+mn-lt"/>
                          <a:ea typeface="+mn-ea"/>
                          <a:cs typeface="Arial" panose="020B0604020202020204" pitchFamily="34" charset="0"/>
                        </a:rPr>
                        <a:t>115 (29,0)</a:t>
                      </a:r>
                    </a:p>
                    <a:p>
                      <a:pPr marL="0" algn="ctr" defTabSz="914400" rtl="0" eaLnBrk="1" latinLnBrk="0" hangingPunct="1">
                        <a:lnSpc>
                          <a:spcPct val="100000"/>
                        </a:lnSpc>
                        <a:spcAft>
                          <a:spcPts val="0"/>
                        </a:spcAft>
                      </a:pPr>
                      <a:r>
                        <a:rPr lang="ru" sz="1200" b="1" kern="1200" dirty="0">
                          <a:solidFill>
                            <a:schemeClr val="tx1"/>
                          </a:solidFill>
                          <a:latin typeface="+mn-lt"/>
                          <a:ea typeface="+mn-ea"/>
                          <a:cs typeface="Arial" panose="020B0604020202020204" pitchFamily="34" charset="0"/>
                        </a:rPr>
                        <a:t>273 (68,8)</a:t>
                      </a:r>
                    </a:p>
                    <a:p>
                      <a:pPr marL="0" algn="ctr" defTabSz="914400" rtl="0" eaLnBrk="1" latinLnBrk="0" hangingPunct="1">
                        <a:lnSpc>
                          <a:spcPct val="100000"/>
                        </a:lnSpc>
                        <a:spcAft>
                          <a:spcPts val="0"/>
                        </a:spcAft>
                      </a:pPr>
                      <a:r>
                        <a:rPr lang="ru" sz="1200" b="1" kern="1200" dirty="0">
                          <a:solidFill>
                            <a:schemeClr val="tx1"/>
                          </a:solidFill>
                          <a:latin typeface="+mn-lt"/>
                          <a:ea typeface="+mn-ea"/>
                          <a:cs typeface="Arial" panose="020B0604020202020204" pitchFamily="34" charset="0"/>
                        </a:rPr>
                        <a:t>9 (2,3)</a:t>
                      </a:r>
                    </a:p>
                  </a:txBody>
                  <a:tcPr marL="68580" marR="68580" marT="0" marB="0" anchor="ctr">
                    <a:lnL w="12700" cap="flat" cmpd="sng" algn="ctr">
                      <a:solidFill>
                        <a:srgbClr val="E7E6E6">
                          <a:lumMod val="90000"/>
                        </a:srgbClr>
                      </a:solidFill>
                      <a:prstDash val="solid"/>
                      <a:round/>
                      <a:headEnd type="none" w="med" len="med"/>
                      <a:tailEnd type="none" w="med" len="med"/>
                    </a:lnL>
                    <a:lnR w="12700" cap="flat" cmpd="sng" algn="ctr">
                      <a:solidFill>
                        <a:srgbClr val="E7E6E6">
                          <a:lumMod val="90000"/>
                        </a:srgbClr>
                      </a:solidFill>
                      <a:prstDash val="solid"/>
                      <a:round/>
                      <a:headEnd type="none" w="med" len="med"/>
                      <a:tailEnd type="none" w="med" len="med"/>
                    </a:lnR>
                    <a:lnT w="12700" cap="flat" cmpd="sng" algn="ctr">
                      <a:solidFill>
                        <a:srgbClr val="E7E6E6">
                          <a:lumMod val="90000"/>
                        </a:srgbClr>
                      </a:solidFill>
                      <a:prstDash val="solid"/>
                      <a:round/>
                      <a:headEnd type="none" w="med" len="med"/>
                      <a:tailEnd type="none" w="med" len="med"/>
                    </a:lnT>
                    <a:lnB w="12700" cap="flat" cmpd="sng" algn="ctr">
                      <a:solidFill>
                        <a:srgbClr val="E7E6E6">
                          <a:lumMod val="90000"/>
                        </a:srgbClr>
                      </a:solidFill>
                      <a:prstDash val="solid"/>
                      <a:round/>
                      <a:headEnd type="none" w="med" len="med"/>
                      <a:tailEnd type="none" w="med" len="med"/>
                    </a:lnB>
                    <a:lnTlToBr w="12700" cmpd="sng">
                      <a:noFill/>
                      <a:prstDash val="solid"/>
                    </a:lnTlToBr>
                    <a:lnBlToTr w="12700" cmpd="sng">
                      <a:noFill/>
                      <a:prstDash val="solid"/>
                    </a:lnBlToTr>
                    <a:solidFill>
                      <a:schemeClr val="tx2">
                        <a:alpha val="30196"/>
                      </a:schemeClr>
                    </a:solidFill>
                  </a:tcPr>
                </a:tc>
                <a:extLst>
                  <a:ext uri="{0D108BD9-81ED-4DB2-BD59-A6C34878D82A}">
                    <a16:rowId xmlns:a16="http://schemas.microsoft.com/office/drawing/2014/main" val="1943077457"/>
                  </a:ext>
                </a:extLst>
              </a:tr>
            </a:tbl>
          </a:graphicData>
        </a:graphic>
      </p:graphicFrame>
      <p:sp>
        <p:nvSpPr>
          <p:cNvPr id="8" name="Rectangle 7">
            <a:extLst>
              <a:ext uri="{FF2B5EF4-FFF2-40B4-BE49-F238E27FC236}">
                <a16:creationId xmlns:a16="http://schemas.microsoft.com/office/drawing/2014/main" id="{1C1819D6-BCA9-4011-AC7F-02C312CFD2EC}"/>
              </a:ext>
            </a:extLst>
          </p:cNvPr>
          <p:cNvSpPr/>
          <p:nvPr/>
        </p:nvSpPr>
        <p:spPr>
          <a:xfrm>
            <a:off x="755067" y="2562892"/>
            <a:ext cx="10702639" cy="264866"/>
          </a:xfrm>
          <a:prstGeom prst="rect">
            <a:avLst/>
          </a:prstGeom>
          <a:noFill/>
          <a:ln w="571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835BBBEC-42D6-4504-8AE5-B721740E0D02}"/>
              </a:ext>
            </a:extLst>
          </p:cNvPr>
          <p:cNvSpPr/>
          <p:nvPr/>
        </p:nvSpPr>
        <p:spPr>
          <a:xfrm>
            <a:off x="755069" y="4628065"/>
            <a:ext cx="10702637" cy="820235"/>
          </a:xfrm>
          <a:prstGeom prst="rect">
            <a:avLst/>
          </a:prstGeom>
          <a:noFill/>
          <a:ln w="571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043A798D-3C8E-42FD-9BBC-F84C7D1E9035}"/>
              </a:ext>
            </a:extLst>
          </p:cNvPr>
          <p:cNvSpPr/>
          <p:nvPr/>
        </p:nvSpPr>
        <p:spPr>
          <a:xfrm>
            <a:off x="713511" y="4020905"/>
            <a:ext cx="10702639" cy="264866"/>
          </a:xfrm>
          <a:prstGeom prst="rect">
            <a:avLst/>
          </a:prstGeom>
          <a:noFill/>
          <a:ln w="571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5314948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3D07FF2-3D50-46A1-86B4-BBDE8E11B151}"/>
              </a:ext>
            </a:extLst>
          </p:cNvPr>
          <p:cNvSpPr>
            <a:spLocks noGrp="1"/>
          </p:cNvSpPr>
          <p:nvPr>
            <p:ph type="title"/>
          </p:nvPr>
        </p:nvSpPr>
        <p:spPr>
          <a:xfrm>
            <a:off x="268553" y="239648"/>
            <a:ext cx="11795856" cy="864655"/>
          </a:xfrm>
          <a:solidFill>
            <a:srgbClr val="FFC000"/>
          </a:solidFill>
        </p:spPr>
        <p:txBody>
          <a:bodyPr rtlCol="0">
            <a:normAutofit fontScale="90000"/>
          </a:bodyPr>
          <a:lstStyle/>
          <a:p>
            <a:pPr algn="ctr" rtl="0"/>
            <a:r>
              <a:rPr lang="ru-RU" sz="2200" b="1" i="1" dirty="0">
                <a:latin typeface="+mn-lt"/>
                <a:ea typeface="+mn-ea"/>
                <a:cs typeface="+mn-cs"/>
              </a:rPr>
              <a:t>В исследовании </a:t>
            </a:r>
            <a:r>
              <a:rPr lang="ru-RU" sz="2200" b="1" i="1" dirty="0" err="1">
                <a:latin typeface="+mn-lt"/>
                <a:ea typeface="+mn-ea"/>
                <a:cs typeface="+mn-cs"/>
              </a:rPr>
              <a:t>PROpel</a:t>
            </a:r>
            <a:r>
              <a:rPr lang="ru-RU" sz="2200" b="1" i="1" dirty="0">
                <a:latin typeface="+mn-lt"/>
                <a:ea typeface="+mn-ea"/>
                <a:cs typeface="+mn-cs"/>
              </a:rPr>
              <a:t> было продемонстрировано </a:t>
            </a:r>
            <a:r>
              <a:rPr lang="ru-RU" sz="2200" b="1" i="1" dirty="0">
                <a:solidFill>
                  <a:schemeClr val="accent5"/>
                </a:solidFill>
                <a:latin typeface="+mn-lt"/>
                <a:ea typeface="+mn-ea"/>
                <a:cs typeface="+mn-cs"/>
              </a:rPr>
              <a:t>увеличение медианы </a:t>
            </a:r>
            <a:r>
              <a:rPr lang="ru-RU" sz="2200" b="1" i="1" dirty="0" err="1">
                <a:solidFill>
                  <a:schemeClr val="accent5"/>
                </a:solidFill>
                <a:latin typeface="+mn-lt"/>
                <a:ea typeface="+mn-ea"/>
                <a:cs typeface="+mn-cs"/>
              </a:rPr>
              <a:t>рВБП</a:t>
            </a:r>
            <a:r>
              <a:rPr lang="ru-RU" sz="2200" b="1" i="1" dirty="0">
                <a:solidFill>
                  <a:schemeClr val="accent5"/>
                </a:solidFill>
                <a:latin typeface="+mn-lt"/>
                <a:ea typeface="+mn-ea"/>
                <a:cs typeface="+mn-cs"/>
              </a:rPr>
              <a:t> </a:t>
            </a:r>
            <a:br>
              <a:rPr lang="ru-RU" sz="2200" b="1" i="1" dirty="0">
                <a:solidFill>
                  <a:schemeClr val="accent5"/>
                </a:solidFill>
                <a:latin typeface="+mn-lt"/>
                <a:ea typeface="+mn-ea"/>
                <a:cs typeface="+mn-cs"/>
              </a:rPr>
            </a:br>
            <a:r>
              <a:rPr lang="ru-RU" sz="2200" b="1" i="1" dirty="0">
                <a:solidFill>
                  <a:schemeClr val="accent5"/>
                </a:solidFill>
                <a:latin typeface="+mn-lt"/>
                <a:ea typeface="+mn-ea"/>
                <a:cs typeface="+mn-cs"/>
              </a:rPr>
              <a:t>на 8,6 месяцев</a:t>
            </a:r>
            <a:r>
              <a:rPr lang="ru-RU" sz="2200" b="1" i="1" dirty="0">
                <a:latin typeface="+mn-lt"/>
                <a:ea typeface="+mn-ea"/>
                <a:cs typeface="+mn-cs"/>
              </a:rPr>
              <a:t> (по оценке исследователя) и снижение риска прогрессирования заболевания или смерти на 33%, независимо от статуса </a:t>
            </a:r>
            <a:r>
              <a:rPr lang="ru-RU" sz="2200" b="1" i="1" dirty="0" err="1">
                <a:latin typeface="+mn-lt"/>
                <a:ea typeface="+mn-ea"/>
                <a:cs typeface="+mn-cs"/>
              </a:rPr>
              <a:t>HRRm</a:t>
            </a:r>
            <a:r>
              <a:rPr lang="ru-RU" sz="2200" b="1" i="1" dirty="0">
                <a:latin typeface="+mn-lt"/>
                <a:ea typeface="+mn-ea"/>
                <a:cs typeface="+mn-cs"/>
              </a:rPr>
              <a:t> у пациентов</a:t>
            </a:r>
            <a:r>
              <a:rPr lang="ru-RU" sz="2400" b="1" baseline="30000" dirty="0"/>
              <a:t>1</a:t>
            </a:r>
            <a:endParaRPr lang="en-GB" b="1" dirty="0"/>
          </a:p>
        </p:txBody>
      </p:sp>
      <p:sp>
        <p:nvSpPr>
          <p:cNvPr id="10" name="Text Placeholder 9">
            <a:extLst>
              <a:ext uri="{FF2B5EF4-FFF2-40B4-BE49-F238E27FC236}">
                <a16:creationId xmlns:a16="http://schemas.microsoft.com/office/drawing/2014/main" id="{182E998B-2257-42D2-85EA-00B63AA167BB}"/>
              </a:ext>
            </a:extLst>
          </p:cNvPr>
          <p:cNvSpPr>
            <a:spLocks noGrp="1"/>
          </p:cNvSpPr>
          <p:nvPr>
            <p:ph type="body" sz="quarter" idx="111"/>
          </p:nvPr>
        </p:nvSpPr>
        <p:spPr>
          <a:xfrm>
            <a:off x="407988" y="6200774"/>
            <a:ext cx="10844212" cy="657225"/>
          </a:xfrm>
        </p:spPr>
        <p:txBody>
          <a:bodyPr rtlCol="0">
            <a:noAutofit/>
          </a:bodyPr>
          <a:lstStyle/>
          <a:p>
            <a:pPr marL="0" rtl="0">
              <a:spcAft>
                <a:spcPts val="0"/>
              </a:spcAft>
            </a:pPr>
            <a:r>
              <a:rPr lang="ru-RU" sz="600" dirty="0"/>
              <a:t>*Номинально </a:t>
            </a:r>
          </a:p>
          <a:p>
            <a:pPr marL="0" rtl="0">
              <a:spcAft>
                <a:spcPts val="0"/>
              </a:spcAft>
            </a:pPr>
            <a:r>
              <a:rPr lang="ru-RU" sz="600" dirty="0"/>
              <a:t>Медиана продолжительности наблюдения у цензурированных пациентов составила 24,9 месяца (диапазон 0,03</a:t>
            </a:r>
            <a:r>
              <a:rPr lang="ru-RU" sz="600" b="0" i="0" u="none" strike="noStrike" kern="1200" cap="none" spc="0" normalizeH="0" noProof="0" dirty="0">
                <a:ln>
                  <a:noFill/>
                </a:ln>
                <a:effectLst/>
                <a:uLnTx/>
                <a:uFillTx/>
                <a:ea typeface="+mn-ea"/>
                <a:cs typeface="Arial Narrow"/>
              </a:rPr>
              <a:t>–38,80) в группе абиратерон + </a:t>
            </a:r>
            <a:r>
              <a:rPr lang="ru-RU" sz="600" b="0" i="0" u="none" strike="noStrike" kern="1200" cap="none" spc="0" normalizeH="0" noProof="0" dirty="0" err="1">
                <a:ln>
                  <a:noFill/>
                </a:ln>
                <a:effectLst/>
                <a:uLnTx/>
                <a:uFillTx/>
                <a:ea typeface="+mn-ea"/>
                <a:cs typeface="Arial Narrow"/>
              </a:rPr>
              <a:t>олапариб</a:t>
            </a:r>
            <a:r>
              <a:rPr lang="ru-RU" sz="600" b="0" i="0" u="none" strike="noStrike" kern="1200" cap="none" spc="0" normalizeH="0" noProof="0" dirty="0">
                <a:ln>
                  <a:noFill/>
                </a:ln>
                <a:effectLst/>
                <a:uLnTx/>
                <a:uFillTx/>
                <a:ea typeface="+mn-ea"/>
                <a:cs typeface="Arial Narrow"/>
              </a:rPr>
              <a:t> и 27,4 месяца (диапазон 0,03–36,76) в группе абиратерон + плацебо. </a:t>
            </a:r>
            <a:r>
              <a:rPr lang="ru-RU" sz="600" dirty="0"/>
              <a:t>Результаты на вторую дату окончания сбора данных: 14 марта 2022 г. </a:t>
            </a:r>
            <a:endParaRPr lang="en-US" sz="600" dirty="0"/>
          </a:p>
          <a:p>
            <a:pPr marL="0" rtl="0">
              <a:spcAft>
                <a:spcPts val="0"/>
              </a:spcAft>
            </a:pPr>
            <a:r>
              <a:rPr lang="ru-RU" sz="600" dirty="0"/>
              <a:t>ДИ — доверительный интервал; </a:t>
            </a:r>
            <a:r>
              <a:rPr lang="ru-RU" sz="600" dirty="0" err="1"/>
              <a:t>HRRm</a:t>
            </a:r>
            <a:r>
              <a:rPr lang="ru-RU" sz="600" dirty="0"/>
              <a:t> — мутации генов репарации ДНК посредством гомологичной рекомбинации; </a:t>
            </a:r>
            <a:r>
              <a:rPr lang="ru-RU" sz="600" dirty="0" err="1"/>
              <a:t>р</a:t>
            </a:r>
            <a:r>
              <a:rPr lang="ru-RU" sz="600" dirty="0" err="1">
                <a:solidFill>
                  <a:schemeClr val="tx1"/>
                </a:solidFill>
              </a:rPr>
              <a:t>ВБП</a:t>
            </a:r>
            <a:r>
              <a:rPr lang="ru-RU" sz="600" dirty="0">
                <a:solidFill>
                  <a:schemeClr val="tx1"/>
                </a:solidFill>
              </a:rPr>
              <a:t> — выживаемость без радиологического прогрессирования</a:t>
            </a:r>
          </a:p>
          <a:p>
            <a:pPr marL="0" rtl="0">
              <a:spcAft>
                <a:spcPts val="0"/>
              </a:spcAft>
            </a:pPr>
            <a:r>
              <a:rPr lang="ru-RU" sz="600" b="0" i="0" u="none" strike="noStrike" kern="0" cap="none" spc="0" noProof="0" dirty="0">
                <a:ln>
                  <a:noFill/>
                </a:ln>
                <a:effectLst/>
                <a:uLnTx/>
                <a:uFillTx/>
                <a:cs typeface="Calibri" panose="020F0502020204030204" pitchFamily="34" charset="0"/>
              </a:rPr>
              <a:t>1. Saad F, et al. Представлено на ежегодном конгрессе ESMO 2022. 9–13 сентября. Париж, Франция. Тезисы доклада № 13570</a:t>
            </a:r>
            <a:r>
              <a:rPr lang="ru-RU" sz="600" kern="0" dirty="0">
                <a:cs typeface="Calibri" panose="020F0502020204030204" pitchFamily="34" charset="0"/>
              </a:rPr>
              <a:t>.</a:t>
            </a:r>
            <a:endParaRPr lang="en-GB" sz="600" dirty="0">
              <a:cs typeface="Calibri" panose="020F0502020204030204" pitchFamily="34" charset="0"/>
            </a:endParaRPr>
          </a:p>
        </p:txBody>
      </p:sp>
      <p:graphicFrame>
        <p:nvGraphicFramePr>
          <p:cNvPr id="11" name="Table 10">
            <a:extLst>
              <a:ext uri="{FF2B5EF4-FFF2-40B4-BE49-F238E27FC236}">
                <a16:creationId xmlns:a16="http://schemas.microsoft.com/office/drawing/2014/main" id="{B6AC1462-CBA9-5757-BA15-27B92EDE4220}"/>
              </a:ext>
            </a:extLst>
          </p:cNvPr>
          <p:cNvGraphicFramePr>
            <a:graphicFrameLocks noGrp="1"/>
          </p:cNvGraphicFramePr>
          <p:nvPr>
            <p:extLst>
              <p:ext uri="{D42A27DB-BD31-4B8C-83A1-F6EECF244321}">
                <p14:modId xmlns:p14="http://schemas.microsoft.com/office/powerpoint/2010/main" val="3038735062"/>
              </p:ext>
            </p:extLst>
          </p:nvPr>
        </p:nvGraphicFramePr>
        <p:xfrm>
          <a:off x="7675551" y="2012139"/>
          <a:ext cx="3996000" cy="2088000"/>
        </p:xfrm>
        <a:graphic>
          <a:graphicData uri="http://schemas.openxmlformats.org/drawingml/2006/table">
            <a:tbl>
              <a:tblPr firstRow="1" bandRow="1">
                <a:tableStyleId>{5C22544A-7EE6-4342-B048-85BDC9FD1C3A}</a:tableStyleId>
              </a:tblPr>
              <a:tblGrid>
                <a:gridCol w="1794514">
                  <a:extLst>
                    <a:ext uri="{9D8B030D-6E8A-4147-A177-3AD203B41FA5}">
                      <a16:colId xmlns:a16="http://schemas.microsoft.com/office/drawing/2014/main" val="256280186"/>
                    </a:ext>
                  </a:extLst>
                </a:gridCol>
                <a:gridCol w="1121486">
                  <a:extLst>
                    <a:ext uri="{9D8B030D-6E8A-4147-A177-3AD203B41FA5}">
                      <a16:colId xmlns:a16="http://schemas.microsoft.com/office/drawing/2014/main" val="2660757379"/>
                    </a:ext>
                  </a:extLst>
                </a:gridCol>
                <a:gridCol w="1080000">
                  <a:extLst>
                    <a:ext uri="{9D8B030D-6E8A-4147-A177-3AD203B41FA5}">
                      <a16:colId xmlns:a16="http://schemas.microsoft.com/office/drawing/2014/main" val="351983716"/>
                    </a:ext>
                  </a:extLst>
                </a:gridCol>
              </a:tblGrid>
              <a:tr h="684000">
                <a:tc>
                  <a:txBody>
                    <a:bodyPr/>
                    <a:lstStyle/>
                    <a:p>
                      <a:pPr rtl="0"/>
                      <a:endParaRPr lang="en-GB" sz="1200">
                        <a:solidFill>
                          <a:schemeClr val="bg1"/>
                        </a:solidFill>
                        <a:latin typeface="Arial" panose="020B0604020202020204" pitchFamily="34" charset="0"/>
                        <a:cs typeface="Arial" panose="020B0604020202020204" pitchFamily="34" charset="0"/>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r>
                        <a:rPr lang="ru-RU" sz="1200" dirty="0">
                          <a:solidFill>
                            <a:schemeClr val="tx2"/>
                          </a:solidFill>
                          <a:latin typeface="Arial" panose="020B0604020202020204" pitchFamily="34" charset="0"/>
                          <a:cs typeface="Arial" panose="020B0604020202020204" pitchFamily="34" charset="0"/>
                        </a:rPr>
                        <a:t>Олапариб + абиратерон</a:t>
                      </a:r>
                    </a:p>
                    <a:p>
                      <a:pPr algn="ctr" rtl="0"/>
                      <a:r>
                        <a:rPr lang="ru-RU" sz="1200" dirty="0">
                          <a:solidFill>
                            <a:schemeClr val="tx2"/>
                          </a:solidFill>
                          <a:latin typeface="Arial" panose="020B0604020202020204" pitchFamily="34" charset="0"/>
                          <a:cs typeface="Arial" panose="020B0604020202020204" pitchFamily="34" charset="0"/>
                        </a:rPr>
                        <a:t>(n = 399)</a:t>
                      </a:r>
                      <a:endParaRPr lang="en-GB" sz="1200" dirty="0">
                        <a:solidFill>
                          <a:schemeClr val="tx2"/>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rtl="0"/>
                      <a:r>
                        <a:rPr lang="ru-RU" sz="1200" dirty="0">
                          <a:solidFill>
                            <a:schemeClr val="bg1"/>
                          </a:solidFill>
                          <a:latin typeface="Arial" panose="020B0604020202020204" pitchFamily="34" charset="0"/>
                          <a:cs typeface="Arial" panose="020B0604020202020204" pitchFamily="34" charset="0"/>
                        </a:rPr>
                        <a:t>Плацебо + абиратерон</a:t>
                      </a:r>
                    </a:p>
                    <a:p>
                      <a:pPr algn="ctr" rtl="0"/>
                      <a:r>
                        <a:rPr lang="ru-RU" sz="1200" dirty="0">
                          <a:solidFill>
                            <a:schemeClr val="bg1"/>
                          </a:solidFill>
                          <a:latin typeface="Arial" panose="020B0604020202020204" pitchFamily="34" charset="0"/>
                          <a:cs typeface="Arial" panose="020B0604020202020204" pitchFamily="34" charset="0"/>
                        </a:rPr>
                        <a:t>(n = 397)</a:t>
                      </a:r>
                      <a:endParaRPr lang="en-GB" sz="1200" dirty="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534889841"/>
                  </a:ext>
                </a:extLst>
              </a:tr>
              <a:tr h="468000">
                <a:tc>
                  <a:txBody>
                    <a:bodyPr/>
                    <a:lstStyle/>
                    <a:p>
                      <a:pPr rtl="0"/>
                      <a:r>
                        <a:rPr lang="ru-RU" sz="1200" b="1" dirty="0">
                          <a:solidFill>
                            <a:schemeClr val="tx1"/>
                          </a:solidFill>
                          <a:latin typeface="Arial" panose="020B0604020202020204" pitchFamily="34" charset="0"/>
                          <a:cs typeface="Arial" panose="020B0604020202020204" pitchFamily="34" charset="0"/>
                        </a:rPr>
                        <a:t>События, n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ru-RU" sz="1200" b="1" dirty="0">
                          <a:solidFill>
                            <a:schemeClr val="tx1"/>
                          </a:solidFill>
                          <a:latin typeface="Arial" panose="020B0604020202020204" pitchFamily="34" charset="0"/>
                          <a:cs typeface="Arial" panose="020B0604020202020204" pitchFamily="34" charset="0"/>
                        </a:rPr>
                        <a:t>199 (49,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a:r>
                        <a:rPr lang="ru-RU" sz="1200" b="1" dirty="0">
                          <a:solidFill>
                            <a:schemeClr val="tx1"/>
                          </a:solidFill>
                          <a:latin typeface="Arial" panose="020B0604020202020204" pitchFamily="34" charset="0"/>
                          <a:cs typeface="Arial" panose="020B0604020202020204" pitchFamily="34" charset="0"/>
                        </a:rPr>
                        <a:t>258 (65,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32230878"/>
                  </a:ext>
                </a:extLst>
              </a:tr>
              <a:tr h="468000">
                <a:tc>
                  <a:txBody>
                    <a:bodyPr/>
                    <a:lstStyle/>
                    <a:p>
                      <a:pPr rtl="0"/>
                      <a:r>
                        <a:rPr lang="ru-RU" sz="1200" b="1" dirty="0">
                          <a:solidFill>
                            <a:schemeClr val="tx1"/>
                          </a:solidFill>
                          <a:latin typeface="Arial" panose="020B0604020202020204" pitchFamily="34" charset="0"/>
                          <a:cs typeface="Arial" panose="020B0604020202020204" pitchFamily="34" charset="0"/>
                        </a:rPr>
                        <a:t>Медиана </a:t>
                      </a:r>
                      <a:r>
                        <a:rPr lang="ru-RU" sz="1200" b="1" dirty="0" err="1">
                          <a:solidFill>
                            <a:schemeClr val="tx1"/>
                          </a:solidFill>
                          <a:latin typeface="Arial" panose="020B0604020202020204" pitchFamily="34" charset="0"/>
                          <a:cs typeface="Arial" panose="020B0604020202020204" pitchFamily="34" charset="0"/>
                        </a:rPr>
                        <a:t>рВБП</a:t>
                      </a:r>
                      <a:r>
                        <a:rPr lang="ru-RU" sz="1200" b="1" dirty="0">
                          <a:solidFill>
                            <a:schemeClr val="tx1"/>
                          </a:solidFill>
                          <a:latin typeface="Arial" panose="020B0604020202020204" pitchFamily="34" charset="0"/>
                          <a:cs typeface="Arial" panose="020B0604020202020204" pitchFamily="34" charset="0"/>
                        </a:rPr>
                        <a:t> (месяц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ru-RU" sz="1600" b="1" dirty="0">
                          <a:solidFill>
                            <a:schemeClr val="accent5"/>
                          </a:solidFill>
                          <a:latin typeface="Arial" panose="020B0604020202020204" pitchFamily="34" charset="0"/>
                          <a:cs typeface="Arial" panose="020B0604020202020204" pitchFamily="34" charset="0"/>
                        </a:rPr>
                        <a:t>25,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a:r>
                        <a:rPr lang="ru-RU" sz="1600" b="1" dirty="0">
                          <a:solidFill>
                            <a:schemeClr val="tx2"/>
                          </a:solidFill>
                          <a:latin typeface="Arial" panose="020B0604020202020204" pitchFamily="34" charset="0"/>
                          <a:cs typeface="Arial" panose="020B0604020202020204" pitchFamily="34" charset="0"/>
                        </a:rPr>
                        <a:t>16,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83592731"/>
                  </a:ext>
                </a:extLst>
              </a:tr>
              <a:tr h="468000">
                <a:tc>
                  <a:txBody>
                    <a:bodyPr/>
                    <a:lstStyle/>
                    <a:p>
                      <a:pPr rtl="0"/>
                      <a:r>
                        <a:rPr lang="ru-RU" sz="1200" b="1" dirty="0">
                          <a:solidFill>
                            <a:schemeClr val="tx1"/>
                          </a:solidFill>
                          <a:latin typeface="Arial" panose="020B0604020202020204" pitchFamily="34" charset="0"/>
                          <a:cs typeface="Arial" panose="020B0604020202020204" pitchFamily="34" charset="0"/>
                        </a:rPr>
                        <a:t>Отношение рисков (95% Д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a:r>
                        <a:rPr lang="ru-RU" sz="1200" b="1" dirty="0">
                          <a:solidFill>
                            <a:schemeClr val="tx1"/>
                          </a:solidFill>
                          <a:latin typeface="Arial" panose="020B0604020202020204" pitchFamily="34" charset="0"/>
                          <a:cs typeface="Arial" panose="020B0604020202020204" pitchFamily="34" charset="0"/>
                        </a:rPr>
                        <a:t>0,67 (0,56–0,81) </a:t>
                      </a:r>
                    </a:p>
                    <a:p>
                      <a:pPr algn="ctr" rtl="0"/>
                      <a:r>
                        <a:rPr lang="ru-RU" sz="1200" b="1" i="1" dirty="0">
                          <a:solidFill>
                            <a:schemeClr val="tx1"/>
                          </a:solidFill>
                          <a:latin typeface="Arial" panose="020B0604020202020204" pitchFamily="34" charset="0"/>
                          <a:cs typeface="Arial" panose="020B0604020202020204" pitchFamily="34" charset="0"/>
                        </a:rPr>
                        <a:t>P </a:t>
                      </a:r>
                      <a:r>
                        <a:rPr lang="ru-RU" sz="1200" b="1" dirty="0">
                          <a:solidFill>
                            <a:schemeClr val="tx1"/>
                          </a:solidFill>
                          <a:latin typeface="Arial" panose="020B0604020202020204" pitchFamily="34" charset="0"/>
                          <a:cs typeface="Arial" panose="020B0604020202020204" pitchFamily="34" charset="0"/>
                        </a:rPr>
                        <a:t>&lt; 0,0001*</a:t>
                      </a:r>
                      <a:endParaRPr lang="en-GB" sz="12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hMerge="1">
                  <a:txBody>
                    <a:bodyPr/>
                    <a:lstStyle/>
                    <a:p>
                      <a:pPr algn="ctr" rtl="0"/>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sp>
        <p:nvSpPr>
          <p:cNvPr id="12" name="Rectangle: Rounded Corners 369">
            <a:extLst>
              <a:ext uri="{FF2B5EF4-FFF2-40B4-BE49-F238E27FC236}">
                <a16:creationId xmlns:a16="http://schemas.microsoft.com/office/drawing/2014/main" id="{9E3DF010-8086-C320-D56D-6ED1E20100E2}"/>
              </a:ext>
            </a:extLst>
          </p:cNvPr>
          <p:cNvSpPr/>
          <p:nvPr/>
        </p:nvSpPr>
        <p:spPr>
          <a:xfrm>
            <a:off x="1500882" y="1452450"/>
            <a:ext cx="5477109" cy="316701"/>
          </a:xfrm>
          <a:prstGeom prst="round2DiagRect">
            <a:avLst/>
          </a:prstGeom>
          <a:no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err="1">
                <a:ln>
                  <a:noFill/>
                </a:ln>
                <a:solidFill>
                  <a:srgbClr val="3F4444"/>
                </a:solidFill>
                <a:effectLst/>
                <a:uLnTx/>
                <a:uFillTx/>
                <a:latin typeface="Arial" panose="020B0604020202020204" pitchFamily="34" charset="0"/>
                <a:ea typeface="+mn-ea"/>
                <a:cs typeface="Arial" panose="020B0604020202020204" pitchFamily="34" charset="0"/>
              </a:rPr>
              <a:t>рВБП</a:t>
            </a:r>
            <a:r>
              <a:rPr kumimoji="0" lang="ru-RU" sz="1600" b="1"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rPr>
              <a:t> по оценке исследователя</a:t>
            </a:r>
            <a:endParaRPr kumimoji="0" lang="en-GB" sz="1050" b="0"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endParaRPr>
          </a:p>
        </p:txBody>
      </p:sp>
      <p:grpSp>
        <p:nvGrpSpPr>
          <p:cNvPr id="13" name="Group 12">
            <a:extLst>
              <a:ext uri="{FF2B5EF4-FFF2-40B4-BE49-F238E27FC236}">
                <a16:creationId xmlns:a16="http://schemas.microsoft.com/office/drawing/2014/main" id="{9173FA89-8C08-6C7C-9DA1-1A4165649A96}"/>
              </a:ext>
            </a:extLst>
          </p:cNvPr>
          <p:cNvGrpSpPr/>
          <p:nvPr/>
        </p:nvGrpSpPr>
        <p:grpSpPr>
          <a:xfrm>
            <a:off x="525661" y="1995858"/>
            <a:ext cx="6682943" cy="3717414"/>
            <a:chOff x="417747" y="2489541"/>
            <a:chExt cx="6682943" cy="3717414"/>
          </a:xfrm>
        </p:grpSpPr>
        <p:sp>
          <p:nvSpPr>
            <p:cNvPr id="14" name="Line 79">
              <a:extLst>
                <a:ext uri="{FF2B5EF4-FFF2-40B4-BE49-F238E27FC236}">
                  <a16:creationId xmlns:a16="http://schemas.microsoft.com/office/drawing/2014/main" id="{C5C17DC2-529C-45C7-7C6A-C9B27E9236A9}"/>
                </a:ext>
              </a:extLst>
            </p:cNvPr>
            <p:cNvSpPr>
              <a:spLocks noChangeShapeType="1"/>
            </p:cNvSpPr>
            <p:nvPr/>
          </p:nvSpPr>
          <p:spPr bwMode="auto">
            <a:xfrm flipV="1">
              <a:off x="1501185" y="2592704"/>
              <a:ext cx="0" cy="284400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15" name="Line 80">
              <a:extLst>
                <a:ext uri="{FF2B5EF4-FFF2-40B4-BE49-F238E27FC236}">
                  <a16:creationId xmlns:a16="http://schemas.microsoft.com/office/drawing/2014/main" id="{A310A3D3-E08C-A845-0CFE-4A8D7D93C984}"/>
                </a:ext>
              </a:extLst>
            </p:cNvPr>
            <p:cNvSpPr>
              <a:spLocks noChangeShapeType="1"/>
            </p:cNvSpPr>
            <p:nvPr/>
          </p:nvSpPr>
          <p:spPr bwMode="auto">
            <a:xfrm>
              <a:off x="1442841" y="5427745"/>
              <a:ext cx="5551758"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16" name="Line 81">
              <a:extLst>
                <a:ext uri="{FF2B5EF4-FFF2-40B4-BE49-F238E27FC236}">
                  <a16:creationId xmlns:a16="http://schemas.microsoft.com/office/drawing/2014/main" id="{5691AE9F-CFE6-6315-1C8C-8FFCE637E934}"/>
                </a:ext>
              </a:extLst>
            </p:cNvPr>
            <p:cNvSpPr>
              <a:spLocks noChangeShapeType="1"/>
            </p:cNvSpPr>
            <p:nvPr/>
          </p:nvSpPr>
          <p:spPr bwMode="auto">
            <a:xfrm flipH="1">
              <a:off x="1446253" y="2589666"/>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17" name="Line 82">
              <a:extLst>
                <a:ext uri="{FF2B5EF4-FFF2-40B4-BE49-F238E27FC236}">
                  <a16:creationId xmlns:a16="http://schemas.microsoft.com/office/drawing/2014/main" id="{E114624E-906D-6571-DD29-31990875880C}"/>
                </a:ext>
              </a:extLst>
            </p:cNvPr>
            <p:cNvSpPr>
              <a:spLocks noChangeShapeType="1"/>
            </p:cNvSpPr>
            <p:nvPr/>
          </p:nvSpPr>
          <p:spPr bwMode="auto">
            <a:xfrm flipH="1">
              <a:off x="1449745" y="3737484"/>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18" name="Line 83">
              <a:extLst>
                <a:ext uri="{FF2B5EF4-FFF2-40B4-BE49-F238E27FC236}">
                  <a16:creationId xmlns:a16="http://schemas.microsoft.com/office/drawing/2014/main" id="{3EE8C962-7C11-C525-CD60-327A95539DC7}"/>
                </a:ext>
              </a:extLst>
            </p:cNvPr>
            <p:cNvSpPr>
              <a:spLocks noChangeShapeType="1"/>
            </p:cNvSpPr>
            <p:nvPr/>
          </p:nvSpPr>
          <p:spPr bwMode="auto">
            <a:xfrm flipH="1">
              <a:off x="1449745" y="4311827"/>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19" name="Line 84">
              <a:extLst>
                <a:ext uri="{FF2B5EF4-FFF2-40B4-BE49-F238E27FC236}">
                  <a16:creationId xmlns:a16="http://schemas.microsoft.com/office/drawing/2014/main" id="{FF05E05B-F2CC-CD3D-388C-8A27779D6F3A}"/>
                </a:ext>
              </a:extLst>
            </p:cNvPr>
            <p:cNvSpPr>
              <a:spLocks noChangeShapeType="1"/>
            </p:cNvSpPr>
            <p:nvPr/>
          </p:nvSpPr>
          <p:spPr bwMode="auto">
            <a:xfrm flipH="1">
              <a:off x="1449745" y="4885301"/>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20" name="Line 85">
              <a:extLst>
                <a:ext uri="{FF2B5EF4-FFF2-40B4-BE49-F238E27FC236}">
                  <a16:creationId xmlns:a16="http://schemas.microsoft.com/office/drawing/2014/main" id="{3D6F0980-A66C-BA15-4ABD-435040AA55CD}"/>
                </a:ext>
              </a:extLst>
            </p:cNvPr>
            <p:cNvSpPr>
              <a:spLocks noChangeShapeType="1"/>
            </p:cNvSpPr>
            <p:nvPr/>
          </p:nvSpPr>
          <p:spPr bwMode="auto">
            <a:xfrm flipH="1">
              <a:off x="1449745" y="2876403"/>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21" name="Line 86">
              <a:extLst>
                <a:ext uri="{FF2B5EF4-FFF2-40B4-BE49-F238E27FC236}">
                  <a16:creationId xmlns:a16="http://schemas.microsoft.com/office/drawing/2014/main" id="{307C3DB6-08D9-E015-33CC-1D4C3A06ABAC}"/>
                </a:ext>
              </a:extLst>
            </p:cNvPr>
            <p:cNvSpPr>
              <a:spLocks noChangeShapeType="1"/>
            </p:cNvSpPr>
            <p:nvPr/>
          </p:nvSpPr>
          <p:spPr bwMode="auto">
            <a:xfrm flipH="1">
              <a:off x="1449745" y="3164010"/>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22" name="Line 87">
              <a:extLst>
                <a:ext uri="{FF2B5EF4-FFF2-40B4-BE49-F238E27FC236}">
                  <a16:creationId xmlns:a16="http://schemas.microsoft.com/office/drawing/2014/main" id="{6C335D8C-AB58-3EC9-4C52-A9D50F51D440}"/>
                </a:ext>
              </a:extLst>
            </p:cNvPr>
            <p:cNvSpPr>
              <a:spLocks noChangeShapeType="1"/>
            </p:cNvSpPr>
            <p:nvPr/>
          </p:nvSpPr>
          <p:spPr bwMode="auto">
            <a:xfrm flipH="1">
              <a:off x="1449745" y="3450747"/>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23" name="Line 88">
              <a:extLst>
                <a:ext uri="{FF2B5EF4-FFF2-40B4-BE49-F238E27FC236}">
                  <a16:creationId xmlns:a16="http://schemas.microsoft.com/office/drawing/2014/main" id="{ADFC9307-5075-43D6-75CB-BBC35FD87DD1}"/>
                </a:ext>
              </a:extLst>
            </p:cNvPr>
            <p:cNvSpPr>
              <a:spLocks noChangeShapeType="1"/>
            </p:cNvSpPr>
            <p:nvPr/>
          </p:nvSpPr>
          <p:spPr bwMode="auto">
            <a:xfrm flipH="1">
              <a:off x="1449745" y="4024221"/>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24" name="Line 89">
              <a:extLst>
                <a:ext uri="{FF2B5EF4-FFF2-40B4-BE49-F238E27FC236}">
                  <a16:creationId xmlns:a16="http://schemas.microsoft.com/office/drawing/2014/main" id="{BE7BE7CA-313A-51C1-2676-8F6D5D3EEAE2}"/>
                </a:ext>
              </a:extLst>
            </p:cNvPr>
            <p:cNvSpPr>
              <a:spLocks noChangeShapeType="1"/>
            </p:cNvSpPr>
            <p:nvPr/>
          </p:nvSpPr>
          <p:spPr bwMode="auto">
            <a:xfrm flipH="1">
              <a:off x="1449745" y="4598564"/>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25" name="Line 90">
              <a:extLst>
                <a:ext uri="{FF2B5EF4-FFF2-40B4-BE49-F238E27FC236}">
                  <a16:creationId xmlns:a16="http://schemas.microsoft.com/office/drawing/2014/main" id="{B9B41979-E83B-7B32-32F3-F9F4892C3EE8}"/>
                </a:ext>
              </a:extLst>
            </p:cNvPr>
            <p:cNvSpPr>
              <a:spLocks noChangeShapeType="1"/>
            </p:cNvSpPr>
            <p:nvPr/>
          </p:nvSpPr>
          <p:spPr bwMode="auto">
            <a:xfrm flipH="1">
              <a:off x="1442841" y="5140138"/>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26" name="TextBox 25">
              <a:extLst>
                <a:ext uri="{FF2B5EF4-FFF2-40B4-BE49-F238E27FC236}">
                  <a16:creationId xmlns:a16="http://schemas.microsoft.com/office/drawing/2014/main" id="{4711C548-CB75-8533-17E1-4010EEC2CFAA}"/>
                </a:ext>
              </a:extLst>
            </p:cNvPr>
            <p:cNvSpPr txBox="1"/>
            <p:nvPr/>
          </p:nvSpPr>
          <p:spPr>
            <a:xfrm>
              <a:off x="417748" y="5991511"/>
              <a:ext cx="1083134"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1" i="0" u="none" strike="noStrike" kern="1200" cap="none" spc="0" normalizeH="0" baseline="0" noProof="0" dirty="0">
                  <a:ln>
                    <a:noFill/>
                  </a:ln>
                  <a:solidFill>
                    <a:schemeClr val="accent5"/>
                  </a:solidFill>
                  <a:effectLst/>
                  <a:uLnTx/>
                  <a:uFillTx/>
                  <a:latin typeface="Calibri"/>
                  <a:ea typeface="+mn-ea"/>
                  <a:cs typeface="+mn-cs"/>
                </a:rPr>
                <a:t>Олапариб + абиратерон</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1" i="0" u="none" strike="noStrike" kern="1200" cap="none" spc="0" normalizeH="0" baseline="0" noProof="0" dirty="0">
                  <a:ln>
                    <a:noFill/>
                  </a:ln>
                  <a:solidFill>
                    <a:srgbClr val="003865"/>
                  </a:solidFill>
                  <a:effectLst/>
                  <a:uLnTx/>
                  <a:uFillTx/>
                  <a:latin typeface="Calibri"/>
                  <a:ea typeface="+mn-ea"/>
                  <a:cs typeface="+mn-cs"/>
                </a:rPr>
                <a:t>Плацебо + абиратерон</a:t>
              </a:r>
            </a:p>
          </p:txBody>
        </p:sp>
        <p:sp>
          <p:nvSpPr>
            <p:cNvPr id="27" name="TextBox 26">
              <a:extLst>
                <a:ext uri="{FF2B5EF4-FFF2-40B4-BE49-F238E27FC236}">
                  <a16:creationId xmlns:a16="http://schemas.microsoft.com/office/drawing/2014/main" id="{023B31DD-EDB5-E60C-0449-2B9978AB9835}"/>
                </a:ext>
              </a:extLst>
            </p:cNvPr>
            <p:cNvSpPr txBox="1"/>
            <p:nvPr/>
          </p:nvSpPr>
          <p:spPr>
            <a:xfrm>
              <a:off x="417747" y="5887321"/>
              <a:ext cx="1818645"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1" i="0" u="none" strike="noStrike" kern="1200" cap="none" spc="0" normalizeH="0" baseline="0" noProof="0" dirty="0">
                  <a:ln>
                    <a:noFill/>
                  </a:ln>
                  <a:solidFill>
                    <a:srgbClr val="3F4444"/>
                  </a:solidFill>
                  <a:effectLst/>
                  <a:uLnTx/>
                  <a:uFillTx/>
                  <a:latin typeface="Calibri"/>
                  <a:ea typeface="+mn-ea"/>
                  <a:cs typeface="+mn-cs"/>
                </a:rPr>
                <a:t>Количество пациентов в группе риска</a:t>
              </a:r>
            </a:p>
          </p:txBody>
        </p:sp>
        <p:sp>
          <p:nvSpPr>
            <p:cNvPr id="28" name="TextBox 27">
              <a:extLst>
                <a:ext uri="{FF2B5EF4-FFF2-40B4-BE49-F238E27FC236}">
                  <a16:creationId xmlns:a16="http://schemas.microsoft.com/office/drawing/2014/main" id="{17F89D18-4D43-3316-EA4B-8A10311A5BE3}"/>
                </a:ext>
              </a:extLst>
            </p:cNvPr>
            <p:cNvSpPr txBox="1"/>
            <p:nvPr/>
          </p:nvSpPr>
          <p:spPr>
            <a:xfrm>
              <a:off x="1395094"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0</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29" name="TextBox 28">
              <a:extLst>
                <a:ext uri="{FF2B5EF4-FFF2-40B4-BE49-F238E27FC236}">
                  <a16:creationId xmlns:a16="http://schemas.microsoft.com/office/drawing/2014/main" id="{F1F9E1A9-0589-46AD-7B87-D8BC4886C8DA}"/>
                </a:ext>
              </a:extLst>
            </p:cNvPr>
            <p:cNvSpPr txBox="1"/>
            <p:nvPr/>
          </p:nvSpPr>
          <p:spPr>
            <a:xfrm>
              <a:off x="1944436"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4</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30" name="TextBox 29">
              <a:extLst>
                <a:ext uri="{FF2B5EF4-FFF2-40B4-BE49-F238E27FC236}">
                  <a16:creationId xmlns:a16="http://schemas.microsoft.com/office/drawing/2014/main" id="{21B79E13-EF56-B4E4-D3A3-1B5EC3284206}"/>
                </a:ext>
              </a:extLst>
            </p:cNvPr>
            <p:cNvSpPr txBox="1"/>
            <p:nvPr/>
          </p:nvSpPr>
          <p:spPr>
            <a:xfrm>
              <a:off x="2493778"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8</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31" name="TextBox 30">
              <a:extLst>
                <a:ext uri="{FF2B5EF4-FFF2-40B4-BE49-F238E27FC236}">
                  <a16:creationId xmlns:a16="http://schemas.microsoft.com/office/drawing/2014/main" id="{5C5487E7-F415-6078-37EF-01EFFFB845EB}"/>
                </a:ext>
              </a:extLst>
            </p:cNvPr>
            <p:cNvSpPr txBox="1"/>
            <p:nvPr/>
          </p:nvSpPr>
          <p:spPr>
            <a:xfrm>
              <a:off x="3043120"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12</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32" name="TextBox 31">
              <a:extLst>
                <a:ext uri="{FF2B5EF4-FFF2-40B4-BE49-F238E27FC236}">
                  <a16:creationId xmlns:a16="http://schemas.microsoft.com/office/drawing/2014/main" id="{1635CB9A-B69B-3248-5496-AB0A448C5534}"/>
                </a:ext>
              </a:extLst>
            </p:cNvPr>
            <p:cNvSpPr txBox="1"/>
            <p:nvPr/>
          </p:nvSpPr>
          <p:spPr>
            <a:xfrm>
              <a:off x="3592462"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16</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622D0C6D-235F-1FDC-5EF5-A213309C7C41}"/>
                </a:ext>
              </a:extLst>
            </p:cNvPr>
            <p:cNvSpPr txBox="1"/>
            <p:nvPr/>
          </p:nvSpPr>
          <p:spPr>
            <a:xfrm>
              <a:off x="4141804"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20</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34" name="TextBox 33">
              <a:extLst>
                <a:ext uri="{FF2B5EF4-FFF2-40B4-BE49-F238E27FC236}">
                  <a16:creationId xmlns:a16="http://schemas.microsoft.com/office/drawing/2014/main" id="{2F6D7B31-FB1C-7BF1-6766-DE6518896E9E}"/>
                </a:ext>
              </a:extLst>
            </p:cNvPr>
            <p:cNvSpPr txBox="1"/>
            <p:nvPr/>
          </p:nvSpPr>
          <p:spPr>
            <a:xfrm>
              <a:off x="4691146"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24</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35" name="TextBox 34">
              <a:extLst>
                <a:ext uri="{FF2B5EF4-FFF2-40B4-BE49-F238E27FC236}">
                  <a16:creationId xmlns:a16="http://schemas.microsoft.com/office/drawing/2014/main" id="{44D27583-818F-59F2-75D4-CC62E6D618E8}"/>
                </a:ext>
              </a:extLst>
            </p:cNvPr>
            <p:cNvSpPr txBox="1"/>
            <p:nvPr/>
          </p:nvSpPr>
          <p:spPr>
            <a:xfrm>
              <a:off x="5240488"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28</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809B874E-E642-F708-AAB2-83D1C540FCA9}"/>
                </a:ext>
              </a:extLst>
            </p:cNvPr>
            <p:cNvSpPr txBox="1"/>
            <p:nvPr/>
          </p:nvSpPr>
          <p:spPr>
            <a:xfrm>
              <a:off x="5789830"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32</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37" name="TextBox 36">
              <a:extLst>
                <a:ext uri="{FF2B5EF4-FFF2-40B4-BE49-F238E27FC236}">
                  <a16:creationId xmlns:a16="http://schemas.microsoft.com/office/drawing/2014/main" id="{9CE2FC42-7621-C06B-1A3A-E7C67AFD4956}"/>
                </a:ext>
              </a:extLst>
            </p:cNvPr>
            <p:cNvSpPr txBox="1"/>
            <p:nvPr/>
          </p:nvSpPr>
          <p:spPr>
            <a:xfrm>
              <a:off x="6339172"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36</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6462E83F-54E6-F5DA-C3CD-B5BA5ED1F61B}"/>
                </a:ext>
              </a:extLst>
            </p:cNvPr>
            <p:cNvSpPr txBox="1"/>
            <p:nvPr/>
          </p:nvSpPr>
          <p:spPr>
            <a:xfrm>
              <a:off x="6888508"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40</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84072156-9919-8BF3-8F49-50B455F20DFA}"/>
                </a:ext>
              </a:extLst>
            </p:cNvPr>
            <p:cNvSpPr txBox="1"/>
            <p:nvPr/>
          </p:nvSpPr>
          <p:spPr>
            <a:xfrm>
              <a:off x="1395094"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3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397</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40" name="TextBox 39">
              <a:extLst>
                <a:ext uri="{FF2B5EF4-FFF2-40B4-BE49-F238E27FC236}">
                  <a16:creationId xmlns:a16="http://schemas.microsoft.com/office/drawing/2014/main" id="{DF5EAEAF-0688-BE89-0B9E-5B3FC590F49C}"/>
                </a:ext>
              </a:extLst>
            </p:cNvPr>
            <p:cNvSpPr txBox="1"/>
            <p:nvPr/>
          </p:nvSpPr>
          <p:spPr>
            <a:xfrm>
              <a:off x="1669497"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36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359</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F75A1D0B-B307-741D-DC16-647EF57F4DC3}"/>
                </a:ext>
              </a:extLst>
            </p:cNvPr>
            <p:cNvSpPr txBox="1"/>
            <p:nvPr/>
          </p:nvSpPr>
          <p:spPr>
            <a:xfrm>
              <a:off x="1943900"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3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338</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42" name="TextBox 41">
              <a:extLst>
                <a:ext uri="{FF2B5EF4-FFF2-40B4-BE49-F238E27FC236}">
                  <a16:creationId xmlns:a16="http://schemas.microsoft.com/office/drawing/2014/main" id="{CE6C6542-FF9F-5944-5317-212BA4CB0957}"/>
                </a:ext>
              </a:extLst>
            </p:cNvPr>
            <p:cNvSpPr txBox="1"/>
            <p:nvPr/>
          </p:nvSpPr>
          <p:spPr>
            <a:xfrm>
              <a:off x="2218303"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31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297</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43" name="TextBox 42">
              <a:extLst>
                <a:ext uri="{FF2B5EF4-FFF2-40B4-BE49-F238E27FC236}">
                  <a16:creationId xmlns:a16="http://schemas.microsoft.com/office/drawing/2014/main" id="{41F12656-4E7C-0A73-4FF0-23F23C66183D}"/>
                </a:ext>
              </a:extLst>
            </p:cNvPr>
            <p:cNvSpPr txBox="1"/>
            <p:nvPr/>
          </p:nvSpPr>
          <p:spPr>
            <a:xfrm>
              <a:off x="2492706"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3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297</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44" name="TextBox 43">
              <a:extLst>
                <a:ext uri="{FF2B5EF4-FFF2-40B4-BE49-F238E27FC236}">
                  <a16:creationId xmlns:a16="http://schemas.microsoft.com/office/drawing/2014/main" id="{40A17AB7-E3EC-1B80-423A-3F894AE946B9}"/>
                </a:ext>
              </a:extLst>
            </p:cNvPr>
            <p:cNvSpPr txBox="1"/>
            <p:nvPr/>
          </p:nvSpPr>
          <p:spPr>
            <a:xfrm>
              <a:off x="2767109"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27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264</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32C5D607-D41F-BB1E-8EDD-9CCE546DBE18}"/>
                </a:ext>
              </a:extLst>
            </p:cNvPr>
            <p:cNvSpPr txBox="1"/>
            <p:nvPr/>
          </p:nvSpPr>
          <p:spPr>
            <a:xfrm>
              <a:off x="3041512"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232</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46" name="TextBox 45">
              <a:extLst>
                <a:ext uri="{FF2B5EF4-FFF2-40B4-BE49-F238E27FC236}">
                  <a16:creationId xmlns:a16="http://schemas.microsoft.com/office/drawing/2014/main" id="{B2AB536E-5BC7-32C4-BC72-927AEFEC2760}"/>
                </a:ext>
              </a:extLst>
            </p:cNvPr>
            <p:cNvSpPr txBox="1"/>
            <p:nvPr/>
          </p:nvSpPr>
          <p:spPr>
            <a:xfrm>
              <a:off x="3315915"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22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199</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47" name="TextBox 46">
              <a:extLst>
                <a:ext uri="{FF2B5EF4-FFF2-40B4-BE49-F238E27FC236}">
                  <a16:creationId xmlns:a16="http://schemas.microsoft.com/office/drawing/2014/main" id="{BFE576F7-A4D0-2728-0125-2821094A7331}"/>
                </a:ext>
              </a:extLst>
            </p:cNvPr>
            <p:cNvSpPr txBox="1"/>
            <p:nvPr/>
          </p:nvSpPr>
          <p:spPr>
            <a:xfrm>
              <a:off x="3590318"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2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187</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48" name="TextBox 47">
              <a:extLst>
                <a:ext uri="{FF2B5EF4-FFF2-40B4-BE49-F238E27FC236}">
                  <a16:creationId xmlns:a16="http://schemas.microsoft.com/office/drawing/2014/main" id="{120B7832-8FF7-53FB-B601-690E90D1F396}"/>
                </a:ext>
              </a:extLst>
            </p:cNvPr>
            <p:cNvSpPr txBox="1"/>
            <p:nvPr/>
          </p:nvSpPr>
          <p:spPr>
            <a:xfrm>
              <a:off x="3864721"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2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169</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49" name="TextBox 48">
              <a:extLst>
                <a:ext uri="{FF2B5EF4-FFF2-40B4-BE49-F238E27FC236}">
                  <a16:creationId xmlns:a16="http://schemas.microsoft.com/office/drawing/2014/main" id="{8E558DF6-C9CB-1C51-329F-65BF0D4C97F8}"/>
                </a:ext>
              </a:extLst>
            </p:cNvPr>
            <p:cNvSpPr txBox="1"/>
            <p:nvPr/>
          </p:nvSpPr>
          <p:spPr>
            <a:xfrm>
              <a:off x="4139124"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18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145</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50" name="TextBox 49">
              <a:extLst>
                <a:ext uri="{FF2B5EF4-FFF2-40B4-BE49-F238E27FC236}">
                  <a16:creationId xmlns:a16="http://schemas.microsoft.com/office/drawing/2014/main" id="{8F00FE49-74A3-FE7E-BB6A-2F6CA1D50AEB}"/>
                </a:ext>
              </a:extLst>
            </p:cNvPr>
            <p:cNvSpPr txBox="1"/>
            <p:nvPr/>
          </p:nvSpPr>
          <p:spPr>
            <a:xfrm>
              <a:off x="4413527"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17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135</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51" name="TextBox 50">
              <a:extLst>
                <a:ext uri="{FF2B5EF4-FFF2-40B4-BE49-F238E27FC236}">
                  <a16:creationId xmlns:a16="http://schemas.microsoft.com/office/drawing/2014/main" id="{2415CF62-B2A1-7A6C-468D-24482D6DE211}"/>
                </a:ext>
              </a:extLst>
            </p:cNvPr>
            <p:cNvSpPr txBox="1"/>
            <p:nvPr/>
          </p:nvSpPr>
          <p:spPr>
            <a:xfrm>
              <a:off x="4687930"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15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117</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52" name="TextBox 51">
              <a:extLst>
                <a:ext uri="{FF2B5EF4-FFF2-40B4-BE49-F238E27FC236}">
                  <a16:creationId xmlns:a16="http://schemas.microsoft.com/office/drawing/2014/main" id="{53C9626D-5F2B-6F80-13FE-898EE71F160F}"/>
                </a:ext>
              </a:extLst>
            </p:cNvPr>
            <p:cNvSpPr txBox="1"/>
            <p:nvPr/>
          </p:nvSpPr>
          <p:spPr>
            <a:xfrm>
              <a:off x="4962333"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1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84</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53" name="TextBox 52">
              <a:extLst>
                <a:ext uri="{FF2B5EF4-FFF2-40B4-BE49-F238E27FC236}">
                  <a16:creationId xmlns:a16="http://schemas.microsoft.com/office/drawing/2014/main" id="{1040B830-7CCC-B68F-7954-FEE9B164327F}"/>
                </a:ext>
              </a:extLst>
            </p:cNvPr>
            <p:cNvSpPr txBox="1"/>
            <p:nvPr/>
          </p:nvSpPr>
          <p:spPr>
            <a:xfrm>
              <a:off x="5236736"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6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51</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54" name="TextBox 53">
              <a:extLst>
                <a:ext uri="{FF2B5EF4-FFF2-40B4-BE49-F238E27FC236}">
                  <a16:creationId xmlns:a16="http://schemas.microsoft.com/office/drawing/2014/main" id="{C207A67D-1B4F-F792-E0E6-E750A34C9985}"/>
                </a:ext>
              </a:extLst>
            </p:cNvPr>
            <p:cNvSpPr txBox="1"/>
            <p:nvPr/>
          </p:nvSpPr>
          <p:spPr>
            <a:xfrm>
              <a:off x="5511139"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5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48</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55" name="TextBox 54">
              <a:extLst>
                <a:ext uri="{FF2B5EF4-FFF2-40B4-BE49-F238E27FC236}">
                  <a16:creationId xmlns:a16="http://schemas.microsoft.com/office/drawing/2014/main" id="{9D73C4EB-8A8F-85AF-E834-57FE4DB93329}"/>
                </a:ext>
              </a:extLst>
            </p:cNvPr>
            <p:cNvSpPr txBox="1"/>
            <p:nvPr/>
          </p:nvSpPr>
          <p:spPr>
            <a:xfrm>
              <a:off x="5785542"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3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30</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56" name="TextBox 55">
              <a:extLst>
                <a:ext uri="{FF2B5EF4-FFF2-40B4-BE49-F238E27FC236}">
                  <a16:creationId xmlns:a16="http://schemas.microsoft.com/office/drawing/2014/main" id="{C707A059-B907-D3A8-DA19-C62D034278D0}"/>
                </a:ext>
              </a:extLst>
            </p:cNvPr>
            <p:cNvSpPr txBox="1"/>
            <p:nvPr/>
          </p:nvSpPr>
          <p:spPr>
            <a:xfrm>
              <a:off x="6059945"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1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8</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57" name="TextBox 56">
              <a:extLst>
                <a:ext uri="{FF2B5EF4-FFF2-40B4-BE49-F238E27FC236}">
                  <a16:creationId xmlns:a16="http://schemas.microsoft.com/office/drawing/2014/main" id="{B8BDB817-AEF0-00DA-6959-AD285EACE0F9}"/>
                </a:ext>
              </a:extLst>
            </p:cNvPr>
            <p:cNvSpPr txBox="1"/>
            <p:nvPr/>
          </p:nvSpPr>
          <p:spPr>
            <a:xfrm>
              <a:off x="6334348"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3</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58" name="TextBox 57">
              <a:extLst>
                <a:ext uri="{FF2B5EF4-FFF2-40B4-BE49-F238E27FC236}">
                  <a16:creationId xmlns:a16="http://schemas.microsoft.com/office/drawing/2014/main" id="{AB105ADB-F41A-68B0-3123-47FAD4103C7A}"/>
                </a:ext>
              </a:extLst>
            </p:cNvPr>
            <p:cNvSpPr txBox="1"/>
            <p:nvPr/>
          </p:nvSpPr>
          <p:spPr>
            <a:xfrm>
              <a:off x="6608751"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0</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59" name="TextBox 58">
              <a:extLst>
                <a:ext uri="{FF2B5EF4-FFF2-40B4-BE49-F238E27FC236}">
                  <a16:creationId xmlns:a16="http://schemas.microsoft.com/office/drawing/2014/main" id="{EF65CEE8-3ED8-95CD-5A29-21F8DC42EF81}"/>
                </a:ext>
              </a:extLst>
            </p:cNvPr>
            <p:cNvSpPr txBox="1"/>
            <p:nvPr/>
          </p:nvSpPr>
          <p:spPr>
            <a:xfrm>
              <a:off x="6883159" y="5991511"/>
              <a:ext cx="21218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a:ln>
                    <a:noFill/>
                  </a:ln>
                  <a:solidFill>
                    <a:srgbClr val="3F4444"/>
                  </a:solidFill>
                  <a:effectLst/>
                  <a:uLnTx/>
                  <a:uFillTx/>
                  <a:latin typeface="Calibri"/>
                  <a:ea typeface="+mn-ea"/>
                  <a:cs typeface="+mn-cs"/>
                </a:rPr>
                <a:t>0</a:t>
              </a:r>
              <a:endParaRPr kumimoji="0" lang="en-GB" sz="700" b="0" i="0" u="none" strike="noStrike" kern="1200" cap="none" spc="0" normalizeH="0" baseline="0" noProof="0">
                <a:ln>
                  <a:noFill/>
                </a:ln>
                <a:solidFill>
                  <a:srgbClr val="3F4444"/>
                </a:solidFill>
                <a:effectLst/>
                <a:uLnTx/>
                <a:uFillTx/>
                <a:latin typeface="Calibri"/>
                <a:ea typeface="+mn-ea"/>
                <a:cs typeface="+mn-cs"/>
              </a:endParaRPr>
            </a:p>
          </p:txBody>
        </p:sp>
        <p:sp>
          <p:nvSpPr>
            <p:cNvPr id="60" name="TextBox 59">
              <a:extLst>
                <a:ext uri="{FF2B5EF4-FFF2-40B4-BE49-F238E27FC236}">
                  <a16:creationId xmlns:a16="http://schemas.microsoft.com/office/drawing/2014/main" id="{1379891B-723B-C655-EFD5-12463D3936B4}"/>
                </a:ext>
              </a:extLst>
            </p:cNvPr>
            <p:cNvSpPr txBox="1"/>
            <p:nvPr/>
          </p:nvSpPr>
          <p:spPr>
            <a:xfrm>
              <a:off x="1500882" y="5730810"/>
              <a:ext cx="5491586"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a:ln>
                    <a:noFill/>
                  </a:ln>
                  <a:solidFill>
                    <a:srgbClr val="3F4444"/>
                  </a:solidFill>
                  <a:effectLst/>
                  <a:uLnTx/>
                  <a:uFillTx/>
                  <a:latin typeface="Arial" panose="020B0604020202020204" pitchFamily="34" charset="0"/>
                  <a:ea typeface="+mn-ea"/>
                  <a:cs typeface="Arial" panose="020B0604020202020204" pitchFamily="34" charset="0"/>
                </a:rPr>
                <a:t>Время с момента рандомизации (месяцы)</a:t>
              </a:r>
            </a:p>
          </p:txBody>
        </p:sp>
        <p:sp>
          <p:nvSpPr>
            <p:cNvPr id="61" name="TextBox 60">
              <a:extLst>
                <a:ext uri="{FF2B5EF4-FFF2-40B4-BE49-F238E27FC236}">
                  <a16:creationId xmlns:a16="http://schemas.microsoft.com/office/drawing/2014/main" id="{5E45568E-69A6-D78A-EB8F-FEFB64BAEBD7}"/>
                </a:ext>
              </a:extLst>
            </p:cNvPr>
            <p:cNvSpPr txBox="1"/>
            <p:nvPr/>
          </p:nvSpPr>
          <p:spPr>
            <a:xfrm>
              <a:off x="1197880" y="5338065"/>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0,0</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62" name="TextBox 61">
              <a:extLst>
                <a:ext uri="{FF2B5EF4-FFF2-40B4-BE49-F238E27FC236}">
                  <a16:creationId xmlns:a16="http://schemas.microsoft.com/office/drawing/2014/main" id="{619C96E4-DA3F-C4BA-1393-B24D48E4DE44}"/>
                </a:ext>
              </a:extLst>
            </p:cNvPr>
            <p:cNvSpPr txBox="1"/>
            <p:nvPr/>
          </p:nvSpPr>
          <p:spPr>
            <a:xfrm>
              <a:off x="1197880" y="2489541"/>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1,0</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63" name="TextBox 62">
              <a:extLst>
                <a:ext uri="{FF2B5EF4-FFF2-40B4-BE49-F238E27FC236}">
                  <a16:creationId xmlns:a16="http://schemas.microsoft.com/office/drawing/2014/main" id="{242DA6A5-BC89-4B7F-62BE-3A40FAEFEDC0}"/>
                </a:ext>
              </a:extLst>
            </p:cNvPr>
            <p:cNvSpPr txBox="1"/>
            <p:nvPr/>
          </p:nvSpPr>
          <p:spPr>
            <a:xfrm>
              <a:off x="1197880" y="2774393"/>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0,9</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64" name="TextBox 63">
              <a:extLst>
                <a:ext uri="{FF2B5EF4-FFF2-40B4-BE49-F238E27FC236}">
                  <a16:creationId xmlns:a16="http://schemas.microsoft.com/office/drawing/2014/main" id="{E43C6AEF-E162-4ED1-1931-40672AA313B6}"/>
                </a:ext>
              </a:extLst>
            </p:cNvPr>
            <p:cNvSpPr txBox="1"/>
            <p:nvPr/>
          </p:nvSpPr>
          <p:spPr>
            <a:xfrm>
              <a:off x="1197880" y="3059245"/>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0,8</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65" name="TextBox 64">
              <a:extLst>
                <a:ext uri="{FF2B5EF4-FFF2-40B4-BE49-F238E27FC236}">
                  <a16:creationId xmlns:a16="http://schemas.microsoft.com/office/drawing/2014/main" id="{B9BFD9D5-6D93-5D87-BE1E-3AD7D112F164}"/>
                </a:ext>
              </a:extLst>
            </p:cNvPr>
            <p:cNvSpPr txBox="1"/>
            <p:nvPr/>
          </p:nvSpPr>
          <p:spPr>
            <a:xfrm>
              <a:off x="1197880" y="3344097"/>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0,7</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66" name="TextBox 65">
              <a:extLst>
                <a:ext uri="{FF2B5EF4-FFF2-40B4-BE49-F238E27FC236}">
                  <a16:creationId xmlns:a16="http://schemas.microsoft.com/office/drawing/2014/main" id="{9089DB5D-37CC-76E0-9052-11F59024BA20}"/>
                </a:ext>
              </a:extLst>
            </p:cNvPr>
            <p:cNvSpPr txBox="1"/>
            <p:nvPr/>
          </p:nvSpPr>
          <p:spPr>
            <a:xfrm>
              <a:off x="1197880" y="3628949"/>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0,6</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67" name="TextBox 66">
              <a:extLst>
                <a:ext uri="{FF2B5EF4-FFF2-40B4-BE49-F238E27FC236}">
                  <a16:creationId xmlns:a16="http://schemas.microsoft.com/office/drawing/2014/main" id="{B1F22B7B-575E-66A6-6948-FCB2309E1B2B}"/>
                </a:ext>
              </a:extLst>
            </p:cNvPr>
            <p:cNvSpPr txBox="1"/>
            <p:nvPr/>
          </p:nvSpPr>
          <p:spPr>
            <a:xfrm>
              <a:off x="1197880" y="3913801"/>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0,5</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68" name="TextBox 67">
              <a:extLst>
                <a:ext uri="{FF2B5EF4-FFF2-40B4-BE49-F238E27FC236}">
                  <a16:creationId xmlns:a16="http://schemas.microsoft.com/office/drawing/2014/main" id="{CC0208D0-4294-A8BB-6F88-A952AA92511B}"/>
                </a:ext>
              </a:extLst>
            </p:cNvPr>
            <p:cNvSpPr txBox="1"/>
            <p:nvPr/>
          </p:nvSpPr>
          <p:spPr>
            <a:xfrm>
              <a:off x="1197880" y="4198653"/>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0,4</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69" name="TextBox 68">
              <a:extLst>
                <a:ext uri="{FF2B5EF4-FFF2-40B4-BE49-F238E27FC236}">
                  <a16:creationId xmlns:a16="http://schemas.microsoft.com/office/drawing/2014/main" id="{F6B21CBC-FA5B-FCDD-86F0-3F852BB1CE0D}"/>
                </a:ext>
              </a:extLst>
            </p:cNvPr>
            <p:cNvSpPr txBox="1"/>
            <p:nvPr/>
          </p:nvSpPr>
          <p:spPr>
            <a:xfrm>
              <a:off x="1197880" y="4483505"/>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0,3</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70" name="TextBox 69">
              <a:extLst>
                <a:ext uri="{FF2B5EF4-FFF2-40B4-BE49-F238E27FC236}">
                  <a16:creationId xmlns:a16="http://schemas.microsoft.com/office/drawing/2014/main" id="{02B45317-8DA0-8F24-58F3-BD5FBFE53BDB}"/>
                </a:ext>
              </a:extLst>
            </p:cNvPr>
            <p:cNvSpPr txBox="1"/>
            <p:nvPr/>
          </p:nvSpPr>
          <p:spPr>
            <a:xfrm>
              <a:off x="1197880" y="4768357"/>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0,2</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71" name="TextBox 70">
              <a:extLst>
                <a:ext uri="{FF2B5EF4-FFF2-40B4-BE49-F238E27FC236}">
                  <a16:creationId xmlns:a16="http://schemas.microsoft.com/office/drawing/2014/main" id="{1CE328D7-230B-61C1-6881-CF7DB57FD56B}"/>
                </a:ext>
              </a:extLst>
            </p:cNvPr>
            <p:cNvSpPr txBox="1"/>
            <p:nvPr/>
          </p:nvSpPr>
          <p:spPr>
            <a:xfrm>
              <a:off x="1197880" y="5053209"/>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0,1</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72" name="TextBox 71">
              <a:extLst>
                <a:ext uri="{FF2B5EF4-FFF2-40B4-BE49-F238E27FC236}">
                  <a16:creationId xmlns:a16="http://schemas.microsoft.com/office/drawing/2014/main" id="{2B01DE21-F4EE-1D4F-E32D-5898CA2ED23F}"/>
                </a:ext>
              </a:extLst>
            </p:cNvPr>
            <p:cNvSpPr txBox="1"/>
            <p:nvPr/>
          </p:nvSpPr>
          <p:spPr>
            <a:xfrm rot="16200000">
              <a:off x="-492994" y="3900571"/>
              <a:ext cx="2838161" cy="21544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rPr>
                <a:t>Вероятность </a:t>
              </a:r>
              <a:r>
                <a:rPr kumimoji="0" lang="ru-RU" sz="1400" b="1" i="0" u="none" strike="noStrike" kern="1200" cap="none" spc="0" normalizeH="0" baseline="0" noProof="0" dirty="0" err="1">
                  <a:ln>
                    <a:noFill/>
                  </a:ln>
                  <a:solidFill>
                    <a:srgbClr val="3F4444"/>
                  </a:solidFill>
                  <a:effectLst/>
                  <a:uLnTx/>
                  <a:uFillTx/>
                  <a:latin typeface="Arial" panose="020B0604020202020204" pitchFamily="34" charset="0"/>
                  <a:ea typeface="+mn-ea"/>
                  <a:cs typeface="Arial" panose="020B0604020202020204" pitchFamily="34" charset="0"/>
                </a:rPr>
                <a:t>рВБП</a:t>
              </a:r>
              <a:endParaRPr kumimoji="0" lang="ru-RU" sz="1400" b="1"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endParaRPr>
            </a:p>
          </p:txBody>
        </p:sp>
        <p:sp>
          <p:nvSpPr>
            <p:cNvPr id="73" name="Line 94">
              <a:extLst>
                <a:ext uri="{FF2B5EF4-FFF2-40B4-BE49-F238E27FC236}">
                  <a16:creationId xmlns:a16="http://schemas.microsoft.com/office/drawing/2014/main" id="{4EF86588-6F81-19FA-1769-5236009F9165}"/>
                </a:ext>
              </a:extLst>
            </p:cNvPr>
            <p:cNvSpPr>
              <a:spLocks noChangeShapeType="1"/>
            </p:cNvSpPr>
            <p:nvPr/>
          </p:nvSpPr>
          <p:spPr bwMode="auto">
            <a:xfrm>
              <a:off x="5892018" y="5427372"/>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74" name="Line 107">
              <a:extLst>
                <a:ext uri="{FF2B5EF4-FFF2-40B4-BE49-F238E27FC236}">
                  <a16:creationId xmlns:a16="http://schemas.microsoft.com/office/drawing/2014/main" id="{7786EC0A-0E42-B3F1-B792-EA3AA19D6BB6}"/>
                </a:ext>
              </a:extLst>
            </p:cNvPr>
            <p:cNvSpPr>
              <a:spLocks noChangeShapeType="1"/>
            </p:cNvSpPr>
            <p:nvPr/>
          </p:nvSpPr>
          <p:spPr bwMode="auto">
            <a:xfrm>
              <a:off x="5617572" y="5429960"/>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75" name="Line 108">
              <a:extLst>
                <a:ext uri="{FF2B5EF4-FFF2-40B4-BE49-F238E27FC236}">
                  <a16:creationId xmlns:a16="http://schemas.microsoft.com/office/drawing/2014/main" id="{1CE204B6-00AE-A7F4-9D50-BC88F90EAC9A}"/>
                </a:ext>
              </a:extLst>
            </p:cNvPr>
            <p:cNvSpPr>
              <a:spLocks noChangeShapeType="1"/>
            </p:cNvSpPr>
            <p:nvPr/>
          </p:nvSpPr>
          <p:spPr bwMode="auto">
            <a:xfrm>
              <a:off x="6166464" y="5430289"/>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76" name="Line 109">
              <a:extLst>
                <a:ext uri="{FF2B5EF4-FFF2-40B4-BE49-F238E27FC236}">
                  <a16:creationId xmlns:a16="http://schemas.microsoft.com/office/drawing/2014/main" id="{33CFA8EF-304B-784B-C005-4FF7B1D1D6BA}"/>
                </a:ext>
              </a:extLst>
            </p:cNvPr>
            <p:cNvSpPr>
              <a:spLocks noChangeShapeType="1"/>
            </p:cNvSpPr>
            <p:nvPr/>
          </p:nvSpPr>
          <p:spPr bwMode="auto">
            <a:xfrm>
              <a:off x="6440910" y="5427372"/>
              <a:ext cx="0" cy="5559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77" name="Line 110">
              <a:extLst>
                <a:ext uri="{FF2B5EF4-FFF2-40B4-BE49-F238E27FC236}">
                  <a16:creationId xmlns:a16="http://schemas.microsoft.com/office/drawing/2014/main" id="{36D12FFC-CF70-FF79-8CBC-12B17C6F4588}"/>
                </a:ext>
              </a:extLst>
            </p:cNvPr>
            <p:cNvSpPr>
              <a:spLocks noChangeShapeType="1"/>
            </p:cNvSpPr>
            <p:nvPr/>
          </p:nvSpPr>
          <p:spPr bwMode="auto">
            <a:xfrm>
              <a:off x="6715356" y="5430289"/>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78" name="Line 111">
              <a:extLst>
                <a:ext uri="{FF2B5EF4-FFF2-40B4-BE49-F238E27FC236}">
                  <a16:creationId xmlns:a16="http://schemas.microsoft.com/office/drawing/2014/main" id="{96AD3727-1C02-08B2-444C-332DBF04302B}"/>
                </a:ext>
              </a:extLst>
            </p:cNvPr>
            <p:cNvSpPr>
              <a:spLocks noChangeShapeType="1"/>
            </p:cNvSpPr>
            <p:nvPr/>
          </p:nvSpPr>
          <p:spPr bwMode="auto">
            <a:xfrm>
              <a:off x="6989804" y="5427372"/>
              <a:ext cx="0" cy="5559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79" name="Line 91">
              <a:extLst>
                <a:ext uri="{FF2B5EF4-FFF2-40B4-BE49-F238E27FC236}">
                  <a16:creationId xmlns:a16="http://schemas.microsoft.com/office/drawing/2014/main" id="{23D6285C-3147-30E4-F903-703DDC44E87C}"/>
                </a:ext>
              </a:extLst>
            </p:cNvPr>
            <p:cNvSpPr>
              <a:spLocks noChangeShapeType="1"/>
            </p:cNvSpPr>
            <p:nvPr/>
          </p:nvSpPr>
          <p:spPr bwMode="auto">
            <a:xfrm>
              <a:off x="1500882" y="5427372"/>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3F4444"/>
                </a:solidFill>
                <a:effectLst/>
                <a:uLnTx/>
                <a:uFillTx/>
                <a:latin typeface="Calibri"/>
                <a:ea typeface="+mn-ea"/>
                <a:cs typeface="+mn-cs"/>
              </a:endParaRPr>
            </a:p>
          </p:txBody>
        </p:sp>
        <p:sp>
          <p:nvSpPr>
            <p:cNvPr id="80" name="Line 92">
              <a:extLst>
                <a:ext uri="{FF2B5EF4-FFF2-40B4-BE49-F238E27FC236}">
                  <a16:creationId xmlns:a16="http://schemas.microsoft.com/office/drawing/2014/main" id="{104A0E69-E2EE-30CA-84D2-F6EF549344AD}"/>
                </a:ext>
              </a:extLst>
            </p:cNvPr>
            <p:cNvSpPr>
              <a:spLocks noChangeShapeType="1"/>
            </p:cNvSpPr>
            <p:nvPr/>
          </p:nvSpPr>
          <p:spPr bwMode="auto">
            <a:xfrm>
              <a:off x="3147558" y="5427372"/>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81" name="Line 93">
              <a:extLst>
                <a:ext uri="{FF2B5EF4-FFF2-40B4-BE49-F238E27FC236}">
                  <a16:creationId xmlns:a16="http://schemas.microsoft.com/office/drawing/2014/main" id="{D643FA88-1669-40FD-4181-481159DE7DF5}"/>
                </a:ext>
              </a:extLst>
            </p:cNvPr>
            <p:cNvSpPr>
              <a:spLocks noChangeShapeType="1"/>
            </p:cNvSpPr>
            <p:nvPr/>
          </p:nvSpPr>
          <p:spPr bwMode="auto">
            <a:xfrm>
              <a:off x="4519788" y="5429960"/>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82" name="Line 95">
              <a:extLst>
                <a:ext uri="{FF2B5EF4-FFF2-40B4-BE49-F238E27FC236}">
                  <a16:creationId xmlns:a16="http://schemas.microsoft.com/office/drawing/2014/main" id="{D7DC9C9B-B922-CCF1-D0B1-83FE75A468EF}"/>
                </a:ext>
              </a:extLst>
            </p:cNvPr>
            <p:cNvSpPr>
              <a:spLocks noChangeShapeType="1"/>
            </p:cNvSpPr>
            <p:nvPr/>
          </p:nvSpPr>
          <p:spPr bwMode="auto">
            <a:xfrm>
              <a:off x="1775328" y="5429960"/>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83" name="Line 96">
              <a:extLst>
                <a:ext uri="{FF2B5EF4-FFF2-40B4-BE49-F238E27FC236}">
                  <a16:creationId xmlns:a16="http://schemas.microsoft.com/office/drawing/2014/main" id="{A6C474A0-3943-4BE6-2313-A671FB2CB9EA}"/>
                </a:ext>
              </a:extLst>
            </p:cNvPr>
            <p:cNvSpPr>
              <a:spLocks noChangeShapeType="1"/>
            </p:cNvSpPr>
            <p:nvPr/>
          </p:nvSpPr>
          <p:spPr bwMode="auto">
            <a:xfrm>
              <a:off x="2049774" y="5427372"/>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84" name="Line 97">
              <a:extLst>
                <a:ext uri="{FF2B5EF4-FFF2-40B4-BE49-F238E27FC236}">
                  <a16:creationId xmlns:a16="http://schemas.microsoft.com/office/drawing/2014/main" id="{739839C7-C9B3-D7B9-EA3A-A647B34F5BEF}"/>
                </a:ext>
              </a:extLst>
            </p:cNvPr>
            <p:cNvSpPr>
              <a:spLocks noChangeShapeType="1"/>
            </p:cNvSpPr>
            <p:nvPr/>
          </p:nvSpPr>
          <p:spPr bwMode="auto">
            <a:xfrm>
              <a:off x="2324220" y="5429960"/>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85" name="Line 98">
              <a:extLst>
                <a:ext uri="{FF2B5EF4-FFF2-40B4-BE49-F238E27FC236}">
                  <a16:creationId xmlns:a16="http://schemas.microsoft.com/office/drawing/2014/main" id="{5A42166B-52A2-ADC7-AC64-0664FCA46505}"/>
                </a:ext>
              </a:extLst>
            </p:cNvPr>
            <p:cNvSpPr>
              <a:spLocks noChangeShapeType="1"/>
            </p:cNvSpPr>
            <p:nvPr/>
          </p:nvSpPr>
          <p:spPr bwMode="auto">
            <a:xfrm>
              <a:off x="2598666" y="5427372"/>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86" name="Line 99">
              <a:extLst>
                <a:ext uri="{FF2B5EF4-FFF2-40B4-BE49-F238E27FC236}">
                  <a16:creationId xmlns:a16="http://schemas.microsoft.com/office/drawing/2014/main" id="{59CCE9A9-4A09-AB04-991B-8C63E9DD0D09}"/>
                </a:ext>
              </a:extLst>
            </p:cNvPr>
            <p:cNvSpPr>
              <a:spLocks noChangeShapeType="1"/>
            </p:cNvSpPr>
            <p:nvPr/>
          </p:nvSpPr>
          <p:spPr bwMode="auto">
            <a:xfrm>
              <a:off x="2873112" y="5429960"/>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87" name="Line 100">
              <a:extLst>
                <a:ext uri="{FF2B5EF4-FFF2-40B4-BE49-F238E27FC236}">
                  <a16:creationId xmlns:a16="http://schemas.microsoft.com/office/drawing/2014/main" id="{922040F8-EB37-895E-0230-1AAF1E761EB1}"/>
                </a:ext>
              </a:extLst>
            </p:cNvPr>
            <p:cNvSpPr>
              <a:spLocks noChangeShapeType="1"/>
            </p:cNvSpPr>
            <p:nvPr/>
          </p:nvSpPr>
          <p:spPr bwMode="auto">
            <a:xfrm>
              <a:off x="3422004" y="5429960"/>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88" name="Line 101">
              <a:extLst>
                <a:ext uri="{FF2B5EF4-FFF2-40B4-BE49-F238E27FC236}">
                  <a16:creationId xmlns:a16="http://schemas.microsoft.com/office/drawing/2014/main" id="{7FC07A99-0598-6FF8-B6F3-FF2C6BE7427C}"/>
                </a:ext>
              </a:extLst>
            </p:cNvPr>
            <p:cNvSpPr>
              <a:spLocks noChangeShapeType="1"/>
            </p:cNvSpPr>
            <p:nvPr/>
          </p:nvSpPr>
          <p:spPr bwMode="auto">
            <a:xfrm>
              <a:off x="3696450" y="5427372"/>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89" name="Line 102">
              <a:extLst>
                <a:ext uri="{FF2B5EF4-FFF2-40B4-BE49-F238E27FC236}">
                  <a16:creationId xmlns:a16="http://schemas.microsoft.com/office/drawing/2014/main" id="{034F47CE-499D-D306-EF77-65A0F923730A}"/>
                </a:ext>
              </a:extLst>
            </p:cNvPr>
            <p:cNvSpPr>
              <a:spLocks noChangeShapeType="1"/>
            </p:cNvSpPr>
            <p:nvPr/>
          </p:nvSpPr>
          <p:spPr bwMode="auto">
            <a:xfrm>
              <a:off x="3970896" y="5429960"/>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90" name="Line 103">
              <a:extLst>
                <a:ext uri="{FF2B5EF4-FFF2-40B4-BE49-F238E27FC236}">
                  <a16:creationId xmlns:a16="http://schemas.microsoft.com/office/drawing/2014/main" id="{FEA59044-CF35-6747-9E29-CE69DA7D9B3D}"/>
                </a:ext>
              </a:extLst>
            </p:cNvPr>
            <p:cNvSpPr>
              <a:spLocks noChangeShapeType="1"/>
            </p:cNvSpPr>
            <p:nvPr/>
          </p:nvSpPr>
          <p:spPr bwMode="auto">
            <a:xfrm>
              <a:off x="4245342" y="5427372"/>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91" name="Line 104">
              <a:extLst>
                <a:ext uri="{FF2B5EF4-FFF2-40B4-BE49-F238E27FC236}">
                  <a16:creationId xmlns:a16="http://schemas.microsoft.com/office/drawing/2014/main" id="{69B34B90-53E2-4378-4405-47AC8ECFD721}"/>
                </a:ext>
              </a:extLst>
            </p:cNvPr>
            <p:cNvSpPr>
              <a:spLocks noChangeShapeType="1"/>
            </p:cNvSpPr>
            <p:nvPr/>
          </p:nvSpPr>
          <p:spPr bwMode="auto">
            <a:xfrm>
              <a:off x="4794234" y="5427372"/>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92" name="Line 105">
              <a:extLst>
                <a:ext uri="{FF2B5EF4-FFF2-40B4-BE49-F238E27FC236}">
                  <a16:creationId xmlns:a16="http://schemas.microsoft.com/office/drawing/2014/main" id="{063945CD-6A23-1963-B1A1-0A740F6DE432}"/>
                </a:ext>
              </a:extLst>
            </p:cNvPr>
            <p:cNvSpPr>
              <a:spLocks noChangeShapeType="1"/>
            </p:cNvSpPr>
            <p:nvPr/>
          </p:nvSpPr>
          <p:spPr bwMode="auto">
            <a:xfrm>
              <a:off x="5068680" y="5429960"/>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93" name="Line 106">
              <a:extLst>
                <a:ext uri="{FF2B5EF4-FFF2-40B4-BE49-F238E27FC236}">
                  <a16:creationId xmlns:a16="http://schemas.microsoft.com/office/drawing/2014/main" id="{8FEA3DB9-3D11-268D-BA6D-99FF2F23C663}"/>
                </a:ext>
              </a:extLst>
            </p:cNvPr>
            <p:cNvSpPr>
              <a:spLocks noChangeShapeType="1"/>
            </p:cNvSpPr>
            <p:nvPr/>
          </p:nvSpPr>
          <p:spPr bwMode="auto">
            <a:xfrm>
              <a:off x="5343126" y="5427372"/>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94" name="TextBox 93">
              <a:extLst>
                <a:ext uri="{FF2B5EF4-FFF2-40B4-BE49-F238E27FC236}">
                  <a16:creationId xmlns:a16="http://schemas.microsoft.com/office/drawing/2014/main" id="{45737240-F247-B6D0-8B31-36F1E2C2CFC5}"/>
                </a:ext>
              </a:extLst>
            </p:cNvPr>
            <p:cNvSpPr txBox="1"/>
            <p:nvPr/>
          </p:nvSpPr>
          <p:spPr>
            <a:xfrm>
              <a:off x="1669765"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2</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95" name="TextBox 94">
              <a:extLst>
                <a:ext uri="{FF2B5EF4-FFF2-40B4-BE49-F238E27FC236}">
                  <a16:creationId xmlns:a16="http://schemas.microsoft.com/office/drawing/2014/main" id="{75273809-EE15-61B7-C719-0DEFEDC45B51}"/>
                </a:ext>
              </a:extLst>
            </p:cNvPr>
            <p:cNvSpPr txBox="1"/>
            <p:nvPr/>
          </p:nvSpPr>
          <p:spPr>
            <a:xfrm>
              <a:off x="2219107"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6</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96" name="TextBox 95">
              <a:extLst>
                <a:ext uri="{FF2B5EF4-FFF2-40B4-BE49-F238E27FC236}">
                  <a16:creationId xmlns:a16="http://schemas.microsoft.com/office/drawing/2014/main" id="{61C7944E-5B00-1267-3653-3963C22C4BE0}"/>
                </a:ext>
              </a:extLst>
            </p:cNvPr>
            <p:cNvSpPr txBox="1"/>
            <p:nvPr/>
          </p:nvSpPr>
          <p:spPr>
            <a:xfrm>
              <a:off x="2768449"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10</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614BED12-7004-8D6C-33CA-1ABBFFDF56B1}"/>
                </a:ext>
              </a:extLst>
            </p:cNvPr>
            <p:cNvSpPr txBox="1"/>
            <p:nvPr/>
          </p:nvSpPr>
          <p:spPr>
            <a:xfrm>
              <a:off x="3317791"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14</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98" name="TextBox 97">
              <a:extLst>
                <a:ext uri="{FF2B5EF4-FFF2-40B4-BE49-F238E27FC236}">
                  <a16:creationId xmlns:a16="http://schemas.microsoft.com/office/drawing/2014/main" id="{09228E29-69E2-C13C-D072-13A603D11DE5}"/>
                </a:ext>
              </a:extLst>
            </p:cNvPr>
            <p:cNvSpPr txBox="1"/>
            <p:nvPr/>
          </p:nvSpPr>
          <p:spPr>
            <a:xfrm>
              <a:off x="3867133"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18</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99" name="TextBox 98">
              <a:extLst>
                <a:ext uri="{FF2B5EF4-FFF2-40B4-BE49-F238E27FC236}">
                  <a16:creationId xmlns:a16="http://schemas.microsoft.com/office/drawing/2014/main" id="{3A6C1517-C2F2-B049-5640-3698BEA7AD7A}"/>
                </a:ext>
              </a:extLst>
            </p:cNvPr>
            <p:cNvSpPr txBox="1"/>
            <p:nvPr/>
          </p:nvSpPr>
          <p:spPr>
            <a:xfrm>
              <a:off x="4416475"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22</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100" name="TextBox 99">
              <a:extLst>
                <a:ext uri="{FF2B5EF4-FFF2-40B4-BE49-F238E27FC236}">
                  <a16:creationId xmlns:a16="http://schemas.microsoft.com/office/drawing/2014/main" id="{07893D94-E3CE-3EDB-E557-E5DDEDE7DA6F}"/>
                </a:ext>
              </a:extLst>
            </p:cNvPr>
            <p:cNvSpPr txBox="1"/>
            <p:nvPr/>
          </p:nvSpPr>
          <p:spPr>
            <a:xfrm>
              <a:off x="4965817"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26</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101" name="TextBox 100">
              <a:extLst>
                <a:ext uri="{FF2B5EF4-FFF2-40B4-BE49-F238E27FC236}">
                  <a16:creationId xmlns:a16="http://schemas.microsoft.com/office/drawing/2014/main" id="{F1E9B9D7-7672-078D-2164-BB28084F55E8}"/>
                </a:ext>
              </a:extLst>
            </p:cNvPr>
            <p:cNvSpPr txBox="1"/>
            <p:nvPr/>
          </p:nvSpPr>
          <p:spPr>
            <a:xfrm>
              <a:off x="5515159"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30</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102" name="TextBox 101">
              <a:extLst>
                <a:ext uri="{FF2B5EF4-FFF2-40B4-BE49-F238E27FC236}">
                  <a16:creationId xmlns:a16="http://schemas.microsoft.com/office/drawing/2014/main" id="{66A0E4D9-70CF-5E68-611B-88C70E5A3C0C}"/>
                </a:ext>
              </a:extLst>
            </p:cNvPr>
            <p:cNvSpPr txBox="1"/>
            <p:nvPr/>
          </p:nvSpPr>
          <p:spPr>
            <a:xfrm>
              <a:off x="6064501"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34</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103" name="TextBox 102">
              <a:extLst>
                <a:ext uri="{FF2B5EF4-FFF2-40B4-BE49-F238E27FC236}">
                  <a16:creationId xmlns:a16="http://schemas.microsoft.com/office/drawing/2014/main" id="{9CB9A14D-2854-0295-FC8B-20A0D63A4950}"/>
                </a:ext>
              </a:extLst>
            </p:cNvPr>
            <p:cNvSpPr txBox="1"/>
            <p:nvPr/>
          </p:nvSpPr>
          <p:spPr>
            <a:xfrm>
              <a:off x="6613843" y="5485371"/>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a:ln>
                    <a:noFill/>
                  </a:ln>
                  <a:solidFill>
                    <a:srgbClr val="3F4444"/>
                  </a:solidFill>
                  <a:effectLst/>
                  <a:uLnTx/>
                  <a:uFillTx/>
                  <a:latin typeface="Calibri"/>
                  <a:ea typeface="+mn-ea"/>
                  <a:cs typeface="+mn-cs"/>
                </a:rPr>
                <a:t>38</a:t>
              </a:r>
              <a:endParaRPr kumimoji="0" lang="en-GB" sz="1200" b="0" i="0" u="none" strike="noStrike" kern="1200" cap="none" spc="0" normalizeH="0" baseline="0" noProof="0">
                <a:ln>
                  <a:noFill/>
                </a:ln>
                <a:solidFill>
                  <a:srgbClr val="3F4444"/>
                </a:solidFill>
                <a:effectLst/>
                <a:uLnTx/>
                <a:uFillTx/>
                <a:latin typeface="Calibri"/>
                <a:ea typeface="+mn-ea"/>
                <a:cs typeface="+mn-cs"/>
              </a:endParaRPr>
            </a:p>
          </p:txBody>
        </p:sp>
        <p:sp>
          <p:nvSpPr>
            <p:cNvPr id="104" name="Freeform: Shape 103">
              <a:extLst>
                <a:ext uri="{FF2B5EF4-FFF2-40B4-BE49-F238E27FC236}">
                  <a16:creationId xmlns:a16="http://schemas.microsoft.com/office/drawing/2014/main" id="{64C4A27B-B4F1-F9F9-CDD8-BF2A7FEB1A45}"/>
                </a:ext>
              </a:extLst>
            </p:cNvPr>
            <p:cNvSpPr/>
            <p:nvPr/>
          </p:nvSpPr>
          <p:spPr>
            <a:xfrm>
              <a:off x="1725953" y="2595475"/>
              <a:ext cx="5112413" cy="1939126"/>
            </a:xfrm>
            <a:custGeom>
              <a:avLst/>
              <a:gdLst>
                <a:gd name="connsiteX0" fmla="*/ 0 w 4465414"/>
                <a:gd name="connsiteY0" fmla="*/ 0 h 1935386"/>
                <a:gd name="connsiteX1" fmla="*/ 0 w 4465414"/>
                <a:gd name="connsiteY1" fmla="*/ 140245 h 1935386"/>
                <a:gd name="connsiteX2" fmla="*/ 86018 w 4465414"/>
                <a:gd name="connsiteY2" fmla="*/ 140245 h 1935386"/>
                <a:gd name="connsiteX3" fmla="*/ 86018 w 4465414"/>
                <a:gd name="connsiteY3" fmla="*/ 162685 h 1935386"/>
                <a:gd name="connsiteX4" fmla="*/ 100977 w 4465414"/>
                <a:gd name="connsiteY4" fmla="*/ 162685 h 1935386"/>
                <a:gd name="connsiteX5" fmla="*/ 100977 w 4465414"/>
                <a:gd name="connsiteY5" fmla="*/ 170164 h 1935386"/>
                <a:gd name="connsiteX6" fmla="*/ 132766 w 4465414"/>
                <a:gd name="connsiteY6" fmla="*/ 170164 h 1935386"/>
                <a:gd name="connsiteX7" fmla="*/ 132766 w 4465414"/>
                <a:gd name="connsiteY7" fmla="*/ 183254 h 1935386"/>
                <a:gd name="connsiteX8" fmla="*/ 158945 w 4465414"/>
                <a:gd name="connsiteY8" fmla="*/ 183254 h 1935386"/>
                <a:gd name="connsiteX9" fmla="*/ 158945 w 4465414"/>
                <a:gd name="connsiteY9" fmla="*/ 201953 h 1935386"/>
                <a:gd name="connsiteX10" fmla="*/ 183254 w 4465414"/>
                <a:gd name="connsiteY10" fmla="*/ 201953 h 1935386"/>
                <a:gd name="connsiteX11" fmla="*/ 183254 w 4465414"/>
                <a:gd name="connsiteY11" fmla="*/ 213173 h 1935386"/>
                <a:gd name="connsiteX12" fmla="*/ 261792 w 4465414"/>
                <a:gd name="connsiteY12" fmla="*/ 213173 h 1935386"/>
                <a:gd name="connsiteX13" fmla="*/ 261792 w 4465414"/>
                <a:gd name="connsiteY13" fmla="*/ 267401 h 1935386"/>
                <a:gd name="connsiteX14" fmla="*/ 409517 w 4465414"/>
                <a:gd name="connsiteY14" fmla="*/ 267401 h 1935386"/>
                <a:gd name="connsiteX15" fmla="*/ 409517 w 4465414"/>
                <a:gd name="connsiteY15" fmla="*/ 289840 h 1935386"/>
                <a:gd name="connsiteX16" fmla="*/ 510494 w 4465414"/>
                <a:gd name="connsiteY16" fmla="*/ 289840 h 1935386"/>
                <a:gd name="connsiteX17" fmla="*/ 510494 w 4465414"/>
                <a:gd name="connsiteY17" fmla="*/ 336589 h 1935386"/>
                <a:gd name="connsiteX18" fmla="*/ 546022 w 4465414"/>
                <a:gd name="connsiteY18" fmla="*/ 336589 h 1935386"/>
                <a:gd name="connsiteX19" fmla="*/ 546022 w 4465414"/>
                <a:gd name="connsiteY19" fmla="*/ 405777 h 1935386"/>
                <a:gd name="connsiteX20" fmla="*/ 693748 w 4465414"/>
                <a:gd name="connsiteY20" fmla="*/ 405777 h 1935386"/>
                <a:gd name="connsiteX21" fmla="*/ 693748 w 4465414"/>
                <a:gd name="connsiteY21" fmla="*/ 416996 h 1935386"/>
                <a:gd name="connsiteX22" fmla="*/ 757326 w 4465414"/>
                <a:gd name="connsiteY22" fmla="*/ 416996 h 1935386"/>
                <a:gd name="connsiteX23" fmla="*/ 757326 w 4465414"/>
                <a:gd name="connsiteY23" fmla="*/ 437565 h 1935386"/>
                <a:gd name="connsiteX24" fmla="*/ 856432 w 4465414"/>
                <a:gd name="connsiteY24" fmla="*/ 437565 h 1935386"/>
                <a:gd name="connsiteX25" fmla="*/ 856432 w 4465414"/>
                <a:gd name="connsiteY25" fmla="*/ 452525 h 1935386"/>
                <a:gd name="connsiteX26" fmla="*/ 901311 w 4465414"/>
                <a:gd name="connsiteY26" fmla="*/ 452525 h 1935386"/>
                <a:gd name="connsiteX27" fmla="*/ 901311 w 4465414"/>
                <a:gd name="connsiteY27" fmla="*/ 538542 h 1935386"/>
                <a:gd name="connsiteX28" fmla="*/ 929360 w 4465414"/>
                <a:gd name="connsiteY28" fmla="*/ 538542 h 1935386"/>
                <a:gd name="connsiteX29" fmla="*/ 929360 w 4465414"/>
                <a:gd name="connsiteY29" fmla="*/ 587161 h 1935386"/>
                <a:gd name="connsiteX30" fmla="*/ 951799 w 4465414"/>
                <a:gd name="connsiteY30" fmla="*/ 587161 h 1935386"/>
                <a:gd name="connsiteX31" fmla="*/ 951799 w 4465414"/>
                <a:gd name="connsiteY31" fmla="*/ 618950 h 1935386"/>
                <a:gd name="connsiteX32" fmla="*/ 996678 w 4465414"/>
                <a:gd name="connsiteY32" fmla="*/ 618950 h 1935386"/>
                <a:gd name="connsiteX33" fmla="*/ 996678 w 4465414"/>
                <a:gd name="connsiteY33" fmla="*/ 633909 h 1935386"/>
                <a:gd name="connsiteX34" fmla="*/ 1067735 w 4465414"/>
                <a:gd name="connsiteY34" fmla="*/ 633909 h 1935386"/>
                <a:gd name="connsiteX35" fmla="*/ 1067735 w 4465414"/>
                <a:gd name="connsiteY35" fmla="*/ 643259 h 1935386"/>
                <a:gd name="connsiteX36" fmla="*/ 1125703 w 4465414"/>
                <a:gd name="connsiteY36" fmla="*/ 641389 h 1935386"/>
                <a:gd name="connsiteX37" fmla="*/ 1125703 w 4465414"/>
                <a:gd name="connsiteY37" fmla="*/ 661958 h 1935386"/>
                <a:gd name="connsiteX38" fmla="*/ 1269689 w 4465414"/>
                <a:gd name="connsiteY38" fmla="*/ 650738 h 1935386"/>
                <a:gd name="connsiteX39" fmla="*/ 1269689 w 4465414"/>
                <a:gd name="connsiteY39" fmla="*/ 708707 h 1935386"/>
                <a:gd name="connsiteX40" fmla="*/ 1305218 w 4465414"/>
                <a:gd name="connsiteY40" fmla="*/ 708707 h 1935386"/>
                <a:gd name="connsiteX41" fmla="*/ 1305218 w 4465414"/>
                <a:gd name="connsiteY41" fmla="*/ 755455 h 1935386"/>
                <a:gd name="connsiteX42" fmla="*/ 1350096 w 4465414"/>
                <a:gd name="connsiteY42" fmla="*/ 755455 h 1935386"/>
                <a:gd name="connsiteX43" fmla="*/ 1350096 w 4465414"/>
                <a:gd name="connsiteY43" fmla="*/ 772285 h 1935386"/>
                <a:gd name="connsiteX44" fmla="*/ 1406194 w 4465414"/>
                <a:gd name="connsiteY44" fmla="*/ 772285 h 1935386"/>
                <a:gd name="connsiteX45" fmla="*/ 1406194 w 4465414"/>
                <a:gd name="connsiteY45" fmla="*/ 796594 h 1935386"/>
                <a:gd name="connsiteX46" fmla="*/ 1456683 w 4465414"/>
                <a:gd name="connsiteY46" fmla="*/ 796594 h 1935386"/>
                <a:gd name="connsiteX47" fmla="*/ 1456683 w 4465414"/>
                <a:gd name="connsiteY47" fmla="*/ 811553 h 1935386"/>
                <a:gd name="connsiteX48" fmla="*/ 1488472 w 4465414"/>
                <a:gd name="connsiteY48" fmla="*/ 811553 h 1935386"/>
                <a:gd name="connsiteX49" fmla="*/ 1488472 w 4465414"/>
                <a:gd name="connsiteY49" fmla="*/ 822773 h 1935386"/>
                <a:gd name="connsiteX50" fmla="*/ 1653026 w 4465414"/>
                <a:gd name="connsiteY50" fmla="*/ 822773 h 1935386"/>
                <a:gd name="connsiteX51" fmla="*/ 1653026 w 4465414"/>
                <a:gd name="connsiteY51" fmla="*/ 899440 h 1935386"/>
                <a:gd name="connsiteX52" fmla="*/ 1681075 w 4465414"/>
                <a:gd name="connsiteY52" fmla="*/ 899440 h 1935386"/>
                <a:gd name="connsiteX53" fmla="*/ 1681075 w 4465414"/>
                <a:gd name="connsiteY53" fmla="*/ 936839 h 1935386"/>
                <a:gd name="connsiteX54" fmla="*/ 1705384 w 4465414"/>
                <a:gd name="connsiteY54" fmla="*/ 936839 h 1935386"/>
                <a:gd name="connsiteX55" fmla="*/ 1705384 w 4465414"/>
                <a:gd name="connsiteY55" fmla="*/ 957408 h 1935386"/>
                <a:gd name="connsiteX56" fmla="*/ 1791402 w 4465414"/>
                <a:gd name="connsiteY56" fmla="*/ 957408 h 1935386"/>
                <a:gd name="connsiteX57" fmla="*/ 1791402 w 4465414"/>
                <a:gd name="connsiteY57" fmla="*/ 966758 h 1935386"/>
                <a:gd name="connsiteX58" fmla="*/ 1834410 w 4465414"/>
                <a:gd name="connsiteY58" fmla="*/ 966758 h 1935386"/>
                <a:gd name="connsiteX59" fmla="*/ 1834410 w 4465414"/>
                <a:gd name="connsiteY59" fmla="*/ 983588 h 1935386"/>
                <a:gd name="connsiteX60" fmla="*/ 1881159 w 4465414"/>
                <a:gd name="connsiteY60" fmla="*/ 983588 h 1935386"/>
                <a:gd name="connsiteX61" fmla="*/ 1881159 w 4465414"/>
                <a:gd name="connsiteY61" fmla="*/ 996677 h 1935386"/>
                <a:gd name="connsiteX62" fmla="*/ 1918557 w 4465414"/>
                <a:gd name="connsiteY62" fmla="*/ 996677 h 1935386"/>
                <a:gd name="connsiteX63" fmla="*/ 1918557 w 4465414"/>
                <a:gd name="connsiteY63" fmla="*/ 1009767 h 1935386"/>
                <a:gd name="connsiteX64" fmla="*/ 2032624 w 4465414"/>
                <a:gd name="connsiteY64" fmla="*/ 1009767 h 1935386"/>
                <a:gd name="connsiteX65" fmla="*/ 2032624 w 4465414"/>
                <a:gd name="connsiteY65" fmla="*/ 1056515 h 1935386"/>
                <a:gd name="connsiteX66" fmla="*/ 2079372 w 4465414"/>
                <a:gd name="connsiteY66" fmla="*/ 1056515 h 1935386"/>
                <a:gd name="connsiteX67" fmla="*/ 2079372 w 4465414"/>
                <a:gd name="connsiteY67" fmla="*/ 1103264 h 1935386"/>
                <a:gd name="connsiteX68" fmla="*/ 2092462 w 4465414"/>
                <a:gd name="connsiteY68" fmla="*/ 1103264 h 1935386"/>
                <a:gd name="connsiteX69" fmla="*/ 2092462 w 4465414"/>
                <a:gd name="connsiteY69" fmla="*/ 1108873 h 1935386"/>
                <a:gd name="connsiteX70" fmla="*/ 2185959 w 4465414"/>
                <a:gd name="connsiteY70" fmla="*/ 1108873 h 1935386"/>
                <a:gd name="connsiteX71" fmla="*/ 2185959 w 4465414"/>
                <a:gd name="connsiteY71" fmla="*/ 1121963 h 1935386"/>
                <a:gd name="connsiteX72" fmla="*/ 2204658 w 4465414"/>
                <a:gd name="connsiteY72" fmla="*/ 1121963 h 1935386"/>
                <a:gd name="connsiteX73" fmla="*/ 2204658 w 4465414"/>
                <a:gd name="connsiteY73" fmla="*/ 1121963 h 1935386"/>
                <a:gd name="connsiteX74" fmla="*/ 2322464 w 4465414"/>
                <a:gd name="connsiteY74" fmla="*/ 1121963 h 1935386"/>
                <a:gd name="connsiteX75" fmla="*/ 2322464 w 4465414"/>
                <a:gd name="connsiteY75" fmla="*/ 1144402 h 1935386"/>
                <a:gd name="connsiteX76" fmla="*/ 2408481 w 4465414"/>
                <a:gd name="connsiteY76" fmla="*/ 1144402 h 1935386"/>
                <a:gd name="connsiteX77" fmla="*/ 2408481 w 4465414"/>
                <a:gd name="connsiteY77" fmla="*/ 1157492 h 1935386"/>
                <a:gd name="connsiteX78" fmla="*/ 2425311 w 4465414"/>
                <a:gd name="connsiteY78" fmla="*/ 1157492 h 1935386"/>
                <a:gd name="connsiteX79" fmla="*/ 2425311 w 4465414"/>
                <a:gd name="connsiteY79" fmla="*/ 1176191 h 1935386"/>
                <a:gd name="connsiteX80" fmla="*/ 2442140 w 4465414"/>
                <a:gd name="connsiteY80" fmla="*/ 1176191 h 1935386"/>
                <a:gd name="connsiteX81" fmla="*/ 2442140 w 4465414"/>
                <a:gd name="connsiteY81" fmla="*/ 1224810 h 1935386"/>
                <a:gd name="connsiteX82" fmla="*/ 2464580 w 4465414"/>
                <a:gd name="connsiteY82" fmla="*/ 1224810 h 1935386"/>
                <a:gd name="connsiteX83" fmla="*/ 2464580 w 4465414"/>
                <a:gd name="connsiteY83" fmla="*/ 1237899 h 1935386"/>
                <a:gd name="connsiteX84" fmla="*/ 2604825 w 4465414"/>
                <a:gd name="connsiteY84" fmla="*/ 1237899 h 1935386"/>
                <a:gd name="connsiteX85" fmla="*/ 2604825 w 4465414"/>
                <a:gd name="connsiteY85" fmla="*/ 1258469 h 1935386"/>
                <a:gd name="connsiteX86" fmla="*/ 2797429 w 4465414"/>
                <a:gd name="connsiteY86" fmla="*/ 1258469 h 1935386"/>
                <a:gd name="connsiteX87" fmla="*/ 2797429 w 4465414"/>
                <a:gd name="connsiteY87" fmla="*/ 1292127 h 1935386"/>
                <a:gd name="connsiteX88" fmla="*/ 2823608 w 4465414"/>
                <a:gd name="connsiteY88" fmla="*/ 1292127 h 1935386"/>
                <a:gd name="connsiteX89" fmla="*/ 2823608 w 4465414"/>
                <a:gd name="connsiteY89" fmla="*/ 1312697 h 1935386"/>
                <a:gd name="connsiteX90" fmla="*/ 3018081 w 4465414"/>
                <a:gd name="connsiteY90" fmla="*/ 1312697 h 1935386"/>
                <a:gd name="connsiteX91" fmla="*/ 3018081 w 4465414"/>
                <a:gd name="connsiteY91" fmla="*/ 1340746 h 1935386"/>
                <a:gd name="connsiteX92" fmla="*/ 3091009 w 4465414"/>
                <a:gd name="connsiteY92" fmla="*/ 1340746 h 1935386"/>
                <a:gd name="connsiteX93" fmla="*/ 3091009 w 4465414"/>
                <a:gd name="connsiteY93" fmla="*/ 1357575 h 1935386"/>
                <a:gd name="connsiteX94" fmla="*/ 3186376 w 4465414"/>
                <a:gd name="connsiteY94" fmla="*/ 1357575 h 1935386"/>
                <a:gd name="connsiteX95" fmla="*/ 3186376 w 4465414"/>
                <a:gd name="connsiteY95" fmla="*/ 1393104 h 1935386"/>
                <a:gd name="connsiteX96" fmla="*/ 3223775 w 4465414"/>
                <a:gd name="connsiteY96" fmla="*/ 1393104 h 1935386"/>
                <a:gd name="connsiteX97" fmla="*/ 3223775 w 4465414"/>
                <a:gd name="connsiteY97" fmla="*/ 1417413 h 1935386"/>
                <a:gd name="connsiteX98" fmla="*/ 3287353 w 4465414"/>
                <a:gd name="connsiteY98" fmla="*/ 1417413 h 1935386"/>
                <a:gd name="connsiteX99" fmla="*/ 3287353 w 4465414"/>
                <a:gd name="connsiteY99" fmla="*/ 1439853 h 1935386"/>
                <a:gd name="connsiteX100" fmla="*/ 3522965 w 4465414"/>
                <a:gd name="connsiteY100" fmla="*/ 1439853 h 1935386"/>
                <a:gd name="connsiteX101" fmla="*/ 3522965 w 4465414"/>
                <a:gd name="connsiteY101" fmla="*/ 1462292 h 1935386"/>
                <a:gd name="connsiteX102" fmla="*/ 3575323 w 4465414"/>
                <a:gd name="connsiteY102" fmla="*/ 1462292 h 1935386"/>
                <a:gd name="connsiteX103" fmla="*/ 3575323 w 4465414"/>
                <a:gd name="connsiteY103" fmla="*/ 1531480 h 1935386"/>
                <a:gd name="connsiteX104" fmla="*/ 3594022 w 4465414"/>
                <a:gd name="connsiteY104" fmla="*/ 1531480 h 1935386"/>
                <a:gd name="connsiteX105" fmla="*/ 3594022 w 4465414"/>
                <a:gd name="connsiteY105" fmla="*/ 1572618 h 1935386"/>
                <a:gd name="connsiteX106" fmla="*/ 3779146 w 4465414"/>
                <a:gd name="connsiteY106" fmla="*/ 1572618 h 1935386"/>
                <a:gd name="connsiteX107" fmla="*/ 3779146 w 4465414"/>
                <a:gd name="connsiteY107" fmla="*/ 1596927 h 1935386"/>
                <a:gd name="connsiteX108" fmla="*/ 3913782 w 4465414"/>
                <a:gd name="connsiteY108" fmla="*/ 1596927 h 1935386"/>
                <a:gd name="connsiteX109" fmla="*/ 3913782 w 4465414"/>
                <a:gd name="connsiteY109" fmla="*/ 1694164 h 1935386"/>
                <a:gd name="connsiteX110" fmla="*/ 3949311 w 4465414"/>
                <a:gd name="connsiteY110" fmla="*/ 1694164 h 1935386"/>
                <a:gd name="connsiteX111" fmla="*/ 3949311 w 4465414"/>
                <a:gd name="connsiteY111" fmla="*/ 1735303 h 1935386"/>
                <a:gd name="connsiteX112" fmla="*/ 3981100 w 4465414"/>
                <a:gd name="connsiteY112" fmla="*/ 1735303 h 1935386"/>
                <a:gd name="connsiteX113" fmla="*/ 3981100 w 4465414"/>
                <a:gd name="connsiteY113" fmla="*/ 1761482 h 1935386"/>
                <a:gd name="connsiteX114" fmla="*/ 4132565 w 4465414"/>
                <a:gd name="connsiteY114" fmla="*/ 1761482 h 1935386"/>
                <a:gd name="connsiteX115" fmla="*/ 4132565 w 4465414"/>
                <a:gd name="connsiteY115" fmla="*/ 1795141 h 1935386"/>
                <a:gd name="connsiteX116" fmla="*/ 4261591 w 4465414"/>
                <a:gd name="connsiteY116" fmla="*/ 1795141 h 1935386"/>
                <a:gd name="connsiteX117" fmla="*/ 4261591 w 4465414"/>
                <a:gd name="connsiteY117" fmla="*/ 1823190 h 1935386"/>
                <a:gd name="connsiteX118" fmla="*/ 4332648 w 4465414"/>
                <a:gd name="connsiteY118" fmla="*/ 1823190 h 1935386"/>
                <a:gd name="connsiteX119" fmla="*/ 4332648 w 4465414"/>
                <a:gd name="connsiteY119" fmla="*/ 1875548 h 1935386"/>
                <a:gd name="connsiteX120" fmla="*/ 4405576 w 4465414"/>
                <a:gd name="connsiteY120" fmla="*/ 1875548 h 1935386"/>
                <a:gd name="connsiteX121" fmla="*/ 4405576 w 4465414"/>
                <a:gd name="connsiteY121" fmla="*/ 1935386 h 1935386"/>
                <a:gd name="connsiteX122" fmla="*/ 4465414 w 4465414"/>
                <a:gd name="connsiteY122" fmla="*/ 1935386 h 1935386"/>
                <a:gd name="connsiteX0" fmla="*/ 0 w 5112413"/>
                <a:gd name="connsiteY0" fmla="*/ 0 h 1939126"/>
                <a:gd name="connsiteX1" fmla="*/ 0 w 5112413"/>
                <a:gd name="connsiteY1" fmla="*/ 140245 h 1939126"/>
                <a:gd name="connsiteX2" fmla="*/ 86018 w 5112413"/>
                <a:gd name="connsiteY2" fmla="*/ 140245 h 1939126"/>
                <a:gd name="connsiteX3" fmla="*/ 86018 w 5112413"/>
                <a:gd name="connsiteY3" fmla="*/ 162685 h 1939126"/>
                <a:gd name="connsiteX4" fmla="*/ 100977 w 5112413"/>
                <a:gd name="connsiteY4" fmla="*/ 162685 h 1939126"/>
                <a:gd name="connsiteX5" fmla="*/ 100977 w 5112413"/>
                <a:gd name="connsiteY5" fmla="*/ 170164 h 1939126"/>
                <a:gd name="connsiteX6" fmla="*/ 132766 w 5112413"/>
                <a:gd name="connsiteY6" fmla="*/ 170164 h 1939126"/>
                <a:gd name="connsiteX7" fmla="*/ 132766 w 5112413"/>
                <a:gd name="connsiteY7" fmla="*/ 183254 h 1939126"/>
                <a:gd name="connsiteX8" fmla="*/ 158945 w 5112413"/>
                <a:gd name="connsiteY8" fmla="*/ 183254 h 1939126"/>
                <a:gd name="connsiteX9" fmla="*/ 158945 w 5112413"/>
                <a:gd name="connsiteY9" fmla="*/ 201953 h 1939126"/>
                <a:gd name="connsiteX10" fmla="*/ 183254 w 5112413"/>
                <a:gd name="connsiteY10" fmla="*/ 201953 h 1939126"/>
                <a:gd name="connsiteX11" fmla="*/ 183254 w 5112413"/>
                <a:gd name="connsiteY11" fmla="*/ 213173 h 1939126"/>
                <a:gd name="connsiteX12" fmla="*/ 261792 w 5112413"/>
                <a:gd name="connsiteY12" fmla="*/ 213173 h 1939126"/>
                <a:gd name="connsiteX13" fmla="*/ 261792 w 5112413"/>
                <a:gd name="connsiteY13" fmla="*/ 267401 h 1939126"/>
                <a:gd name="connsiteX14" fmla="*/ 409517 w 5112413"/>
                <a:gd name="connsiteY14" fmla="*/ 267401 h 1939126"/>
                <a:gd name="connsiteX15" fmla="*/ 409517 w 5112413"/>
                <a:gd name="connsiteY15" fmla="*/ 289840 h 1939126"/>
                <a:gd name="connsiteX16" fmla="*/ 510494 w 5112413"/>
                <a:gd name="connsiteY16" fmla="*/ 289840 h 1939126"/>
                <a:gd name="connsiteX17" fmla="*/ 510494 w 5112413"/>
                <a:gd name="connsiteY17" fmla="*/ 336589 h 1939126"/>
                <a:gd name="connsiteX18" fmla="*/ 546022 w 5112413"/>
                <a:gd name="connsiteY18" fmla="*/ 336589 h 1939126"/>
                <a:gd name="connsiteX19" fmla="*/ 546022 w 5112413"/>
                <a:gd name="connsiteY19" fmla="*/ 405777 h 1939126"/>
                <a:gd name="connsiteX20" fmla="*/ 693748 w 5112413"/>
                <a:gd name="connsiteY20" fmla="*/ 405777 h 1939126"/>
                <a:gd name="connsiteX21" fmla="*/ 693748 w 5112413"/>
                <a:gd name="connsiteY21" fmla="*/ 416996 h 1939126"/>
                <a:gd name="connsiteX22" fmla="*/ 757326 w 5112413"/>
                <a:gd name="connsiteY22" fmla="*/ 416996 h 1939126"/>
                <a:gd name="connsiteX23" fmla="*/ 757326 w 5112413"/>
                <a:gd name="connsiteY23" fmla="*/ 437565 h 1939126"/>
                <a:gd name="connsiteX24" fmla="*/ 856432 w 5112413"/>
                <a:gd name="connsiteY24" fmla="*/ 437565 h 1939126"/>
                <a:gd name="connsiteX25" fmla="*/ 856432 w 5112413"/>
                <a:gd name="connsiteY25" fmla="*/ 452525 h 1939126"/>
                <a:gd name="connsiteX26" fmla="*/ 901311 w 5112413"/>
                <a:gd name="connsiteY26" fmla="*/ 452525 h 1939126"/>
                <a:gd name="connsiteX27" fmla="*/ 901311 w 5112413"/>
                <a:gd name="connsiteY27" fmla="*/ 538542 h 1939126"/>
                <a:gd name="connsiteX28" fmla="*/ 929360 w 5112413"/>
                <a:gd name="connsiteY28" fmla="*/ 538542 h 1939126"/>
                <a:gd name="connsiteX29" fmla="*/ 929360 w 5112413"/>
                <a:gd name="connsiteY29" fmla="*/ 587161 h 1939126"/>
                <a:gd name="connsiteX30" fmla="*/ 951799 w 5112413"/>
                <a:gd name="connsiteY30" fmla="*/ 587161 h 1939126"/>
                <a:gd name="connsiteX31" fmla="*/ 951799 w 5112413"/>
                <a:gd name="connsiteY31" fmla="*/ 618950 h 1939126"/>
                <a:gd name="connsiteX32" fmla="*/ 996678 w 5112413"/>
                <a:gd name="connsiteY32" fmla="*/ 618950 h 1939126"/>
                <a:gd name="connsiteX33" fmla="*/ 996678 w 5112413"/>
                <a:gd name="connsiteY33" fmla="*/ 633909 h 1939126"/>
                <a:gd name="connsiteX34" fmla="*/ 1067735 w 5112413"/>
                <a:gd name="connsiteY34" fmla="*/ 633909 h 1939126"/>
                <a:gd name="connsiteX35" fmla="*/ 1067735 w 5112413"/>
                <a:gd name="connsiteY35" fmla="*/ 643259 h 1939126"/>
                <a:gd name="connsiteX36" fmla="*/ 1125703 w 5112413"/>
                <a:gd name="connsiteY36" fmla="*/ 641389 h 1939126"/>
                <a:gd name="connsiteX37" fmla="*/ 1125703 w 5112413"/>
                <a:gd name="connsiteY37" fmla="*/ 661958 h 1939126"/>
                <a:gd name="connsiteX38" fmla="*/ 1269689 w 5112413"/>
                <a:gd name="connsiteY38" fmla="*/ 650738 h 1939126"/>
                <a:gd name="connsiteX39" fmla="*/ 1269689 w 5112413"/>
                <a:gd name="connsiteY39" fmla="*/ 708707 h 1939126"/>
                <a:gd name="connsiteX40" fmla="*/ 1305218 w 5112413"/>
                <a:gd name="connsiteY40" fmla="*/ 708707 h 1939126"/>
                <a:gd name="connsiteX41" fmla="*/ 1305218 w 5112413"/>
                <a:gd name="connsiteY41" fmla="*/ 755455 h 1939126"/>
                <a:gd name="connsiteX42" fmla="*/ 1350096 w 5112413"/>
                <a:gd name="connsiteY42" fmla="*/ 755455 h 1939126"/>
                <a:gd name="connsiteX43" fmla="*/ 1350096 w 5112413"/>
                <a:gd name="connsiteY43" fmla="*/ 772285 h 1939126"/>
                <a:gd name="connsiteX44" fmla="*/ 1406194 w 5112413"/>
                <a:gd name="connsiteY44" fmla="*/ 772285 h 1939126"/>
                <a:gd name="connsiteX45" fmla="*/ 1406194 w 5112413"/>
                <a:gd name="connsiteY45" fmla="*/ 796594 h 1939126"/>
                <a:gd name="connsiteX46" fmla="*/ 1456683 w 5112413"/>
                <a:gd name="connsiteY46" fmla="*/ 796594 h 1939126"/>
                <a:gd name="connsiteX47" fmla="*/ 1456683 w 5112413"/>
                <a:gd name="connsiteY47" fmla="*/ 811553 h 1939126"/>
                <a:gd name="connsiteX48" fmla="*/ 1488472 w 5112413"/>
                <a:gd name="connsiteY48" fmla="*/ 811553 h 1939126"/>
                <a:gd name="connsiteX49" fmla="*/ 1488472 w 5112413"/>
                <a:gd name="connsiteY49" fmla="*/ 822773 h 1939126"/>
                <a:gd name="connsiteX50" fmla="*/ 1653026 w 5112413"/>
                <a:gd name="connsiteY50" fmla="*/ 822773 h 1939126"/>
                <a:gd name="connsiteX51" fmla="*/ 1653026 w 5112413"/>
                <a:gd name="connsiteY51" fmla="*/ 899440 h 1939126"/>
                <a:gd name="connsiteX52" fmla="*/ 1681075 w 5112413"/>
                <a:gd name="connsiteY52" fmla="*/ 899440 h 1939126"/>
                <a:gd name="connsiteX53" fmla="*/ 1681075 w 5112413"/>
                <a:gd name="connsiteY53" fmla="*/ 936839 h 1939126"/>
                <a:gd name="connsiteX54" fmla="*/ 1705384 w 5112413"/>
                <a:gd name="connsiteY54" fmla="*/ 936839 h 1939126"/>
                <a:gd name="connsiteX55" fmla="*/ 1705384 w 5112413"/>
                <a:gd name="connsiteY55" fmla="*/ 957408 h 1939126"/>
                <a:gd name="connsiteX56" fmla="*/ 1791402 w 5112413"/>
                <a:gd name="connsiteY56" fmla="*/ 957408 h 1939126"/>
                <a:gd name="connsiteX57" fmla="*/ 1791402 w 5112413"/>
                <a:gd name="connsiteY57" fmla="*/ 966758 h 1939126"/>
                <a:gd name="connsiteX58" fmla="*/ 1834410 w 5112413"/>
                <a:gd name="connsiteY58" fmla="*/ 966758 h 1939126"/>
                <a:gd name="connsiteX59" fmla="*/ 1834410 w 5112413"/>
                <a:gd name="connsiteY59" fmla="*/ 983588 h 1939126"/>
                <a:gd name="connsiteX60" fmla="*/ 1881159 w 5112413"/>
                <a:gd name="connsiteY60" fmla="*/ 983588 h 1939126"/>
                <a:gd name="connsiteX61" fmla="*/ 1881159 w 5112413"/>
                <a:gd name="connsiteY61" fmla="*/ 996677 h 1939126"/>
                <a:gd name="connsiteX62" fmla="*/ 1918557 w 5112413"/>
                <a:gd name="connsiteY62" fmla="*/ 996677 h 1939126"/>
                <a:gd name="connsiteX63" fmla="*/ 1918557 w 5112413"/>
                <a:gd name="connsiteY63" fmla="*/ 1009767 h 1939126"/>
                <a:gd name="connsiteX64" fmla="*/ 2032624 w 5112413"/>
                <a:gd name="connsiteY64" fmla="*/ 1009767 h 1939126"/>
                <a:gd name="connsiteX65" fmla="*/ 2032624 w 5112413"/>
                <a:gd name="connsiteY65" fmla="*/ 1056515 h 1939126"/>
                <a:gd name="connsiteX66" fmla="*/ 2079372 w 5112413"/>
                <a:gd name="connsiteY66" fmla="*/ 1056515 h 1939126"/>
                <a:gd name="connsiteX67" fmla="*/ 2079372 w 5112413"/>
                <a:gd name="connsiteY67" fmla="*/ 1103264 h 1939126"/>
                <a:gd name="connsiteX68" fmla="*/ 2092462 w 5112413"/>
                <a:gd name="connsiteY68" fmla="*/ 1103264 h 1939126"/>
                <a:gd name="connsiteX69" fmla="*/ 2092462 w 5112413"/>
                <a:gd name="connsiteY69" fmla="*/ 1108873 h 1939126"/>
                <a:gd name="connsiteX70" fmla="*/ 2185959 w 5112413"/>
                <a:gd name="connsiteY70" fmla="*/ 1108873 h 1939126"/>
                <a:gd name="connsiteX71" fmla="*/ 2185959 w 5112413"/>
                <a:gd name="connsiteY71" fmla="*/ 1121963 h 1939126"/>
                <a:gd name="connsiteX72" fmla="*/ 2204658 w 5112413"/>
                <a:gd name="connsiteY72" fmla="*/ 1121963 h 1939126"/>
                <a:gd name="connsiteX73" fmla="*/ 2204658 w 5112413"/>
                <a:gd name="connsiteY73" fmla="*/ 1121963 h 1939126"/>
                <a:gd name="connsiteX74" fmla="*/ 2322464 w 5112413"/>
                <a:gd name="connsiteY74" fmla="*/ 1121963 h 1939126"/>
                <a:gd name="connsiteX75" fmla="*/ 2322464 w 5112413"/>
                <a:gd name="connsiteY75" fmla="*/ 1144402 h 1939126"/>
                <a:gd name="connsiteX76" fmla="*/ 2408481 w 5112413"/>
                <a:gd name="connsiteY76" fmla="*/ 1144402 h 1939126"/>
                <a:gd name="connsiteX77" fmla="*/ 2408481 w 5112413"/>
                <a:gd name="connsiteY77" fmla="*/ 1157492 h 1939126"/>
                <a:gd name="connsiteX78" fmla="*/ 2425311 w 5112413"/>
                <a:gd name="connsiteY78" fmla="*/ 1157492 h 1939126"/>
                <a:gd name="connsiteX79" fmla="*/ 2425311 w 5112413"/>
                <a:gd name="connsiteY79" fmla="*/ 1176191 h 1939126"/>
                <a:gd name="connsiteX80" fmla="*/ 2442140 w 5112413"/>
                <a:gd name="connsiteY80" fmla="*/ 1176191 h 1939126"/>
                <a:gd name="connsiteX81" fmla="*/ 2442140 w 5112413"/>
                <a:gd name="connsiteY81" fmla="*/ 1224810 h 1939126"/>
                <a:gd name="connsiteX82" fmla="*/ 2464580 w 5112413"/>
                <a:gd name="connsiteY82" fmla="*/ 1224810 h 1939126"/>
                <a:gd name="connsiteX83" fmla="*/ 2464580 w 5112413"/>
                <a:gd name="connsiteY83" fmla="*/ 1237899 h 1939126"/>
                <a:gd name="connsiteX84" fmla="*/ 2604825 w 5112413"/>
                <a:gd name="connsiteY84" fmla="*/ 1237899 h 1939126"/>
                <a:gd name="connsiteX85" fmla="*/ 2604825 w 5112413"/>
                <a:gd name="connsiteY85" fmla="*/ 1258469 h 1939126"/>
                <a:gd name="connsiteX86" fmla="*/ 2797429 w 5112413"/>
                <a:gd name="connsiteY86" fmla="*/ 1258469 h 1939126"/>
                <a:gd name="connsiteX87" fmla="*/ 2797429 w 5112413"/>
                <a:gd name="connsiteY87" fmla="*/ 1292127 h 1939126"/>
                <a:gd name="connsiteX88" fmla="*/ 2823608 w 5112413"/>
                <a:gd name="connsiteY88" fmla="*/ 1292127 h 1939126"/>
                <a:gd name="connsiteX89" fmla="*/ 2823608 w 5112413"/>
                <a:gd name="connsiteY89" fmla="*/ 1312697 h 1939126"/>
                <a:gd name="connsiteX90" fmla="*/ 3018081 w 5112413"/>
                <a:gd name="connsiteY90" fmla="*/ 1312697 h 1939126"/>
                <a:gd name="connsiteX91" fmla="*/ 3018081 w 5112413"/>
                <a:gd name="connsiteY91" fmla="*/ 1340746 h 1939126"/>
                <a:gd name="connsiteX92" fmla="*/ 3091009 w 5112413"/>
                <a:gd name="connsiteY92" fmla="*/ 1340746 h 1939126"/>
                <a:gd name="connsiteX93" fmla="*/ 3091009 w 5112413"/>
                <a:gd name="connsiteY93" fmla="*/ 1357575 h 1939126"/>
                <a:gd name="connsiteX94" fmla="*/ 3186376 w 5112413"/>
                <a:gd name="connsiteY94" fmla="*/ 1357575 h 1939126"/>
                <a:gd name="connsiteX95" fmla="*/ 3186376 w 5112413"/>
                <a:gd name="connsiteY95" fmla="*/ 1393104 h 1939126"/>
                <a:gd name="connsiteX96" fmla="*/ 3223775 w 5112413"/>
                <a:gd name="connsiteY96" fmla="*/ 1393104 h 1939126"/>
                <a:gd name="connsiteX97" fmla="*/ 3223775 w 5112413"/>
                <a:gd name="connsiteY97" fmla="*/ 1417413 h 1939126"/>
                <a:gd name="connsiteX98" fmla="*/ 3287353 w 5112413"/>
                <a:gd name="connsiteY98" fmla="*/ 1417413 h 1939126"/>
                <a:gd name="connsiteX99" fmla="*/ 3287353 w 5112413"/>
                <a:gd name="connsiteY99" fmla="*/ 1439853 h 1939126"/>
                <a:gd name="connsiteX100" fmla="*/ 3522965 w 5112413"/>
                <a:gd name="connsiteY100" fmla="*/ 1439853 h 1939126"/>
                <a:gd name="connsiteX101" fmla="*/ 3522965 w 5112413"/>
                <a:gd name="connsiteY101" fmla="*/ 1462292 h 1939126"/>
                <a:gd name="connsiteX102" fmla="*/ 3575323 w 5112413"/>
                <a:gd name="connsiteY102" fmla="*/ 1462292 h 1939126"/>
                <a:gd name="connsiteX103" fmla="*/ 3575323 w 5112413"/>
                <a:gd name="connsiteY103" fmla="*/ 1531480 h 1939126"/>
                <a:gd name="connsiteX104" fmla="*/ 3594022 w 5112413"/>
                <a:gd name="connsiteY104" fmla="*/ 1531480 h 1939126"/>
                <a:gd name="connsiteX105" fmla="*/ 3594022 w 5112413"/>
                <a:gd name="connsiteY105" fmla="*/ 1572618 h 1939126"/>
                <a:gd name="connsiteX106" fmla="*/ 3779146 w 5112413"/>
                <a:gd name="connsiteY106" fmla="*/ 1572618 h 1939126"/>
                <a:gd name="connsiteX107" fmla="*/ 3779146 w 5112413"/>
                <a:gd name="connsiteY107" fmla="*/ 1596927 h 1939126"/>
                <a:gd name="connsiteX108" fmla="*/ 3913782 w 5112413"/>
                <a:gd name="connsiteY108" fmla="*/ 1596927 h 1939126"/>
                <a:gd name="connsiteX109" fmla="*/ 3913782 w 5112413"/>
                <a:gd name="connsiteY109" fmla="*/ 1694164 h 1939126"/>
                <a:gd name="connsiteX110" fmla="*/ 3949311 w 5112413"/>
                <a:gd name="connsiteY110" fmla="*/ 1694164 h 1939126"/>
                <a:gd name="connsiteX111" fmla="*/ 3949311 w 5112413"/>
                <a:gd name="connsiteY111" fmla="*/ 1735303 h 1939126"/>
                <a:gd name="connsiteX112" fmla="*/ 3981100 w 5112413"/>
                <a:gd name="connsiteY112" fmla="*/ 1735303 h 1939126"/>
                <a:gd name="connsiteX113" fmla="*/ 3981100 w 5112413"/>
                <a:gd name="connsiteY113" fmla="*/ 1761482 h 1939126"/>
                <a:gd name="connsiteX114" fmla="*/ 4132565 w 5112413"/>
                <a:gd name="connsiteY114" fmla="*/ 1761482 h 1939126"/>
                <a:gd name="connsiteX115" fmla="*/ 4132565 w 5112413"/>
                <a:gd name="connsiteY115" fmla="*/ 1795141 h 1939126"/>
                <a:gd name="connsiteX116" fmla="*/ 4261591 w 5112413"/>
                <a:gd name="connsiteY116" fmla="*/ 1795141 h 1939126"/>
                <a:gd name="connsiteX117" fmla="*/ 4261591 w 5112413"/>
                <a:gd name="connsiteY117" fmla="*/ 1823190 h 1939126"/>
                <a:gd name="connsiteX118" fmla="*/ 4332648 w 5112413"/>
                <a:gd name="connsiteY118" fmla="*/ 1823190 h 1939126"/>
                <a:gd name="connsiteX119" fmla="*/ 4332648 w 5112413"/>
                <a:gd name="connsiteY119" fmla="*/ 1875548 h 1939126"/>
                <a:gd name="connsiteX120" fmla="*/ 4405576 w 5112413"/>
                <a:gd name="connsiteY120" fmla="*/ 1875548 h 1939126"/>
                <a:gd name="connsiteX121" fmla="*/ 4405576 w 5112413"/>
                <a:gd name="connsiteY121" fmla="*/ 1935386 h 1939126"/>
                <a:gd name="connsiteX122" fmla="*/ 5112413 w 5112413"/>
                <a:gd name="connsiteY122" fmla="*/ 1939126 h 1939126"/>
                <a:gd name="connsiteX0" fmla="*/ 0 w 5112413"/>
                <a:gd name="connsiteY0" fmla="*/ 0 h 1939126"/>
                <a:gd name="connsiteX1" fmla="*/ 0 w 5112413"/>
                <a:gd name="connsiteY1" fmla="*/ 140245 h 1939126"/>
                <a:gd name="connsiteX2" fmla="*/ 86018 w 5112413"/>
                <a:gd name="connsiteY2" fmla="*/ 140245 h 1939126"/>
                <a:gd name="connsiteX3" fmla="*/ 86018 w 5112413"/>
                <a:gd name="connsiteY3" fmla="*/ 162685 h 1939126"/>
                <a:gd name="connsiteX4" fmla="*/ 100977 w 5112413"/>
                <a:gd name="connsiteY4" fmla="*/ 162685 h 1939126"/>
                <a:gd name="connsiteX5" fmla="*/ 100977 w 5112413"/>
                <a:gd name="connsiteY5" fmla="*/ 170164 h 1939126"/>
                <a:gd name="connsiteX6" fmla="*/ 132766 w 5112413"/>
                <a:gd name="connsiteY6" fmla="*/ 170164 h 1939126"/>
                <a:gd name="connsiteX7" fmla="*/ 132766 w 5112413"/>
                <a:gd name="connsiteY7" fmla="*/ 183254 h 1939126"/>
                <a:gd name="connsiteX8" fmla="*/ 158945 w 5112413"/>
                <a:gd name="connsiteY8" fmla="*/ 183254 h 1939126"/>
                <a:gd name="connsiteX9" fmla="*/ 158945 w 5112413"/>
                <a:gd name="connsiteY9" fmla="*/ 201953 h 1939126"/>
                <a:gd name="connsiteX10" fmla="*/ 183254 w 5112413"/>
                <a:gd name="connsiteY10" fmla="*/ 201953 h 1939126"/>
                <a:gd name="connsiteX11" fmla="*/ 183254 w 5112413"/>
                <a:gd name="connsiteY11" fmla="*/ 213173 h 1939126"/>
                <a:gd name="connsiteX12" fmla="*/ 261792 w 5112413"/>
                <a:gd name="connsiteY12" fmla="*/ 213173 h 1939126"/>
                <a:gd name="connsiteX13" fmla="*/ 261792 w 5112413"/>
                <a:gd name="connsiteY13" fmla="*/ 267401 h 1939126"/>
                <a:gd name="connsiteX14" fmla="*/ 409517 w 5112413"/>
                <a:gd name="connsiteY14" fmla="*/ 267401 h 1939126"/>
                <a:gd name="connsiteX15" fmla="*/ 409517 w 5112413"/>
                <a:gd name="connsiteY15" fmla="*/ 289840 h 1939126"/>
                <a:gd name="connsiteX16" fmla="*/ 510494 w 5112413"/>
                <a:gd name="connsiteY16" fmla="*/ 289840 h 1939126"/>
                <a:gd name="connsiteX17" fmla="*/ 510494 w 5112413"/>
                <a:gd name="connsiteY17" fmla="*/ 336589 h 1939126"/>
                <a:gd name="connsiteX18" fmla="*/ 546022 w 5112413"/>
                <a:gd name="connsiteY18" fmla="*/ 336589 h 1939126"/>
                <a:gd name="connsiteX19" fmla="*/ 546022 w 5112413"/>
                <a:gd name="connsiteY19" fmla="*/ 405777 h 1939126"/>
                <a:gd name="connsiteX20" fmla="*/ 693748 w 5112413"/>
                <a:gd name="connsiteY20" fmla="*/ 405777 h 1939126"/>
                <a:gd name="connsiteX21" fmla="*/ 693748 w 5112413"/>
                <a:gd name="connsiteY21" fmla="*/ 416996 h 1939126"/>
                <a:gd name="connsiteX22" fmla="*/ 757326 w 5112413"/>
                <a:gd name="connsiteY22" fmla="*/ 416996 h 1939126"/>
                <a:gd name="connsiteX23" fmla="*/ 757326 w 5112413"/>
                <a:gd name="connsiteY23" fmla="*/ 437565 h 1939126"/>
                <a:gd name="connsiteX24" fmla="*/ 856432 w 5112413"/>
                <a:gd name="connsiteY24" fmla="*/ 437565 h 1939126"/>
                <a:gd name="connsiteX25" fmla="*/ 856432 w 5112413"/>
                <a:gd name="connsiteY25" fmla="*/ 452525 h 1939126"/>
                <a:gd name="connsiteX26" fmla="*/ 901311 w 5112413"/>
                <a:gd name="connsiteY26" fmla="*/ 452525 h 1939126"/>
                <a:gd name="connsiteX27" fmla="*/ 901311 w 5112413"/>
                <a:gd name="connsiteY27" fmla="*/ 538542 h 1939126"/>
                <a:gd name="connsiteX28" fmla="*/ 929360 w 5112413"/>
                <a:gd name="connsiteY28" fmla="*/ 538542 h 1939126"/>
                <a:gd name="connsiteX29" fmla="*/ 929360 w 5112413"/>
                <a:gd name="connsiteY29" fmla="*/ 587161 h 1939126"/>
                <a:gd name="connsiteX30" fmla="*/ 951799 w 5112413"/>
                <a:gd name="connsiteY30" fmla="*/ 587161 h 1939126"/>
                <a:gd name="connsiteX31" fmla="*/ 951799 w 5112413"/>
                <a:gd name="connsiteY31" fmla="*/ 618950 h 1939126"/>
                <a:gd name="connsiteX32" fmla="*/ 996678 w 5112413"/>
                <a:gd name="connsiteY32" fmla="*/ 618950 h 1939126"/>
                <a:gd name="connsiteX33" fmla="*/ 996678 w 5112413"/>
                <a:gd name="connsiteY33" fmla="*/ 633909 h 1939126"/>
                <a:gd name="connsiteX34" fmla="*/ 1067735 w 5112413"/>
                <a:gd name="connsiteY34" fmla="*/ 633909 h 1939126"/>
                <a:gd name="connsiteX35" fmla="*/ 1067735 w 5112413"/>
                <a:gd name="connsiteY35" fmla="*/ 643259 h 1939126"/>
                <a:gd name="connsiteX36" fmla="*/ 1125703 w 5112413"/>
                <a:gd name="connsiteY36" fmla="*/ 641389 h 1939126"/>
                <a:gd name="connsiteX37" fmla="*/ 1125703 w 5112413"/>
                <a:gd name="connsiteY37" fmla="*/ 661958 h 1939126"/>
                <a:gd name="connsiteX38" fmla="*/ 1269689 w 5112413"/>
                <a:gd name="connsiteY38" fmla="*/ 658218 h 1939126"/>
                <a:gd name="connsiteX39" fmla="*/ 1269689 w 5112413"/>
                <a:gd name="connsiteY39" fmla="*/ 708707 h 1939126"/>
                <a:gd name="connsiteX40" fmla="*/ 1305218 w 5112413"/>
                <a:gd name="connsiteY40" fmla="*/ 708707 h 1939126"/>
                <a:gd name="connsiteX41" fmla="*/ 1305218 w 5112413"/>
                <a:gd name="connsiteY41" fmla="*/ 755455 h 1939126"/>
                <a:gd name="connsiteX42" fmla="*/ 1350096 w 5112413"/>
                <a:gd name="connsiteY42" fmla="*/ 755455 h 1939126"/>
                <a:gd name="connsiteX43" fmla="*/ 1350096 w 5112413"/>
                <a:gd name="connsiteY43" fmla="*/ 772285 h 1939126"/>
                <a:gd name="connsiteX44" fmla="*/ 1406194 w 5112413"/>
                <a:gd name="connsiteY44" fmla="*/ 772285 h 1939126"/>
                <a:gd name="connsiteX45" fmla="*/ 1406194 w 5112413"/>
                <a:gd name="connsiteY45" fmla="*/ 796594 h 1939126"/>
                <a:gd name="connsiteX46" fmla="*/ 1456683 w 5112413"/>
                <a:gd name="connsiteY46" fmla="*/ 796594 h 1939126"/>
                <a:gd name="connsiteX47" fmla="*/ 1456683 w 5112413"/>
                <a:gd name="connsiteY47" fmla="*/ 811553 h 1939126"/>
                <a:gd name="connsiteX48" fmla="*/ 1488472 w 5112413"/>
                <a:gd name="connsiteY48" fmla="*/ 811553 h 1939126"/>
                <a:gd name="connsiteX49" fmla="*/ 1488472 w 5112413"/>
                <a:gd name="connsiteY49" fmla="*/ 822773 h 1939126"/>
                <a:gd name="connsiteX50" fmla="*/ 1653026 w 5112413"/>
                <a:gd name="connsiteY50" fmla="*/ 822773 h 1939126"/>
                <a:gd name="connsiteX51" fmla="*/ 1653026 w 5112413"/>
                <a:gd name="connsiteY51" fmla="*/ 899440 h 1939126"/>
                <a:gd name="connsiteX52" fmla="*/ 1681075 w 5112413"/>
                <a:gd name="connsiteY52" fmla="*/ 899440 h 1939126"/>
                <a:gd name="connsiteX53" fmla="*/ 1681075 w 5112413"/>
                <a:gd name="connsiteY53" fmla="*/ 936839 h 1939126"/>
                <a:gd name="connsiteX54" fmla="*/ 1705384 w 5112413"/>
                <a:gd name="connsiteY54" fmla="*/ 936839 h 1939126"/>
                <a:gd name="connsiteX55" fmla="*/ 1705384 w 5112413"/>
                <a:gd name="connsiteY55" fmla="*/ 957408 h 1939126"/>
                <a:gd name="connsiteX56" fmla="*/ 1791402 w 5112413"/>
                <a:gd name="connsiteY56" fmla="*/ 957408 h 1939126"/>
                <a:gd name="connsiteX57" fmla="*/ 1791402 w 5112413"/>
                <a:gd name="connsiteY57" fmla="*/ 966758 h 1939126"/>
                <a:gd name="connsiteX58" fmla="*/ 1834410 w 5112413"/>
                <a:gd name="connsiteY58" fmla="*/ 966758 h 1939126"/>
                <a:gd name="connsiteX59" fmla="*/ 1834410 w 5112413"/>
                <a:gd name="connsiteY59" fmla="*/ 983588 h 1939126"/>
                <a:gd name="connsiteX60" fmla="*/ 1881159 w 5112413"/>
                <a:gd name="connsiteY60" fmla="*/ 983588 h 1939126"/>
                <a:gd name="connsiteX61" fmla="*/ 1881159 w 5112413"/>
                <a:gd name="connsiteY61" fmla="*/ 996677 h 1939126"/>
                <a:gd name="connsiteX62" fmla="*/ 1918557 w 5112413"/>
                <a:gd name="connsiteY62" fmla="*/ 996677 h 1939126"/>
                <a:gd name="connsiteX63" fmla="*/ 1918557 w 5112413"/>
                <a:gd name="connsiteY63" fmla="*/ 1009767 h 1939126"/>
                <a:gd name="connsiteX64" fmla="*/ 2032624 w 5112413"/>
                <a:gd name="connsiteY64" fmla="*/ 1009767 h 1939126"/>
                <a:gd name="connsiteX65" fmla="*/ 2032624 w 5112413"/>
                <a:gd name="connsiteY65" fmla="*/ 1056515 h 1939126"/>
                <a:gd name="connsiteX66" fmla="*/ 2079372 w 5112413"/>
                <a:gd name="connsiteY66" fmla="*/ 1056515 h 1939126"/>
                <a:gd name="connsiteX67" fmla="*/ 2079372 w 5112413"/>
                <a:gd name="connsiteY67" fmla="*/ 1103264 h 1939126"/>
                <a:gd name="connsiteX68" fmla="*/ 2092462 w 5112413"/>
                <a:gd name="connsiteY68" fmla="*/ 1103264 h 1939126"/>
                <a:gd name="connsiteX69" fmla="*/ 2092462 w 5112413"/>
                <a:gd name="connsiteY69" fmla="*/ 1108873 h 1939126"/>
                <a:gd name="connsiteX70" fmla="*/ 2185959 w 5112413"/>
                <a:gd name="connsiteY70" fmla="*/ 1108873 h 1939126"/>
                <a:gd name="connsiteX71" fmla="*/ 2185959 w 5112413"/>
                <a:gd name="connsiteY71" fmla="*/ 1121963 h 1939126"/>
                <a:gd name="connsiteX72" fmla="*/ 2204658 w 5112413"/>
                <a:gd name="connsiteY72" fmla="*/ 1121963 h 1939126"/>
                <a:gd name="connsiteX73" fmla="*/ 2204658 w 5112413"/>
                <a:gd name="connsiteY73" fmla="*/ 1121963 h 1939126"/>
                <a:gd name="connsiteX74" fmla="*/ 2322464 w 5112413"/>
                <a:gd name="connsiteY74" fmla="*/ 1121963 h 1939126"/>
                <a:gd name="connsiteX75" fmla="*/ 2322464 w 5112413"/>
                <a:gd name="connsiteY75" fmla="*/ 1144402 h 1939126"/>
                <a:gd name="connsiteX76" fmla="*/ 2408481 w 5112413"/>
                <a:gd name="connsiteY76" fmla="*/ 1144402 h 1939126"/>
                <a:gd name="connsiteX77" fmla="*/ 2408481 w 5112413"/>
                <a:gd name="connsiteY77" fmla="*/ 1157492 h 1939126"/>
                <a:gd name="connsiteX78" fmla="*/ 2425311 w 5112413"/>
                <a:gd name="connsiteY78" fmla="*/ 1157492 h 1939126"/>
                <a:gd name="connsiteX79" fmla="*/ 2425311 w 5112413"/>
                <a:gd name="connsiteY79" fmla="*/ 1176191 h 1939126"/>
                <a:gd name="connsiteX80" fmla="*/ 2442140 w 5112413"/>
                <a:gd name="connsiteY80" fmla="*/ 1176191 h 1939126"/>
                <a:gd name="connsiteX81" fmla="*/ 2442140 w 5112413"/>
                <a:gd name="connsiteY81" fmla="*/ 1224810 h 1939126"/>
                <a:gd name="connsiteX82" fmla="*/ 2464580 w 5112413"/>
                <a:gd name="connsiteY82" fmla="*/ 1224810 h 1939126"/>
                <a:gd name="connsiteX83" fmla="*/ 2464580 w 5112413"/>
                <a:gd name="connsiteY83" fmla="*/ 1237899 h 1939126"/>
                <a:gd name="connsiteX84" fmla="*/ 2604825 w 5112413"/>
                <a:gd name="connsiteY84" fmla="*/ 1237899 h 1939126"/>
                <a:gd name="connsiteX85" fmla="*/ 2604825 w 5112413"/>
                <a:gd name="connsiteY85" fmla="*/ 1258469 h 1939126"/>
                <a:gd name="connsiteX86" fmla="*/ 2797429 w 5112413"/>
                <a:gd name="connsiteY86" fmla="*/ 1258469 h 1939126"/>
                <a:gd name="connsiteX87" fmla="*/ 2797429 w 5112413"/>
                <a:gd name="connsiteY87" fmla="*/ 1292127 h 1939126"/>
                <a:gd name="connsiteX88" fmla="*/ 2823608 w 5112413"/>
                <a:gd name="connsiteY88" fmla="*/ 1292127 h 1939126"/>
                <a:gd name="connsiteX89" fmla="*/ 2823608 w 5112413"/>
                <a:gd name="connsiteY89" fmla="*/ 1312697 h 1939126"/>
                <a:gd name="connsiteX90" fmla="*/ 3018081 w 5112413"/>
                <a:gd name="connsiteY90" fmla="*/ 1312697 h 1939126"/>
                <a:gd name="connsiteX91" fmla="*/ 3018081 w 5112413"/>
                <a:gd name="connsiteY91" fmla="*/ 1340746 h 1939126"/>
                <a:gd name="connsiteX92" fmla="*/ 3091009 w 5112413"/>
                <a:gd name="connsiteY92" fmla="*/ 1340746 h 1939126"/>
                <a:gd name="connsiteX93" fmla="*/ 3091009 w 5112413"/>
                <a:gd name="connsiteY93" fmla="*/ 1357575 h 1939126"/>
                <a:gd name="connsiteX94" fmla="*/ 3186376 w 5112413"/>
                <a:gd name="connsiteY94" fmla="*/ 1357575 h 1939126"/>
                <a:gd name="connsiteX95" fmla="*/ 3186376 w 5112413"/>
                <a:gd name="connsiteY95" fmla="*/ 1393104 h 1939126"/>
                <a:gd name="connsiteX96" fmla="*/ 3223775 w 5112413"/>
                <a:gd name="connsiteY96" fmla="*/ 1393104 h 1939126"/>
                <a:gd name="connsiteX97" fmla="*/ 3223775 w 5112413"/>
                <a:gd name="connsiteY97" fmla="*/ 1417413 h 1939126"/>
                <a:gd name="connsiteX98" fmla="*/ 3287353 w 5112413"/>
                <a:gd name="connsiteY98" fmla="*/ 1417413 h 1939126"/>
                <a:gd name="connsiteX99" fmla="*/ 3287353 w 5112413"/>
                <a:gd name="connsiteY99" fmla="*/ 1439853 h 1939126"/>
                <a:gd name="connsiteX100" fmla="*/ 3522965 w 5112413"/>
                <a:gd name="connsiteY100" fmla="*/ 1439853 h 1939126"/>
                <a:gd name="connsiteX101" fmla="*/ 3522965 w 5112413"/>
                <a:gd name="connsiteY101" fmla="*/ 1462292 h 1939126"/>
                <a:gd name="connsiteX102" fmla="*/ 3575323 w 5112413"/>
                <a:gd name="connsiteY102" fmla="*/ 1462292 h 1939126"/>
                <a:gd name="connsiteX103" fmla="*/ 3575323 w 5112413"/>
                <a:gd name="connsiteY103" fmla="*/ 1531480 h 1939126"/>
                <a:gd name="connsiteX104" fmla="*/ 3594022 w 5112413"/>
                <a:gd name="connsiteY104" fmla="*/ 1531480 h 1939126"/>
                <a:gd name="connsiteX105" fmla="*/ 3594022 w 5112413"/>
                <a:gd name="connsiteY105" fmla="*/ 1572618 h 1939126"/>
                <a:gd name="connsiteX106" fmla="*/ 3779146 w 5112413"/>
                <a:gd name="connsiteY106" fmla="*/ 1572618 h 1939126"/>
                <a:gd name="connsiteX107" fmla="*/ 3779146 w 5112413"/>
                <a:gd name="connsiteY107" fmla="*/ 1596927 h 1939126"/>
                <a:gd name="connsiteX108" fmla="*/ 3913782 w 5112413"/>
                <a:gd name="connsiteY108" fmla="*/ 1596927 h 1939126"/>
                <a:gd name="connsiteX109" fmla="*/ 3913782 w 5112413"/>
                <a:gd name="connsiteY109" fmla="*/ 1694164 h 1939126"/>
                <a:gd name="connsiteX110" fmla="*/ 3949311 w 5112413"/>
                <a:gd name="connsiteY110" fmla="*/ 1694164 h 1939126"/>
                <a:gd name="connsiteX111" fmla="*/ 3949311 w 5112413"/>
                <a:gd name="connsiteY111" fmla="*/ 1735303 h 1939126"/>
                <a:gd name="connsiteX112" fmla="*/ 3981100 w 5112413"/>
                <a:gd name="connsiteY112" fmla="*/ 1735303 h 1939126"/>
                <a:gd name="connsiteX113" fmla="*/ 3981100 w 5112413"/>
                <a:gd name="connsiteY113" fmla="*/ 1761482 h 1939126"/>
                <a:gd name="connsiteX114" fmla="*/ 4132565 w 5112413"/>
                <a:gd name="connsiteY114" fmla="*/ 1761482 h 1939126"/>
                <a:gd name="connsiteX115" fmla="*/ 4132565 w 5112413"/>
                <a:gd name="connsiteY115" fmla="*/ 1795141 h 1939126"/>
                <a:gd name="connsiteX116" fmla="*/ 4261591 w 5112413"/>
                <a:gd name="connsiteY116" fmla="*/ 1795141 h 1939126"/>
                <a:gd name="connsiteX117" fmla="*/ 4261591 w 5112413"/>
                <a:gd name="connsiteY117" fmla="*/ 1823190 h 1939126"/>
                <a:gd name="connsiteX118" fmla="*/ 4332648 w 5112413"/>
                <a:gd name="connsiteY118" fmla="*/ 1823190 h 1939126"/>
                <a:gd name="connsiteX119" fmla="*/ 4332648 w 5112413"/>
                <a:gd name="connsiteY119" fmla="*/ 1875548 h 1939126"/>
                <a:gd name="connsiteX120" fmla="*/ 4405576 w 5112413"/>
                <a:gd name="connsiteY120" fmla="*/ 1875548 h 1939126"/>
                <a:gd name="connsiteX121" fmla="*/ 4405576 w 5112413"/>
                <a:gd name="connsiteY121" fmla="*/ 1935386 h 1939126"/>
                <a:gd name="connsiteX122" fmla="*/ 5112413 w 5112413"/>
                <a:gd name="connsiteY122" fmla="*/ 1939126 h 1939126"/>
                <a:gd name="connsiteX0" fmla="*/ 0 w 5112413"/>
                <a:gd name="connsiteY0" fmla="*/ 0 h 1939126"/>
                <a:gd name="connsiteX1" fmla="*/ 0 w 5112413"/>
                <a:gd name="connsiteY1" fmla="*/ 140245 h 1939126"/>
                <a:gd name="connsiteX2" fmla="*/ 86018 w 5112413"/>
                <a:gd name="connsiteY2" fmla="*/ 140245 h 1939126"/>
                <a:gd name="connsiteX3" fmla="*/ 86018 w 5112413"/>
                <a:gd name="connsiteY3" fmla="*/ 162685 h 1939126"/>
                <a:gd name="connsiteX4" fmla="*/ 100977 w 5112413"/>
                <a:gd name="connsiteY4" fmla="*/ 162685 h 1939126"/>
                <a:gd name="connsiteX5" fmla="*/ 100977 w 5112413"/>
                <a:gd name="connsiteY5" fmla="*/ 170164 h 1939126"/>
                <a:gd name="connsiteX6" fmla="*/ 132766 w 5112413"/>
                <a:gd name="connsiteY6" fmla="*/ 170164 h 1939126"/>
                <a:gd name="connsiteX7" fmla="*/ 132766 w 5112413"/>
                <a:gd name="connsiteY7" fmla="*/ 183254 h 1939126"/>
                <a:gd name="connsiteX8" fmla="*/ 158945 w 5112413"/>
                <a:gd name="connsiteY8" fmla="*/ 183254 h 1939126"/>
                <a:gd name="connsiteX9" fmla="*/ 158945 w 5112413"/>
                <a:gd name="connsiteY9" fmla="*/ 201953 h 1939126"/>
                <a:gd name="connsiteX10" fmla="*/ 183254 w 5112413"/>
                <a:gd name="connsiteY10" fmla="*/ 201953 h 1939126"/>
                <a:gd name="connsiteX11" fmla="*/ 183254 w 5112413"/>
                <a:gd name="connsiteY11" fmla="*/ 213173 h 1939126"/>
                <a:gd name="connsiteX12" fmla="*/ 261792 w 5112413"/>
                <a:gd name="connsiteY12" fmla="*/ 213173 h 1939126"/>
                <a:gd name="connsiteX13" fmla="*/ 261792 w 5112413"/>
                <a:gd name="connsiteY13" fmla="*/ 267401 h 1939126"/>
                <a:gd name="connsiteX14" fmla="*/ 409517 w 5112413"/>
                <a:gd name="connsiteY14" fmla="*/ 267401 h 1939126"/>
                <a:gd name="connsiteX15" fmla="*/ 409517 w 5112413"/>
                <a:gd name="connsiteY15" fmla="*/ 289840 h 1939126"/>
                <a:gd name="connsiteX16" fmla="*/ 510494 w 5112413"/>
                <a:gd name="connsiteY16" fmla="*/ 289840 h 1939126"/>
                <a:gd name="connsiteX17" fmla="*/ 510494 w 5112413"/>
                <a:gd name="connsiteY17" fmla="*/ 336589 h 1939126"/>
                <a:gd name="connsiteX18" fmla="*/ 546022 w 5112413"/>
                <a:gd name="connsiteY18" fmla="*/ 336589 h 1939126"/>
                <a:gd name="connsiteX19" fmla="*/ 546022 w 5112413"/>
                <a:gd name="connsiteY19" fmla="*/ 405777 h 1939126"/>
                <a:gd name="connsiteX20" fmla="*/ 693748 w 5112413"/>
                <a:gd name="connsiteY20" fmla="*/ 405777 h 1939126"/>
                <a:gd name="connsiteX21" fmla="*/ 693748 w 5112413"/>
                <a:gd name="connsiteY21" fmla="*/ 416996 h 1939126"/>
                <a:gd name="connsiteX22" fmla="*/ 757326 w 5112413"/>
                <a:gd name="connsiteY22" fmla="*/ 416996 h 1939126"/>
                <a:gd name="connsiteX23" fmla="*/ 757326 w 5112413"/>
                <a:gd name="connsiteY23" fmla="*/ 437565 h 1939126"/>
                <a:gd name="connsiteX24" fmla="*/ 856432 w 5112413"/>
                <a:gd name="connsiteY24" fmla="*/ 437565 h 1939126"/>
                <a:gd name="connsiteX25" fmla="*/ 856432 w 5112413"/>
                <a:gd name="connsiteY25" fmla="*/ 452525 h 1939126"/>
                <a:gd name="connsiteX26" fmla="*/ 901311 w 5112413"/>
                <a:gd name="connsiteY26" fmla="*/ 452525 h 1939126"/>
                <a:gd name="connsiteX27" fmla="*/ 901311 w 5112413"/>
                <a:gd name="connsiteY27" fmla="*/ 538542 h 1939126"/>
                <a:gd name="connsiteX28" fmla="*/ 929360 w 5112413"/>
                <a:gd name="connsiteY28" fmla="*/ 538542 h 1939126"/>
                <a:gd name="connsiteX29" fmla="*/ 929360 w 5112413"/>
                <a:gd name="connsiteY29" fmla="*/ 587161 h 1939126"/>
                <a:gd name="connsiteX30" fmla="*/ 951799 w 5112413"/>
                <a:gd name="connsiteY30" fmla="*/ 587161 h 1939126"/>
                <a:gd name="connsiteX31" fmla="*/ 951799 w 5112413"/>
                <a:gd name="connsiteY31" fmla="*/ 618950 h 1939126"/>
                <a:gd name="connsiteX32" fmla="*/ 996678 w 5112413"/>
                <a:gd name="connsiteY32" fmla="*/ 618950 h 1939126"/>
                <a:gd name="connsiteX33" fmla="*/ 996678 w 5112413"/>
                <a:gd name="connsiteY33" fmla="*/ 633909 h 1939126"/>
                <a:gd name="connsiteX34" fmla="*/ 1067735 w 5112413"/>
                <a:gd name="connsiteY34" fmla="*/ 633909 h 1939126"/>
                <a:gd name="connsiteX35" fmla="*/ 1067735 w 5112413"/>
                <a:gd name="connsiteY35" fmla="*/ 643259 h 1939126"/>
                <a:gd name="connsiteX36" fmla="*/ 1125703 w 5112413"/>
                <a:gd name="connsiteY36" fmla="*/ 641389 h 1939126"/>
                <a:gd name="connsiteX37" fmla="*/ 1125703 w 5112413"/>
                <a:gd name="connsiteY37" fmla="*/ 661958 h 1939126"/>
                <a:gd name="connsiteX38" fmla="*/ 1269689 w 5112413"/>
                <a:gd name="connsiteY38" fmla="*/ 658218 h 1939126"/>
                <a:gd name="connsiteX39" fmla="*/ 1269689 w 5112413"/>
                <a:gd name="connsiteY39" fmla="*/ 708707 h 1939126"/>
                <a:gd name="connsiteX40" fmla="*/ 1305218 w 5112413"/>
                <a:gd name="connsiteY40" fmla="*/ 708707 h 1939126"/>
                <a:gd name="connsiteX41" fmla="*/ 1305218 w 5112413"/>
                <a:gd name="connsiteY41" fmla="*/ 755455 h 1939126"/>
                <a:gd name="connsiteX42" fmla="*/ 1350096 w 5112413"/>
                <a:gd name="connsiteY42" fmla="*/ 755455 h 1939126"/>
                <a:gd name="connsiteX43" fmla="*/ 1350096 w 5112413"/>
                <a:gd name="connsiteY43" fmla="*/ 772285 h 1939126"/>
                <a:gd name="connsiteX44" fmla="*/ 1406194 w 5112413"/>
                <a:gd name="connsiteY44" fmla="*/ 772285 h 1939126"/>
                <a:gd name="connsiteX45" fmla="*/ 1406194 w 5112413"/>
                <a:gd name="connsiteY45" fmla="*/ 796594 h 1939126"/>
                <a:gd name="connsiteX46" fmla="*/ 1456683 w 5112413"/>
                <a:gd name="connsiteY46" fmla="*/ 796594 h 1939126"/>
                <a:gd name="connsiteX47" fmla="*/ 1456683 w 5112413"/>
                <a:gd name="connsiteY47" fmla="*/ 811553 h 1939126"/>
                <a:gd name="connsiteX48" fmla="*/ 1488472 w 5112413"/>
                <a:gd name="connsiteY48" fmla="*/ 811553 h 1939126"/>
                <a:gd name="connsiteX49" fmla="*/ 1488472 w 5112413"/>
                <a:gd name="connsiteY49" fmla="*/ 822773 h 1939126"/>
                <a:gd name="connsiteX50" fmla="*/ 1653026 w 5112413"/>
                <a:gd name="connsiteY50" fmla="*/ 822773 h 1939126"/>
                <a:gd name="connsiteX51" fmla="*/ 1653026 w 5112413"/>
                <a:gd name="connsiteY51" fmla="*/ 899440 h 1939126"/>
                <a:gd name="connsiteX52" fmla="*/ 1681075 w 5112413"/>
                <a:gd name="connsiteY52" fmla="*/ 899440 h 1939126"/>
                <a:gd name="connsiteX53" fmla="*/ 1681075 w 5112413"/>
                <a:gd name="connsiteY53" fmla="*/ 936839 h 1939126"/>
                <a:gd name="connsiteX54" fmla="*/ 1705384 w 5112413"/>
                <a:gd name="connsiteY54" fmla="*/ 936839 h 1939126"/>
                <a:gd name="connsiteX55" fmla="*/ 1705384 w 5112413"/>
                <a:gd name="connsiteY55" fmla="*/ 957408 h 1939126"/>
                <a:gd name="connsiteX56" fmla="*/ 1791402 w 5112413"/>
                <a:gd name="connsiteY56" fmla="*/ 957408 h 1939126"/>
                <a:gd name="connsiteX57" fmla="*/ 1791402 w 5112413"/>
                <a:gd name="connsiteY57" fmla="*/ 966758 h 1939126"/>
                <a:gd name="connsiteX58" fmla="*/ 1834410 w 5112413"/>
                <a:gd name="connsiteY58" fmla="*/ 966758 h 1939126"/>
                <a:gd name="connsiteX59" fmla="*/ 1834410 w 5112413"/>
                <a:gd name="connsiteY59" fmla="*/ 983588 h 1939126"/>
                <a:gd name="connsiteX60" fmla="*/ 1881159 w 5112413"/>
                <a:gd name="connsiteY60" fmla="*/ 983588 h 1939126"/>
                <a:gd name="connsiteX61" fmla="*/ 1881159 w 5112413"/>
                <a:gd name="connsiteY61" fmla="*/ 996677 h 1939126"/>
                <a:gd name="connsiteX62" fmla="*/ 1918557 w 5112413"/>
                <a:gd name="connsiteY62" fmla="*/ 996677 h 1939126"/>
                <a:gd name="connsiteX63" fmla="*/ 1918557 w 5112413"/>
                <a:gd name="connsiteY63" fmla="*/ 1009767 h 1939126"/>
                <a:gd name="connsiteX64" fmla="*/ 2032624 w 5112413"/>
                <a:gd name="connsiteY64" fmla="*/ 1009767 h 1939126"/>
                <a:gd name="connsiteX65" fmla="*/ 2032624 w 5112413"/>
                <a:gd name="connsiteY65" fmla="*/ 1056515 h 1939126"/>
                <a:gd name="connsiteX66" fmla="*/ 2079372 w 5112413"/>
                <a:gd name="connsiteY66" fmla="*/ 1056515 h 1939126"/>
                <a:gd name="connsiteX67" fmla="*/ 2079372 w 5112413"/>
                <a:gd name="connsiteY67" fmla="*/ 1103264 h 1939126"/>
                <a:gd name="connsiteX68" fmla="*/ 2092462 w 5112413"/>
                <a:gd name="connsiteY68" fmla="*/ 1103264 h 1939126"/>
                <a:gd name="connsiteX69" fmla="*/ 2092462 w 5112413"/>
                <a:gd name="connsiteY69" fmla="*/ 1108873 h 1939126"/>
                <a:gd name="connsiteX70" fmla="*/ 2185959 w 5112413"/>
                <a:gd name="connsiteY70" fmla="*/ 1108873 h 1939126"/>
                <a:gd name="connsiteX71" fmla="*/ 2185959 w 5112413"/>
                <a:gd name="connsiteY71" fmla="*/ 1121963 h 1939126"/>
                <a:gd name="connsiteX72" fmla="*/ 2204658 w 5112413"/>
                <a:gd name="connsiteY72" fmla="*/ 1121963 h 1939126"/>
                <a:gd name="connsiteX73" fmla="*/ 2204658 w 5112413"/>
                <a:gd name="connsiteY73" fmla="*/ 1121963 h 1939126"/>
                <a:gd name="connsiteX74" fmla="*/ 2322464 w 5112413"/>
                <a:gd name="connsiteY74" fmla="*/ 1121963 h 1939126"/>
                <a:gd name="connsiteX75" fmla="*/ 2322464 w 5112413"/>
                <a:gd name="connsiteY75" fmla="*/ 1144402 h 1939126"/>
                <a:gd name="connsiteX76" fmla="*/ 2408481 w 5112413"/>
                <a:gd name="connsiteY76" fmla="*/ 1144402 h 1939126"/>
                <a:gd name="connsiteX77" fmla="*/ 2408481 w 5112413"/>
                <a:gd name="connsiteY77" fmla="*/ 1157492 h 1939126"/>
                <a:gd name="connsiteX78" fmla="*/ 2425311 w 5112413"/>
                <a:gd name="connsiteY78" fmla="*/ 1157492 h 1939126"/>
                <a:gd name="connsiteX79" fmla="*/ 2425311 w 5112413"/>
                <a:gd name="connsiteY79" fmla="*/ 1176191 h 1939126"/>
                <a:gd name="connsiteX80" fmla="*/ 2442140 w 5112413"/>
                <a:gd name="connsiteY80" fmla="*/ 1176191 h 1939126"/>
                <a:gd name="connsiteX81" fmla="*/ 2442140 w 5112413"/>
                <a:gd name="connsiteY81" fmla="*/ 1224810 h 1939126"/>
                <a:gd name="connsiteX82" fmla="*/ 2464580 w 5112413"/>
                <a:gd name="connsiteY82" fmla="*/ 1224810 h 1939126"/>
                <a:gd name="connsiteX83" fmla="*/ 2464580 w 5112413"/>
                <a:gd name="connsiteY83" fmla="*/ 1237899 h 1939126"/>
                <a:gd name="connsiteX84" fmla="*/ 2604825 w 5112413"/>
                <a:gd name="connsiteY84" fmla="*/ 1237899 h 1939126"/>
                <a:gd name="connsiteX85" fmla="*/ 2604825 w 5112413"/>
                <a:gd name="connsiteY85" fmla="*/ 1258469 h 1939126"/>
                <a:gd name="connsiteX86" fmla="*/ 2797429 w 5112413"/>
                <a:gd name="connsiteY86" fmla="*/ 1258469 h 1939126"/>
                <a:gd name="connsiteX87" fmla="*/ 2797429 w 5112413"/>
                <a:gd name="connsiteY87" fmla="*/ 1292127 h 1939126"/>
                <a:gd name="connsiteX88" fmla="*/ 2823608 w 5112413"/>
                <a:gd name="connsiteY88" fmla="*/ 1292127 h 1939126"/>
                <a:gd name="connsiteX89" fmla="*/ 2823608 w 5112413"/>
                <a:gd name="connsiteY89" fmla="*/ 1312697 h 1939126"/>
                <a:gd name="connsiteX90" fmla="*/ 3018081 w 5112413"/>
                <a:gd name="connsiteY90" fmla="*/ 1312697 h 1939126"/>
                <a:gd name="connsiteX91" fmla="*/ 3018081 w 5112413"/>
                <a:gd name="connsiteY91" fmla="*/ 1340746 h 1939126"/>
                <a:gd name="connsiteX92" fmla="*/ 3091009 w 5112413"/>
                <a:gd name="connsiteY92" fmla="*/ 1340746 h 1939126"/>
                <a:gd name="connsiteX93" fmla="*/ 3091009 w 5112413"/>
                <a:gd name="connsiteY93" fmla="*/ 1357575 h 1939126"/>
                <a:gd name="connsiteX94" fmla="*/ 3186376 w 5112413"/>
                <a:gd name="connsiteY94" fmla="*/ 1357575 h 1939126"/>
                <a:gd name="connsiteX95" fmla="*/ 3186376 w 5112413"/>
                <a:gd name="connsiteY95" fmla="*/ 1393104 h 1939126"/>
                <a:gd name="connsiteX96" fmla="*/ 3223775 w 5112413"/>
                <a:gd name="connsiteY96" fmla="*/ 1393104 h 1939126"/>
                <a:gd name="connsiteX97" fmla="*/ 3223775 w 5112413"/>
                <a:gd name="connsiteY97" fmla="*/ 1417413 h 1939126"/>
                <a:gd name="connsiteX98" fmla="*/ 3287353 w 5112413"/>
                <a:gd name="connsiteY98" fmla="*/ 1417413 h 1939126"/>
                <a:gd name="connsiteX99" fmla="*/ 3287353 w 5112413"/>
                <a:gd name="connsiteY99" fmla="*/ 1439853 h 1939126"/>
                <a:gd name="connsiteX100" fmla="*/ 3522965 w 5112413"/>
                <a:gd name="connsiteY100" fmla="*/ 1439853 h 1939126"/>
                <a:gd name="connsiteX101" fmla="*/ 3522965 w 5112413"/>
                <a:gd name="connsiteY101" fmla="*/ 1462292 h 1939126"/>
                <a:gd name="connsiteX102" fmla="*/ 3575323 w 5112413"/>
                <a:gd name="connsiteY102" fmla="*/ 1462292 h 1939126"/>
                <a:gd name="connsiteX103" fmla="*/ 3575323 w 5112413"/>
                <a:gd name="connsiteY103" fmla="*/ 1531480 h 1939126"/>
                <a:gd name="connsiteX104" fmla="*/ 3594022 w 5112413"/>
                <a:gd name="connsiteY104" fmla="*/ 1531480 h 1939126"/>
                <a:gd name="connsiteX105" fmla="*/ 3594022 w 5112413"/>
                <a:gd name="connsiteY105" fmla="*/ 1572618 h 1939126"/>
                <a:gd name="connsiteX106" fmla="*/ 3779146 w 5112413"/>
                <a:gd name="connsiteY106" fmla="*/ 1572618 h 1939126"/>
                <a:gd name="connsiteX107" fmla="*/ 3779146 w 5112413"/>
                <a:gd name="connsiteY107" fmla="*/ 1596927 h 1939126"/>
                <a:gd name="connsiteX108" fmla="*/ 3913782 w 5112413"/>
                <a:gd name="connsiteY108" fmla="*/ 1596927 h 1939126"/>
                <a:gd name="connsiteX109" fmla="*/ 3913782 w 5112413"/>
                <a:gd name="connsiteY109" fmla="*/ 1694164 h 1939126"/>
                <a:gd name="connsiteX110" fmla="*/ 3949311 w 5112413"/>
                <a:gd name="connsiteY110" fmla="*/ 1694164 h 1939126"/>
                <a:gd name="connsiteX111" fmla="*/ 3949311 w 5112413"/>
                <a:gd name="connsiteY111" fmla="*/ 1735303 h 1939126"/>
                <a:gd name="connsiteX112" fmla="*/ 3981100 w 5112413"/>
                <a:gd name="connsiteY112" fmla="*/ 1735303 h 1939126"/>
                <a:gd name="connsiteX113" fmla="*/ 3981100 w 5112413"/>
                <a:gd name="connsiteY113" fmla="*/ 1761482 h 1939126"/>
                <a:gd name="connsiteX114" fmla="*/ 4132565 w 5112413"/>
                <a:gd name="connsiteY114" fmla="*/ 1761482 h 1939126"/>
                <a:gd name="connsiteX115" fmla="*/ 4132565 w 5112413"/>
                <a:gd name="connsiteY115" fmla="*/ 1795141 h 1939126"/>
                <a:gd name="connsiteX116" fmla="*/ 4261591 w 5112413"/>
                <a:gd name="connsiteY116" fmla="*/ 1795141 h 1939126"/>
                <a:gd name="connsiteX117" fmla="*/ 4261591 w 5112413"/>
                <a:gd name="connsiteY117" fmla="*/ 1823190 h 1939126"/>
                <a:gd name="connsiteX118" fmla="*/ 4332648 w 5112413"/>
                <a:gd name="connsiteY118" fmla="*/ 1823190 h 1939126"/>
                <a:gd name="connsiteX119" fmla="*/ 4332648 w 5112413"/>
                <a:gd name="connsiteY119" fmla="*/ 1875548 h 1939126"/>
                <a:gd name="connsiteX120" fmla="*/ 4405576 w 5112413"/>
                <a:gd name="connsiteY120" fmla="*/ 1875548 h 1939126"/>
                <a:gd name="connsiteX121" fmla="*/ 4405576 w 5112413"/>
                <a:gd name="connsiteY121" fmla="*/ 1935386 h 1939126"/>
                <a:gd name="connsiteX122" fmla="*/ 5112413 w 5112413"/>
                <a:gd name="connsiteY122" fmla="*/ 1939126 h 1939126"/>
                <a:gd name="connsiteX0" fmla="*/ 0 w 5112413"/>
                <a:gd name="connsiteY0" fmla="*/ 0 h 1939126"/>
                <a:gd name="connsiteX1" fmla="*/ 0 w 5112413"/>
                <a:gd name="connsiteY1" fmla="*/ 140245 h 1939126"/>
                <a:gd name="connsiteX2" fmla="*/ 86018 w 5112413"/>
                <a:gd name="connsiteY2" fmla="*/ 140245 h 1939126"/>
                <a:gd name="connsiteX3" fmla="*/ 86018 w 5112413"/>
                <a:gd name="connsiteY3" fmla="*/ 162685 h 1939126"/>
                <a:gd name="connsiteX4" fmla="*/ 100977 w 5112413"/>
                <a:gd name="connsiteY4" fmla="*/ 162685 h 1939126"/>
                <a:gd name="connsiteX5" fmla="*/ 100977 w 5112413"/>
                <a:gd name="connsiteY5" fmla="*/ 170164 h 1939126"/>
                <a:gd name="connsiteX6" fmla="*/ 132766 w 5112413"/>
                <a:gd name="connsiteY6" fmla="*/ 170164 h 1939126"/>
                <a:gd name="connsiteX7" fmla="*/ 132766 w 5112413"/>
                <a:gd name="connsiteY7" fmla="*/ 183254 h 1939126"/>
                <a:gd name="connsiteX8" fmla="*/ 158945 w 5112413"/>
                <a:gd name="connsiteY8" fmla="*/ 183254 h 1939126"/>
                <a:gd name="connsiteX9" fmla="*/ 158945 w 5112413"/>
                <a:gd name="connsiteY9" fmla="*/ 201953 h 1939126"/>
                <a:gd name="connsiteX10" fmla="*/ 183254 w 5112413"/>
                <a:gd name="connsiteY10" fmla="*/ 201953 h 1939126"/>
                <a:gd name="connsiteX11" fmla="*/ 183254 w 5112413"/>
                <a:gd name="connsiteY11" fmla="*/ 213173 h 1939126"/>
                <a:gd name="connsiteX12" fmla="*/ 261792 w 5112413"/>
                <a:gd name="connsiteY12" fmla="*/ 213173 h 1939126"/>
                <a:gd name="connsiteX13" fmla="*/ 261792 w 5112413"/>
                <a:gd name="connsiteY13" fmla="*/ 267401 h 1939126"/>
                <a:gd name="connsiteX14" fmla="*/ 409517 w 5112413"/>
                <a:gd name="connsiteY14" fmla="*/ 267401 h 1939126"/>
                <a:gd name="connsiteX15" fmla="*/ 409517 w 5112413"/>
                <a:gd name="connsiteY15" fmla="*/ 289840 h 1939126"/>
                <a:gd name="connsiteX16" fmla="*/ 510494 w 5112413"/>
                <a:gd name="connsiteY16" fmla="*/ 289840 h 1939126"/>
                <a:gd name="connsiteX17" fmla="*/ 510494 w 5112413"/>
                <a:gd name="connsiteY17" fmla="*/ 336589 h 1939126"/>
                <a:gd name="connsiteX18" fmla="*/ 546022 w 5112413"/>
                <a:gd name="connsiteY18" fmla="*/ 336589 h 1939126"/>
                <a:gd name="connsiteX19" fmla="*/ 546022 w 5112413"/>
                <a:gd name="connsiteY19" fmla="*/ 405777 h 1939126"/>
                <a:gd name="connsiteX20" fmla="*/ 693748 w 5112413"/>
                <a:gd name="connsiteY20" fmla="*/ 405777 h 1939126"/>
                <a:gd name="connsiteX21" fmla="*/ 693748 w 5112413"/>
                <a:gd name="connsiteY21" fmla="*/ 416996 h 1939126"/>
                <a:gd name="connsiteX22" fmla="*/ 757326 w 5112413"/>
                <a:gd name="connsiteY22" fmla="*/ 416996 h 1939126"/>
                <a:gd name="connsiteX23" fmla="*/ 757326 w 5112413"/>
                <a:gd name="connsiteY23" fmla="*/ 437565 h 1939126"/>
                <a:gd name="connsiteX24" fmla="*/ 856432 w 5112413"/>
                <a:gd name="connsiteY24" fmla="*/ 437565 h 1939126"/>
                <a:gd name="connsiteX25" fmla="*/ 856432 w 5112413"/>
                <a:gd name="connsiteY25" fmla="*/ 452525 h 1939126"/>
                <a:gd name="connsiteX26" fmla="*/ 901311 w 5112413"/>
                <a:gd name="connsiteY26" fmla="*/ 452525 h 1939126"/>
                <a:gd name="connsiteX27" fmla="*/ 901311 w 5112413"/>
                <a:gd name="connsiteY27" fmla="*/ 538542 h 1939126"/>
                <a:gd name="connsiteX28" fmla="*/ 929360 w 5112413"/>
                <a:gd name="connsiteY28" fmla="*/ 538542 h 1939126"/>
                <a:gd name="connsiteX29" fmla="*/ 929360 w 5112413"/>
                <a:gd name="connsiteY29" fmla="*/ 587161 h 1939126"/>
                <a:gd name="connsiteX30" fmla="*/ 951799 w 5112413"/>
                <a:gd name="connsiteY30" fmla="*/ 587161 h 1939126"/>
                <a:gd name="connsiteX31" fmla="*/ 951799 w 5112413"/>
                <a:gd name="connsiteY31" fmla="*/ 618950 h 1939126"/>
                <a:gd name="connsiteX32" fmla="*/ 996678 w 5112413"/>
                <a:gd name="connsiteY32" fmla="*/ 618950 h 1939126"/>
                <a:gd name="connsiteX33" fmla="*/ 996678 w 5112413"/>
                <a:gd name="connsiteY33" fmla="*/ 633909 h 1939126"/>
                <a:gd name="connsiteX34" fmla="*/ 1067735 w 5112413"/>
                <a:gd name="connsiteY34" fmla="*/ 633909 h 1939126"/>
                <a:gd name="connsiteX35" fmla="*/ 1067735 w 5112413"/>
                <a:gd name="connsiteY35" fmla="*/ 643259 h 1939126"/>
                <a:gd name="connsiteX36" fmla="*/ 1125703 w 5112413"/>
                <a:gd name="connsiteY36" fmla="*/ 641389 h 1939126"/>
                <a:gd name="connsiteX37" fmla="*/ 1125703 w 5112413"/>
                <a:gd name="connsiteY37" fmla="*/ 661958 h 1939126"/>
                <a:gd name="connsiteX38" fmla="*/ 1271559 w 5112413"/>
                <a:gd name="connsiteY38" fmla="*/ 665698 h 1939126"/>
                <a:gd name="connsiteX39" fmla="*/ 1269689 w 5112413"/>
                <a:gd name="connsiteY39" fmla="*/ 708707 h 1939126"/>
                <a:gd name="connsiteX40" fmla="*/ 1305218 w 5112413"/>
                <a:gd name="connsiteY40" fmla="*/ 708707 h 1939126"/>
                <a:gd name="connsiteX41" fmla="*/ 1305218 w 5112413"/>
                <a:gd name="connsiteY41" fmla="*/ 755455 h 1939126"/>
                <a:gd name="connsiteX42" fmla="*/ 1350096 w 5112413"/>
                <a:gd name="connsiteY42" fmla="*/ 755455 h 1939126"/>
                <a:gd name="connsiteX43" fmla="*/ 1350096 w 5112413"/>
                <a:gd name="connsiteY43" fmla="*/ 772285 h 1939126"/>
                <a:gd name="connsiteX44" fmla="*/ 1406194 w 5112413"/>
                <a:gd name="connsiteY44" fmla="*/ 772285 h 1939126"/>
                <a:gd name="connsiteX45" fmla="*/ 1406194 w 5112413"/>
                <a:gd name="connsiteY45" fmla="*/ 796594 h 1939126"/>
                <a:gd name="connsiteX46" fmla="*/ 1456683 w 5112413"/>
                <a:gd name="connsiteY46" fmla="*/ 796594 h 1939126"/>
                <a:gd name="connsiteX47" fmla="*/ 1456683 w 5112413"/>
                <a:gd name="connsiteY47" fmla="*/ 811553 h 1939126"/>
                <a:gd name="connsiteX48" fmla="*/ 1488472 w 5112413"/>
                <a:gd name="connsiteY48" fmla="*/ 811553 h 1939126"/>
                <a:gd name="connsiteX49" fmla="*/ 1488472 w 5112413"/>
                <a:gd name="connsiteY49" fmla="*/ 822773 h 1939126"/>
                <a:gd name="connsiteX50" fmla="*/ 1653026 w 5112413"/>
                <a:gd name="connsiteY50" fmla="*/ 822773 h 1939126"/>
                <a:gd name="connsiteX51" fmla="*/ 1653026 w 5112413"/>
                <a:gd name="connsiteY51" fmla="*/ 899440 h 1939126"/>
                <a:gd name="connsiteX52" fmla="*/ 1681075 w 5112413"/>
                <a:gd name="connsiteY52" fmla="*/ 899440 h 1939126"/>
                <a:gd name="connsiteX53" fmla="*/ 1681075 w 5112413"/>
                <a:gd name="connsiteY53" fmla="*/ 936839 h 1939126"/>
                <a:gd name="connsiteX54" fmla="*/ 1705384 w 5112413"/>
                <a:gd name="connsiteY54" fmla="*/ 936839 h 1939126"/>
                <a:gd name="connsiteX55" fmla="*/ 1705384 w 5112413"/>
                <a:gd name="connsiteY55" fmla="*/ 957408 h 1939126"/>
                <a:gd name="connsiteX56" fmla="*/ 1791402 w 5112413"/>
                <a:gd name="connsiteY56" fmla="*/ 957408 h 1939126"/>
                <a:gd name="connsiteX57" fmla="*/ 1791402 w 5112413"/>
                <a:gd name="connsiteY57" fmla="*/ 966758 h 1939126"/>
                <a:gd name="connsiteX58" fmla="*/ 1834410 w 5112413"/>
                <a:gd name="connsiteY58" fmla="*/ 966758 h 1939126"/>
                <a:gd name="connsiteX59" fmla="*/ 1834410 w 5112413"/>
                <a:gd name="connsiteY59" fmla="*/ 983588 h 1939126"/>
                <a:gd name="connsiteX60" fmla="*/ 1881159 w 5112413"/>
                <a:gd name="connsiteY60" fmla="*/ 983588 h 1939126"/>
                <a:gd name="connsiteX61" fmla="*/ 1881159 w 5112413"/>
                <a:gd name="connsiteY61" fmla="*/ 996677 h 1939126"/>
                <a:gd name="connsiteX62" fmla="*/ 1918557 w 5112413"/>
                <a:gd name="connsiteY62" fmla="*/ 996677 h 1939126"/>
                <a:gd name="connsiteX63" fmla="*/ 1918557 w 5112413"/>
                <a:gd name="connsiteY63" fmla="*/ 1009767 h 1939126"/>
                <a:gd name="connsiteX64" fmla="*/ 2032624 w 5112413"/>
                <a:gd name="connsiteY64" fmla="*/ 1009767 h 1939126"/>
                <a:gd name="connsiteX65" fmla="*/ 2032624 w 5112413"/>
                <a:gd name="connsiteY65" fmla="*/ 1056515 h 1939126"/>
                <a:gd name="connsiteX66" fmla="*/ 2079372 w 5112413"/>
                <a:gd name="connsiteY66" fmla="*/ 1056515 h 1939126"/>
                <a:gd name="connsiteX67" fmla="*/ 2079372 w 5112413"/>
                <a:gd name="connsiteY67" fmla="*/ 1103264 h 1939126"/>
                <a:gd name="connsiteX68" fmla="*/ 2092462 w 5112413"/>
                <a:gd name="connsiteY68" fmla="*/ 1103264 h 1939126"/>
                <a:gd name="connsiteX69" fmla="*/ 2092462 w 5112413"/>
                <a:gd name="connsiteY69" fmla="*/ 1108873 h 1939126"/>
                <a:gd name="connsiteX70" fmla="*/ 2185959 w 5112413"/>
                <a:gd name="connsiteY70" fmla="*/ 1108873 h 1939126"/>
                <a:gd name="connsiteX71" fmla="*/ 2185959 w 5112413"/>
                <a:gd name="connsiteY71" fmla="*/ 1121963 h 1939126"/>
                <a:gd name="connsiteX72" fmla="*/ 2204658 w 5112413"/>
                <a:gd name="connsiteY72" fmla="*/ 1121963 h 1939126"/>
                <a:gd name="connsiteX73" fmla="*/ 2204658 w 5112413"/>
                <a:gd name="connsiteY73" fmla="*/ 1121963 h 1939126"/>
                <a:gd name="connsiteX74" fmla="*/ 2322464 w 5112413"/>
                <a:gd name="connsiteY74" fmla="*/ 1121963 h 1939126"/>
                <a:gd name="connsiteX75" fmla="*/ 2322464 w 5112413"/>
                <a:gd name="connsiteY75" fmla="*/ 1144402 h 1939126"/>
                <a:gd name="connsiteX76" fmla="*/ 2408481 w 5112413"/>
                <a:gd name="connsiteY76" fmla="*/ 1144402 h 1939126"/>
                <a:gd name="connsiteX77" fmla="*/ 2408481 w 5112413"/>
                <a:gd name="connsiteY77" fmla="*/ 1157492 h 1939126"/>
                <a:gd name="connsiteX78" fmla="*/ 2425311 w 5112413"/>
                <a:gd name="connsiteY78" fmla="*/ 1157492 h 1939126"/>
                <a:gd name="connsiteX79" fmla="*/ 2425311 w 5112413"/>
                <a:gd name="connsiteY79" fmla="*/ 1176191 h 1939126"/>
                <a:gd name="connsiteX80" fmla="*/ 2442140 w 5112413"/>
                <a:gd name="connsiteY80" fmla="*/ 1176191 h 1939126"/>
                <a:gd name="connsiteX81" fmla="*/ 2442140 w 5112413"/>
                <a:gd name="connsiteY81" fmla="*/ 1224810 h 1939126"/>
                <a:gd name="connsiteX82" fmla="*/ 2464580 w 5112413"/>
                <a:gd name="connsiteY82" fmla="*/ 1224810 h 1939126"/>
                <a:gd name="connsiteX83" fmla="*/ 2464580 w 5112413"/>
                <a:gd name="connsiteY83" fmla="*/ 1237899 h 1939126"/>
                <a:gd name="connsiteX84" fmla="*/ 2604825 w 5112413"/>
                <a:gd name="connsiteY84" fmla="*/ 1237899 h 1939126"/>
                <a:gd name="connsiteX85" fmla="*/ 2604825 w 5112413"/>
                <a:gd name="connsiteY85" fmla="*/ 1258469 h 1939126"/>
                <a:gd name="connsiteX86" fmla="*/ 2797429 w 5112413"/>
                <a:gd name="connsiteY86" fmla="*/ 1258469 h 1939126"/>
                <a:gd name="connsiteX87" fmla="*/ 2797429 w 5112413"/>
                <a:gd name="connsiteY87" fmla="*/ 1292127 h 1939126"/>
                <a:gd name="connsiteX88" fmla="*/ 2823608 w 5112413"/>
                <a:gd name="connsiteY88" fmla="*/ 1292127 h 1939126"/>
                <a:gd name="connsiteX89" fmla="*/ 2823608 w 5112413"/>
                <a:gd name="connsiteY89" fmla="*/ 1312697 h 1939126"/>
                <a:gd name="connsiteX90" fmla="*/ 3018081 w 5112413"/>
                <a:gd name="connsiteY90" fmla="*/ 1312697 h 1939126"/>
                <a:gd name="connsiteX91" fmla="*/ 3018081 w 5112413"/>
                <a:gd name="connsiteY91" fmla="*/ 1340746 h 1939126"/>
                <a:gd name="connsiteX92" fmla="*/ 3091009 w 5112413"/>
                <a:gd name="connsiteY92" fmla="*/ 1340746 h 1939126"/>
                <a:gd name="connsiteX93" fmla="*/ 3091009 w 5112413"/>
                <a:gd name="connsiteY93" fmla="*/ 1357575 h 1939126"/>
                <a:gd name="connsiteX94" fmla="*/ 3186376 w 5112413"/>
                <a:gd name="connsiteY94" fmla="*/ 1357575 h 1939126"/>
                <a:gd name="connsiteX95" fmla="*/ 3186376 w 5112413"/>
                <a:gd name="connsiteY95" fmla="*/ 1393104 h 1939126"/>
                <a:gd name="connsiteX96" fmla="*/ 3223775 w 5112413"/>
                <a:gd name="connsiteY96" fmla="*/ 1393104 h 1939126"/>
                <a:gd name="connsiteX97" fmla="*/ 3223775 w 5112413"/>
                <a:gd name="connsiteY97" fmla="*/ 1417413 h 1939126"/>
                <a:gd name="connsiteX98" fmla="*/ 3287353 w 5112413"/>
                <a:gd name="connsiteY98" fmla="*/ 1417413 h 1939126"/>
                <a:gd name="connsiteX99" fmla="*/ 3287353 w 5112413"/>
                <a:gd name="connsiteY99" fmla="*/ 1439853 h 1939126"/>
                <a:gd name="connsiteX100" fmla="*/ 3522965 w 5112413"/>
                <a:gd name="connsiteY100" fmla="*/ 1439853 h 1939126"/>
                <a:gd name="connsiteX101" fmla="*/ 3522965 w 5112413"/>
                <a:gd name="connsiteY101" fmla="*/ 1462292 h 1939126"/>
                <a:gd name="connsiteX102" fmla="*/ 3575323 w 5112413"/>
                <a:gd name="connsiteY102" fmla="*/ 1462292 h 1939126"/>
                <a:gd name="connsiteX103" fmla="*/ 3575323 w 5112413"/>
                <a:gd name="connsiteY103" fmla="*/ 1531480 h 1939126"/>
                <a:gd name="connsiteX104" fmla="*/ 3594022 w 5112413"/>
                <a:gd name="connsiteY104" fmla="*/ 1531480 h 1939126"/>
                <a:gd name="connsiteX105" fmla="*/ 3594022 w 5112413"/>
                <a:gd name="connsiteY105" fmla="*/ 1572618 h 1939126"/>
                <a:gd name="connsiteX106" fmla="*/ 3779146 w 5112413"/>
                <a:gd name="connsiteY106" fmla="*/ 1572618 h 1939126"/>
                <a:gd name="connsiteX107" fmla="*/ 3779146 w 5112413"/>
                <a:gd name="connsiteY107" fmla="*/ 1596927 h 1939126"/>
                <a:gd name="connsiteX108" fmla="*/ 3913782 w 5112413"/>
                <a:gd name="connsiteY108" fmla="*/ 1596927 h 1939126"/>
                <a:gd name="connsiteX109" fmla="*/ 3913782 w 5112413"/>
                <a:gd name="connsiteY109" fmla="*/ 1694164 h 1939126"/>
                <a:gd name="connsiteX110" fmla="*/ 3949311 w 5112413"/>
                <a:gd name="connsiteY110" fmla="*/ 1694164 h 1939126"/>
                <a:gd name="connsiteX111" fmla="*/ 3949311 w 5112413"/>
                <a:gd name="connsiteY111" fmla="*/ 1735303 h 1939126"/>
                <a:gd name="connsiteX112" fmla="*/ 3981100 w 5112413"/>
                <a:gd name="connsiteY112" fmla="*/ 1735303 h 1939126"/>
                <a:gd name="connsiteX113" fmla="*/ 3981100 w 5112413"/>
                <a:gd name="connsiteY113" fmla="*/ 1761482 h 1939126"/>
                <a:gd name="connsiteX114" fmla="*/ 4132565 w 5112413"/>
                <a:gd name="connsiteY114" fmla="*/ 1761482 h 1939126"/>
                <a:gd name="connsiteX115" fmla="*/ 4132565 w 5112413"/>
                <a:gd name="connsiteY115" fmla="*/ 1795141 h 1939126"/>
                <a:gd name="connsiteX116" fmla="*/ 4261591 w 5112413"/>
                <a:gd name="connsiteY116" fmla="*/ 1795141 h 1939126"/>
                <a:gd name="connsiteX117" fmla="*/ 4261591 w 5112413"/>
                <a:gd name="connsiteY117" fmla="*/ 1823190 h 1939126"/>
                <a:gd name="connsiteX118" fmla="*/ 4332648 w 5112413"/>
                <a:gd name="connsiteY118" fmla="*/ 1823190 h 1939126"/>
                <a:gd name="connsiteX119" fmla="*/ 4332648 w 5112413"/>
                <a:gd name="connsiteY119" fmla="*/ 1875548 h 1939126"/>
                <a:gd name="connsiteX120" fmla="*/ 4405576 w 5112413"/>
                <a:gd name="connsiteY120" fmla="*/ 1875548 h 1939126"/>
                <a:gd name="connsiteX121" fmla="*/ 4405576 w 5112413"/>
                <a:gd name="connsiteY121" fmla="*/ 1935386 h 1939126"/>
                <a:gd name="connsiteX122" fmla="*/ 5112413 w 5112413"/>
                <a:gd name="connsiteY122" fmla="*/ 1939126 h 193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5112413" h="1939126">
                  <a:moveTo>
                    <a:pt x="0" y="0"/>
                  </a:moveTo>
                  <a:lnTo>
                    <a:pt x="0" y="140245"/>
                  </a:lnTo>
                  <a:lnTo>
                    <a:pt x="86018" y="140245"/>
                  </a:lnTo>
                  <a:lnTo>
                    <a:pt x="86018" y="162685"/>
                  </a:lnTo>
                  <a:lnTo>
                    <a:pt x="100977" y="162685"/>
                  </a:lnTo>
                  <a:lnTo>
                    <a:pt x="100977" y="170164"/>
                  </a:lnTo>
                  <a:lnTo>
                    <a:pt x="132766" y="170164"/>
                  </a:lnTo>
                  <a:lnTo>
                    <a:pt x="132766" y="183254"/>
                  </a:lnTo>
                  <a:lnTo>
                    <a:pt x="158945" y="183254"/>
                  </a:lnTo>
                  <a:lnTo>
                    <a:pt x="158945" y="201953"/>
                  </a:lnTo>
                  <a:lnTo>
                    <a:pt x="183254" y="201953"/>
                  </a:lnTo>
                  <a:lnTo>
                    <a:pt x="183254" y="213173"/>
                  </a:lnTo>
                  <a:lnTo>
                    <a:pt x="261792" y="213173"/>
                  </a:lnTo>
                  <a:lnTo>
                    <a:pt x="261792" y="267401"/>
                  </a:lnTo>
                  <a:lnTo>
                    <a:pt x="409517" y="267401"/>
                  </a:lnTo>
                  <a:lnTo>
                    <a:pt x="409517" y="289840"/>
                  </a:lnTo>
                  <a:lnTo>
                    <a:pt x="510494" y="289840"/>
                  </a:lnTo>
                  <a:lnTo>
                    <a:pt x="510494" y="336589"/>
                  </a:lnTo>
                  <a:lnTo>
                    <a:pt x="546022" y="336589"/>
                  </a:lnTo>
                  <a:lnTo>
                    <a:pt x="546022" y="405777"/>
                  </a:lnTo>
                  <a:lnTo>
                    <a:pt x="693748" y="405777"/>
                  </a:lnTo>
                  <a:lnTo>
                    <a:pt x="693748" y="416996"/>
                  </a:lnTo>
                  <a:lnTo>
                    <a:pt x="757326" y="416996"/>
                  </a:lnTo>
                  <a:lnTo>
                    <a:pt x="757326" y="437565"/>
                  </a:lnTo>
                  <a:lnTo>
                    <a:pt x="856432" y="437565"/>
                  </a:lnTo>
                  <a:lnTo>
                    <a:pt x="856432" y="452525"/>
                  </a:lnTo>
                  <a:lnTo>
                    <a:pt x="901311" y="452525"/>
                  </a:lnTo>
                  <a:lnTo>
                    <a:pt x="901311" y="538542"/>
                  </a:lnTo>
                  <a:lnTo>
                    <a:pt x="929360" y="538542"/>
                  </a:lnTo>
                  <a:lnTo>
                    <a:pt x="929360" y="587161"/>
                  </a:lnTo>
                  <a:lnTo>
                    <a:pt x="951799" y="587161"/>
                  </a:lnTo>
                  <a:lnTo>
                    <a:pt x="951799" y="618950"/>
                  </a:lnTo>
                  <a:lnTo>
                    <a:pt x="996678" y="618950"/>
                  </a:lnTo>
                  <a:lnTo>
                    <a:pt x="996678" y="633909"/>
                  </a:lnTo>
                  <a:lnTo>
                    <a:pt x="1067735" y="633909"/>
                  </a:lnTo>
                  <a:lnTo>
                    <a:pt x="1067735" y="643259"/>
                  </a:lnTo>
                  <a:lnTo>
                    <a:pt x="1125703" y="641389"/>
                  </a:lnTo>
                  <a:lnTo>
                    <a:pt x="1125703" y="661958"/>
                  </a:lnTo>
                  <a:lnTo>
                    <a:pt x="1271559" y="665698"/>
                  </a:lnTo>
                  <a:cubicBezTo>
                    <a:pt x="1270936" y="680034"/>
                    <a:pt x="1270312" y="694371"/>
                    <a:pt x="1269689" y="708707"/>
                  </a:cubicBezTo>
                  <a:lnTo>
                    <a:pt x="1305218" y="708707"/>
                  </a:lnTo>
                  <a:lnTo>
                    <a:pt x="1305218" y="755455"/>
                  </a:lnTo>
                  <a:lnTo>
                    <a:pt x="1350096" y="755455"/>
                  </a:lnTo>
                  <a:lnTo>
                    <a:pt x="1350096" y="772285"/>
                  </a:lnTo>
                  <a:lnTo>
                    <a:pt x="1406194" y="772285"/>
                  </a:lnTo>
                  <a:lnTo>
                    <a:pt x="1406194" y="796594"/>
                  </a:lnTo>
                  <a:lnTo>
                    <a:pt x="1456683" y="796594"/>
                  </a:lnTo>
                  <a:lnTo>
                    <a:pt x="1456683" y="811553"/>
                  </a:lnTo>
                  <a:lnTo>
                    <a:pt x="1488472" y="811553"/>
                  </a:lnTo>
                  <a:lnTo>
                    <a:pt x="1488472" y="822773"/>
                  </a:lnTo>
                  <a:lnTo>
                    <a:pt x="1653026" y="822773"/>
                  </a:lnTo>
                  <a:lnTo>
                    <a:pt x="1653026" y="899440"/>
                  </a:lnTo>
                  <a:lnTo>
                    <a:pt x="1681075" y="899440"/>
                  </a:lnTo>
                  <a:lnTo>
                    <a:pt x="1681075" y="936839"/>
                  </a:lnTo>
                  <a:lnTo>
                    <a:pt x="1705384" y="936839"/>
                  </a:lnTo>
                  <a:lnTo>
                    <a:pt x="1705384" y="957408"/>
                  </a:lnTo>
                  <a:lnTo>
                    <a:pt x="1791402" y="957408"/>
                  </a:lnTo>
                  <a:lnTo>
                    <a:pt x="1791402" y="966758"/>
                  </a:lnTo>
                  <a:lnTo>
                    <a:pt x="1834410" y="966758"/>
                  </a:lnTo>
                  <a:lnTo>
                    <a:pt x="1834410" y="983588"/>
                  </a:lnTo>
                  <a:lnTo>
                    <a:pt x="1881159" y="983588"/>
                  </a:lnTo>
                  <a:lnTo>
                    <a:pt x="1881159" y="996677"/>
                  </a:lnTo>
                  <a:lnTo>
                    <a:pt x="1918557" y="996677"/>
                  </a:lnTo>
                  <a:lnTo>
                    <a:pt x="1918557" y="1009767"/>
                  </a:lnTo>
                  <a:lnTo>
                    <a:pt x="2032624" y="1009767"/>
                  </a:lnTo>
                  <a:lnTo>
                    <a:pt x="2032624" y="1056515"/>
                  </a:lnTo>
                  <a:lnTo>
                    <a:pt x="2079372" y="1056515"/>
                  </a:lnTo>
                  <a:lnTo>
                    <a:pt x="2079372" y="1103264"/>
                  </a:lnTo>
                  <a:lnTo>
                    <a:pt x="2092462" y="1103264"/>
                  </a:lnTo>
                  <a:lnTo>
                    <a:pt x="2092462" y="1108873"/>
                  </a:lnTo>
                  <a:lnTo>
                    <a:pt x="2185959" y="1108873"/>
                  </a:lnTo>
                  <a:lnTo>
                    <a:pt x="2185959" y="1121963"/>
                  </a:lnTo>
                  <a:lnTo>
                    <a:pt x="2204658" y="1121963"/>
                  </a:lnTo>
                  <a:lnTo>
                    <a:pt x="2204658" y="1121963"/>
                  </a:lnTo>
                  <a:lnTo>
                    <a:pt x="2322464" y="1121963"/>
                  </a:lnTo>
                  <a:lnTo>
                    <a:pt x="2322464" y="1144402"/>
                  </a:lnTo>
                  <a:lnTo>
                    <a:pt x="2408481" y="1144402"/>
                  </a:lnTo>
                  <a:lnTo>
                    <a:pt x="2408481" y="1157492"/>
                  </a:lnTo>
                  <a:lnTo>
                    <a:pt x="2425311" y="1157492"/>
                  </a:lnTo>
                  <a:lnTo>
                    <a:pt x="2425311" y="1176191"/>
                  </a:lnTo>
                  <a:lnTo>
                    <a:pt x="2442140" y="1176191"/>
                  </a:lnTo>
                  <a:lnTo>
                    <a:pt x="2442140" y="1224810"/>
                  </a:lnTo>
                  <a:lnTo>
                    <a:pt x="2464580" y="1224810"/>
                  </a:lnTo>
                  <a:lnTo>
                    <a:pt x="2464580" y="1237899"/>
                  </a:lnTo>
                  <a:lnTo>
                    <a:pt x="2604825" y="1237899"/>
                  </a:lnTo>
                  <a:lnTo>
                    <a:pt x="2604825" y="1258469"/>
                  </a:lnTo>
                  <a:lnTo>
                    <a:pt x="2797429" y="1258469"/>
                  </a:lnTo>
                  <a:lnTo>
                    <a:pt x="2797429" y="1292127"/>
                  </a:lnTo>
                  <a:lnTo>
                    <a:pt x="2823608" y="1292127"/>
                  </a:lnTo>
                  <a:lnTo>
                    <a:pt x="2823608" y="1312697"/>
                  </a:lnTo>
                  <a:lnTo>
                    <a:pt x="3018081" y="1312697"/>
                  </a:lnTo>
                  <a:lnTo>
                    <a:pt x="3018081" y="1340746"/>
                  </a:lnTo>
                  <a:lnTo>
                    <a:pt x="3091009" y="1340746"/>
                  </a:lnTo>
                  <a:lnTo>
                    <a:pt x="3091009" y="1357575"/>
                  </a:lnTo>
                  <a:lnTo>
                    <a:pt x="3186376" y="1357575"/>
                  </a:lnTo>
                  <a:lnTo>
                    <a:pt x="3186376" y="1393104"/>
                  </a:lnTo>
                  <a:lnTo>
                    <a:pt x="3223775" y="1393104"/>
                  </a:lnTo>
                  <a:lnTo>
                    <a:pt x="3223775" y="1417413"/>
                  </a:lnTo>
                  <a:lnTo>
                    <a:pt x="3287353" y="1417413"/>
                  </a:lnTo>
                  <a:lnTo>
                    <a:pt x="3287353" y="1439853"/>
                  </a:lnTo>
                  <a:lnTo>
                    <a:pt x="3522965" y="1439853"/>
                  </a:lnTo>
                  <a:lnTo>
                    <a:pt x="3522965" y="1462292"/>
                  </a:lnTo>
                  <a:lnTo>
                    <a:pt x="3575323" y="1462292"/>
                  </a:lnTo>
                  <a:lnTo>
                    <a:pt x="3575323" y="1531480"/>
                  </a:lnTo>
                  <a:lnTo>
                    <a:pt x="3594022" y="1531480"/>
                  </a:lnTo>
                  <a:lnTo>
                    <a:pt x="3594022" y="1572618"/>
                  </a:lnTo>
                  <a:lnTo>
                    <a:pt x="3779146" y="1572618"/>
                  </a:lnTo>
                  <a:lnTo>
                    <a:pt x="3779146" y="1596927"/>
                  </a:lnTo>
                  <a:lnTo>
                    <a:pt x="3913782" y="1596927"/>
                  </a:lnTo>
                  <a:lnTo>
                    <a:pt x="3913782" y="1694164"/>
                  </a:lnTo>
                  <a:lnTo>
                    <a:pt x="3949311" y="1694164"/>
                  </a:lnTo>
                  <a:lnTo>
                    <a:pt x="3949311" y="1735303"/>
                  </a:lnTo>
                  <a:lnTo>
                    <a:pt x="3981100" y="1735303"/>
                  </a:lnTo>
                  <a:lnTo>
                    <a:pt x="3981100" y="1761482"/>
                  </a:lnTo>
                  <a:lnTo>
                    <a:pt x="4132565" y="1761482"/>
                  </a:lnTo>
                  <a:lnTo>
                    <a:pt x="4132565" y="1795141"/>
                  </a:lnTo>
                  <a:lnTo>
                    <a:pt x="4261591" y="1795141"/>
                  </a:lnTo>
                  <a:lnTo>
                    <a:pt x="4261591" y="1823190"/>
                  </a:lnTo>
                  <a:lnTo>
                    <a:pt x="4332648" y="1823190"/>
                  </a:lnTo>
                  <a:lnTo>
                    <a:pt x="4332648" y="1875548"/>
                  </a:lnTo>
                  <a:lnTo>
                    <a:pt x="4405576" y="1875548"/>
                  </a:lnTo>
                  <a:lnTo>
                    <a:pt x="4405576" y="1935386"/>
                  </a:lnTo>
                  <a:lnTo>
                    <a:pt x="5112413" y="1939126"/>
                  </a:lnTo>
                </a:path>
              </a:pathLst>
            </a:custGeom>
            <a:noFill/>
            <a:ln w="19050">
              <a:solidFill>
                <a:srgbClr val="B2D2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105" name="Freeform: Shape 104">
              <a:extLst>
                <a:ext uri="{FF2B5EF4-FFF2-40B4-BE49-F238E27FC236}">
                  <a16:creationId xmlns:a16="http://schemas.microsoft.com/office/drawing/2014/main" id="{5318DD67-6666-E4E1-04B2-0195C4DA26C7}"/>
                </a:ext>
              </a:extLst>
            </p:cNvPr>
            <p:cNvSpPr/>
            <p:nvPr/>
          </p:nvSpPr>
          <p:spPr>
            <a:xfrm>
              <a:off x="1505301" y="2599215"/>
              <a:ext cx="5032005" cy="2071892"/>
            </a:xfrm>
            <a:custGeom>
              <a:avLst/>
              <a:gdLst>
                <a:gd name="connsiteX0" fmla="*/ 0 w 4534601"/>
                <a:gd name="connsiteY0" fmla="*/ 0 h 2066282"/>
                <a:gd name="connsiteX1" fmla="*/ 108456 w 4534601"/>
                <a:gd name="connsiteY1" fmla="*/ 0 h 2066282"/>
                <a:gd name="connsiteX2" fmla="*/ 108456 w 4534601"/>
                <a:gd name="connsiteY2" fmla="*/ 33659 h 2066282"/>
                <a:gd name="connsiteX3" fmla="*/ 143985 w 4534601"/>
                <a:gd name="connsiteY3" fmla="*/ 33659 h 2066282"/>
                <a:gd name="connsiteX4" fmla="*/ 143985 w 4534601"/>
                <a:gd name="connsiteY4" fmla="*/ 205693 h 2066282"/>
                <a:gd name="connsiteX5" fmla="*/ 177644 w 4534601"/>
                <a:gd name="connsiteY5" fmla="*/ 205693 h 2066282"/>
                <a:gd name="connsiteX6" fmla="*/ 177644 w 4534601"/>
                <a:gd name="connsiteY6" fmla="*/ 237482 h 2066282"/>
                <a:gd name="connsiteX7" fmla="*/ 396427 w 4534601"/>
                <a:gd name="connsiteY7" fmla="*/ 237482 h 2066282"/>
                <a:gd name="connsiteX8" fmla="*/ 396427 w 4534601"/>
                <a:gd name="connsiteY8" fmla="*/ 329109 h 2066282"/>
                <a:gd name="connsiteX9" fmla="*/ 422606 w 4534601"/>
                <a:gd name="connsiteY9" fmla="*/ 329109 h 2066282"/>
                <a:gd name="connsiteX10" fmla="*/ 422606 w 4534601"/>
                <a:gd name="connsiteY10" fmla="*/ 353418 h 2066282"/>
                <a:gd name="connsiteX11" fmla="*/ 460005 w 4534601"/>
                <a:gd name="connsiteY11" fmla="*/ 353418 h 2066282"/>
                <a:gd name="connsiteX12" fmla="*/ 460005 w 4534601"/>
                <a:gd name="connsiteY12" fmla="*/ 370248 h 2066282"/>
                <a:gd name="connsiteX13" fmla="*/ 512363 w 4534601"/>
                <a:gd name="connsiteY13" fmla="*/ 370248 h 2066282"/>
                <a:gd name="connsiteX14" fmla="*/ 512363 w 4534601"/>
                <a:gd name="connsiteY14" fmla="*/ 387077 h 2066282"/>
                <a:gd name="connsiteX15" fmla="*/ 613340 w 4534601"/>
                <a:gd name="connsiteY15" fmla="*/ 387077 h 2066282"/>
                <a:gd name="connsiteX16" fmla="*/ 613340 w 4534601"/>
                <a:gd name="connsiteY16" fmla="*/ 435695 h 2066282"/>
                <a:gd name="connsiteX17" fmla="*/ 650739 w 4534601"/>
                <a:gd name="connsiteY17" fmla="*/ 435695 h 2066282"/>
                <a:gd name="connsiteX18" fmla="*/ 650739 w 4534601"/>
                <a:gd name="connsiteY18" fmla="*/ 519843 h 2066282"/>
                <a:gd name="connsiteX19" fmla="*/ 678788 w 4534601"/>
                <a:gd name="connsiteY19" fmla="*/ 519843 h 2066282"/>
                <a:gd name="connsiteX20" fmla="*/ 678788 w 4534601"/>
                <a:gd name="connsiteY20" fmla="*/ 546022 h 2066282"/>
                <a:gd name="connsiteX21" fmla="*/ 718056 w 4534601"/>
                <a:gd name="connsiteY21" fmla="*/ 546022 h 2066282"/>
                <a:gd name="connsiteX22" fmla="*/ 718056 w 4534601"/>
                <a:gd name="connsiteY22" fmla="*/ 566591 h 2066282"/>
                <a:gd name="connsiteX23" fmla="*/ 798464 w 4534601"/>
                <a:gd name="connsiteY23" fmla="*/ 566591 h 2066282"/>
                <a:gd name="connsiteX24" fmla="*/ 798464 w 4534601"/>
                <a:gd name="connsiteY24" fmla="*/ 577811 h 2066282"/>
                <a:gd name="connsiteX25" fmla="*/ 867652 w 4534601"/>
                <a:gd name="connsiteY25" fmla="*/ 577811 h 2066282"/>
                <a:gd name="connsiteX26" fmla="*/ 867652 w 4534601"/>
                <a:gd name="connsiteY26" fmla="*/ 590900 h 2066282"/>
                <a:gd name="connsiteX27" fmla="*/ 912530 w 4534601"/>
                <a:gd name="connsiteY27" fmla="*/ 590900 h 2066282"/>
                <a:gd name="connsiteX28" fmla="*/ 912530 w 4534601"/>
                <a:gd name="connsiteY28" fmla="*/ 603990 h 2066282"/>
                <a:gd name="connsiteX29" fmla="*/ 991068 w 4534601"/>
                <a:gd name="connsiteY29" fmla="*/ 603990 h 2066282"/>
                <a:gd name="connsiteX30" fmla="*/ 991068 w 4534601"/>
                <a:gd name="connsiteY30" fmla="*/ 660088 h 2066282"/>
                <a:gd name="connsiteX31" fmla="*/ 1028466 w 4534601"/>
                <a:gd name="connsiteY31" fmla="*/ 660088 h 2066282"/>
                <a:gd name="connsiteX32" fmla="*/ 1028466 w 4534601"/>
                <a:gd name="connsiteY32" fmla="*/ 738625 h 2066282"/>
                <a:gd name="connsiteX33" fmla="*/ 1043426 w 4534601"/>
                <a:gd name="connsiteY33" fmla="*/ 738625 h 2066282"/>
                <a:gd name="connsiteX34" fmla="*/ 1043426 w 4534601"/>
                <a:gd name="connsiteY34" fmla="*/ 777894 h 2066282"/>
                <a:gd name="connsiteX35" fmla="*/ 1069605 w 4534601"/>
                <a:gd name="connsiteY35" fmla="*/ 777894 h 2066282"/>
                <a:gd name="connsiteX36" fmla="*/ 1069605 w 4534601"/>
                <a:gd name="connsiteY36" fmla="*/ 798464 h 2066282"/>
                <a:gd name="connsiteX37" fmla="*/ 1093914 w 4534601"/>
                <a:gd name="connsiteY37" fmla="*/ 798464 h 2066282"/>
                <a:gd name="connsiteX38" fmla="*/ 1093914 w 4534601"/>
                <a:gd name="connsiteY38" fmla="*/ 817163 h 2066282"/>
                <a:gd name="connsiteX39" fmla="*/ 1146272 w 4534601"/>
                <a:gd name="connsiteY39" fmla="*/ 817163 h 2066282"/>
                <a:gd name="connsiteX40" fmla="*/ 1146272 w 4534601"/>
                <a:gd name="connsiteY40" fmla="*/ 828383 h 2066282"/>
                <a:gd name="connsiteX41" fmla="*/ 1273428 w 4534601"/>
                <a:gd name="connsiteY41" fmla="*/ 828383 h 2066282"/>
                <a:gd name="connsiteX42" fmla="*/ 1273428 w 4534601"/>
                <a:gd name="connsiteY42" fmla="*/ 847082 h 2066282"/>
                <a:gd name="connsiteX43" fmla="*/ 1303347 w 4534601"/>
                <a:gd name="connsiteY43" fmla="*/ 847082 h 2066282"/>
                <a:gd name="connsiteX44" fmla="*/ 1303347 w 4534601"/>
                <a:gd name="connsiteY44" fmla="*/ 865781 h 2066282"/>
                <a:gd name="connsiteX45" fmla="*/ 1372535 w 4534601"/>
                <a:gd name="connsiteY45" fmla="*/ 865781 h 2066282"/>
                <a:gd name="connsiteX46" fmla="*/ 1372535 w 4534601"/>
                <a:gd name="connsiteY46" fmla="*/ 916270 h 2066282"/>
                <a:gd name="connsiteX47" fmla="*/ 1419283 w 4534601"/>
                <a:gd name="connsiteY47" fmla="*/ 916270 h 2066282"/>
                <a:gd name="connsiteX48" fmla="*/ 1419283 w 4534601"/>
                <a:gd name="connsiteY48" fmla="*/ 992937 h 2066282"/>
                <a:gd name="connsiteX49" fmla="*/ 1486601 w 4534601"/>
                <a:gd name="connsiteY49" fmla="*/ 992937 h 2066282"/>
                <a:gd name="connsiteX50" fmla="*/ 1486601 w 4534601"/>
                <a:gd name="connsiteY50" fmla="*/ 1020986 h 2066282"/>
                <a:gd name="connsiteX51" fmla="*/ 1567009 w 4534601"/>
                <a:gd name="connsiteY51" fmla="*/ 1020986 h 2066282"/>
                <a:gd name="connsiteX52" fmla="*/ 1567009 w 4534601"/>
                <a:gd name="connsiteY52" fmla="*/ 1041556 h 2066282"/>
                <a:gd name="connsiteX53" fmla="*/ 1669855 w 4534601"/>
                <a:gd name="connsiteY53" fmla="*/ 1041556 h 2066282"/>
                <a:gd name="connsiteX54" fmla="*/ 1669855 w 4534601"/>
                <a:gd name="connsiteY54" fmla="*/ 1052775 h 2066282"/>
                <a:gd name="connsiteX55" fmla="*/ 1733433 w 4534601"/>
                <a:gd name="connsiteY55" fmla="*/ 1052775 h 2066282"/>
                <a:gd name="connsiteX56" fmla="*/ 1733433 w 4534601"/>
                <a:gd name="connsiteY56" fmla="*/ 1067735 h 2066282"/>
                <a:gd name="connsiteX57" fmla="*/ 1767092 w 4534601"/>
                <a:gd name="connsiteY57" fmla="*/ 1067735 h 2066282"/>
                <a:gd name="connsiteX58" fmla="*/ 1767092 w 4534601"/>
                <a:gd name="connsiteY58" fmla="*/ 1110743 h 2066282"/>
                <a:gd name="connsiteX59" fmla="*/ 1789531 w 4534601"/>
                <a:gd name="connsiteY59" fmla="*/ 1110743 h 2066282"/>
                <a:gd name="connsiteX60" fmla="*/ 1789531 w 4534601"/>
                <a:gd name="connsiteY60" fmla="*/ 1265948 h 2066282"/>
                <a:gd name="connsiteX61" fmla="*/ 1853109 w 4534601"/>
                <a:gd name="connsiteY61" fmla="*/ 1265948 h 2066282"/>
                <a:gd name="connsiteX62" fmla="*/ 1853109 w 4534601"/>
                <a:gd name="connsiteY62" fmla="*/ 1293997 h 2066282"/>
                <a:gd name="connsiteX63" fmla="*/ 1940996 w 4534601"/>
                <a:gd name="connsiteY63" fmla="*/ 1293997 h 2066282"/>
                <a:gd name="connsiteX64" fmla="*/ 1940996 w 4534601"/>
                <a:gd name="connsiteY64" fmla="*/ 1323916 h 2066282"/>
                <a:gd name="connsiteX65" fmla="*/ 2010184 w 4534601"/>
                <a:gd name="connsiteY65" fmla="*/ 1323916 h 2066282"/>
                <a:gd name="connsiteX66" fmla="*/ 2010184 w 4534601"/>
                <a:gd name="connsiteY66" fmla="*/ 1348225 h 2066282"/>
                <a:gd name="connsiteX67" fmla="*/ 2144820 w 4534601"/>
                <a:gd name="connsiteY67" fmla="*/ 1348225 h 2066282"/>
                <a:gd name="connsiteX68" fmla="*/ 2144820 w 4534601"/>
                <a:gd name="connsiteY68" fmla="*/ 1400584 h 2066282"/>
                <a:gd name="connsiteX69" fmla="*/ 2170999 w 4534601"/>
                <a:gd name="connsiteY69" fmla="*/ 1400584 h 2066282"/>
                <a:gd name="connsiteX70" fmla="*/ 2170999 w 4534601"/>
                <a:gd name="connsiteY70" fmla="*/ 1432373 h 2066282"/>
                <a:gd name="connsiteX71" fmla="*/ 2189698 w 4534601"/>
                <a:gd name="connsiteY71" fmla="*/ 1432373 h 2066282"/>
                <a:gd name="connsiteX72" fmla="*/ 2189698 w 4534601"/>
                <a:gd name="connsiteY72" fmla="*/ 1462292 h 2066282"/>
                <a:gd name="connsiteX73" fmla="*/ 2288805 w 4534601"/>
                <a:gd name="connsiteY73" fmla="*/ 1462292 h 2066282"/>
                <a:gd name="connsiteX74" fmla="*/ 2288805 w 4534601"/>
                <a:gd name="connsiteY74" fmla="*/ 1479121 h 2066282"/>
                <a:gd name="connsiteX75" fmla="*/ 2511328 w 4534601"/>
                <a:gd name="connsiteY75" fmla="*/ 1479121 h 2066282"/>
                <a:gd name="connsiteX76" fmla="*/ 2511328 w 4534601"/>
                <a:gd name="connsiteY76" fmla="*/ 1561398 h 2066282"/>
                <a:gd name="connsiteX77" fmla="*/ 2550596 w 4534601"/>
                <a:gd name="connsiteY77" fmla="*/ 1561398 h 2066282"/>
                <a:gd name="connsiteX78" fmla="*/ 2550596 w 4534601"/>
                <a:gd name="connsiteY78" fmla="*/ 1636196 h 2066282"/>
                <a:gd name="connsiteX79" fmla="*/ 2653443 w 4534601"/>
                <a:gd name="connsiteY79" fmla="*/ 1636196 h 2066282"/>
                <a:gd name="connsiteX80" fmla="*/ 2653443 w 4534601"/>
                <a:gd name="connsiteY80" fmla="*/ 1647416 h 2066282"/>
                <a:gd name="connsiteX81" fmla="*/ 2746940 w 4534601"/>
                <a:gd name="connsiteY81" fmla="*/ 1647416 h 2066282"/>
                <a:gd name="connsiteX82" fmla="*/ 2746940 w 4534601"/>
                <a:gd name="connsiteY82" fmla="*/ 1669855 h 2066282"/>
                <a:gd name="connsiteX83" fmla="*/ 2799298 w 4534601"/>
                <a:gd name="connsiteY83" fmla="*/ 1669855 h 2066282"/>
                <a:gd name="connsiteX84" fmla="*/ 2799298 w 4534601"/>
                <a:gd name="connsiteY84" fmla="*/ 1684814 h 2066282"/>
                <a:gd name="connsiteX85" fmla="*/ 2894665 w 4534601"/>
                <a:gd name="connsiteY85" fmla="*/ 1684814 h 2066282"/>
                <a:gd name="connsiteX86" fmla="*/ 2894665 w 4534601"/>
                <a:gd name="connsiteY86" fmla="*/ 1714733 h 2066282"/>
                <a:gd name="connsiteX87" fmla="*/ 2922714 w 4534601"/>
                <a:gd name="connsiteY87" fmla="*/ 1714733 h 2066282"/>
                <a:gd name="connsiteX88" fmla="*/ 2922714 w 4534601"/>
                <a:gd name="connsiteY88" fmla="*/ 1748392 h 2066282"/>
                <a:gd name="connsiteX89" fmla="*/ 2943283 w 4534601"/>
                <a:gd name="connsiteY89" fmla="*/ 1748392 h 2066282"/>
                <a:gd name="connsiteX90" fmla="*/ 2943283 w 4534601"/>
                <a:gd name="connsiteY90" fmla="*/ 1765222 h 2066282"/>
                <a:gd name="connsiteX91" fmla="*/ 2973203 w 4534601"/>
                <a:gd name="connsiteY91" fmla="*/ 1765222 h 2066282"/>
                <a:gd name="connsiteX92" fmla="*/ 2973203 w 4534601"/>
                <a:gd name="connsiteY92" fmla="*/ 1782051 h 2066282"/>
                <a:gd name="connsiteX93" fmla="*/ 3042390 w 4534601"/>
                <a:gd name="connsiteY93" fmla="*/ 1782051 h 2066282"/>
                <a:gd name="connsiteX94" fmla="*/ 3042390 w 4534601"/>
                <a:gd name="connsiteY94" fmla="*/ 1810100 h 2066282"/>
                <a:gd name="connsiteX95" fmla="*/ 3066699 w 4534601"/>
                <a:gd name="connsiteY95" fmla="*/ 1810100 h 2066282"/>
                <a:gd name="connsiteX96" fmla="*/ 3066699 w 4534601"/>
                <a:gd name="connsiteY96" fmla="*/ 1825060 h 2066282"/>
                <a:gd name="connsiteX97" fmla="*/ 3292962 w 4534601"/>
                <a:gd name="connsiteY97" fmla="*/ 1825060 h 2066282"/>
                <a:gd name="connsiteX98" fmla="*/ 3292962 w 4534601"/>
                <a:gd name="connsiteY98" fmla="*/ 1851239 h 2066282"/>
                <a:gd name="connsiteX99" fmla="*/ 3335971 w 4534601"/>
                <a:gd name="connsiteY99" fmla="*/ 1851239 h 2066282"/>
                <a:gd name="connsiteX100" fmla="*/ 3335971 w 4534601"/>
                <a:gd name="connsiteY100" fmla="*/ 1883028 h 2066282"/>
                <a:gd name="connsiteX101" fmla="*/ 3491176 w 4534601"/>
                <a:gd name="connsiteY101" fmla="*/ 1883028 h 2066282"/>
                <a:gd name="connsiteX102" fmla="*/ 3491176 w 4534601"/>
                <a:gd name="connsiteY102" fmla="*/ 1903597 h 2066282"/>
                <a:gd name="connsiteX103" fmla="*/ 3665080 w 4534601"/>
                <a:gd name="connsiteY103" fmla="*/ 1903597 h 2066282"/>
                <a:gd name="connsiteX104" fmla="*/ 3665080 w 4534601"/>
                <a:gd name="connsiteY104" fmla="*/ 1931646 h 2066282"/>
                <a:gd name="connsiteX105" fmla="*/ 3700609 w 4534601"/>
                <a:gd name="connsiteY105" fmla="*/ 1931646 h 2066282"/>
                <a:gd name="connsiteX106" fmla="*/ 3700609 w 4534601"/>
                <a:gd name="connsiteY106" fmla="*/ 1980265 h 2066282"/>
                <a:gd name="connsiteX107" fmla="*/ 4068987 w 4534601"/>
                <a:gd name="connsiteY107" fmla="*/ 1980265 h 2066282"/>
                <a:gd name="connsiteX108" fmla="*/ 4068987 w 4534601"/>
                <a:gd name="connsiteY108" fmla="*/ 2002704 h 2066282"/>
                <a:gd name="connsiteX109" fmla="*/ 4106385 w 4534601"/>
                <a:gd name="connsiteY109" fmla="*/ 2002704 h 2066282"/>
                <a:gd name="connsiteX110" fmla="*/ 4106385 w 4534601"/>
                <a:gd name="connsiteY110" fmla="*/ 2028883 h 2066282"/>
                <a:gd name="connsiteX111" fmla="*/ 4444844 w 4534601"/>
                <a:gd name="connsiteY111" fmla="*/ 2028883 h 2066282"/>
                <a:gd name="connsiteX112" fmla="*/ 4444844 w 4534601"/>
                <a:gd name="connsiteY112" fmla="*/ 2066282 h 2066282"/>
                <a:gd name="connsiteX113" fmla="*/ 4534601 w 4534601"/>
                <a:gd name="connsiteY113" fmla="*/ 2066282 h 2066282"/>
                <a:gd name="connsiteX0" fmla="*/ 0 w 4923549"/>
                <a:gd name="connsiteY0" fmla="*/ 0 h 2071892"/>
                <a:gd name="connsiteX1" fmla="*/ 108456 w 4923549"/>
                <a:gd name="connsiteY1" fmla="*/ 0 h 2071892"/>
                <a:gd name="connsiteX2" fmla="*/ 108456 w 4923549"/>
                <a:gd name="connsiteY2" fmla="*/ 33659 h 2071892"/>
                <a:gd name="connsiteX3" fmla="*/ 143985 w 4923549"/>
                <a:gd name="connsiteY3" fmla="*/ 33659 h 2071892"/>
                <a:gd name="connsiteX4" fmla="*/ 143985 w 4923549"/>
                <a:gd name="connsiteY4" fmla="*/ 205693 h 2071892"/>
                <a:gd name="connsiteX5" fmla="*/ 177644 w 4923549"/>
                <a:gd name="connsiteY5" fmla="*/ 205693 h 2071892"/>
                <a:gd name="connsiteX6" fmla="*/ 177644 w 4923549"/>
                <a:gd name="connsiteY6" fmla="*/ 237482 h 2071892"/>
                <a:gd name="connsiteX7" fmla="*/ 396427 w 4923549"/>
                <a:gd name="connsiteY7" fmla="*/ 237482 h 2071892"/>
                <a:gd name="connsiteX8" fmla="*/ 396427 w 4923549"/>
                <a:gd name="connsiteY8" fmla="*/ 329109 h 2071892"/>
                <a:gd name="connsiteX9" fmla="*/ 422606 w 4923549"/>
                <a:gd name="connsiteY9" fmla="*/ 329109 h 2071892"/>
                <a:gd name="connsiteX10" fmla="*/ 422606 w 4923549"/>
                <a:gd name="connsiteY10" fmla="*/ 353418 h 2071892"/>
                <a:gd name="connsiteX11" fmla="*/ 460005 w 4923549"/>
                <a:gd name="connsiteY11" fmla="*/ 353418 h 2071892"/>
                <a:gd name="connsiteX12" fmla="*/ 460005 w 4923549"/>
                <a:gd name="connsiteY12" fmla="*/ 370248 h 2071892"/>
                <a:gd name="connsiteX13" fmla="*/ 512363 w 4923549"/>
                <a:gd name="connsiteY13" fmla="*/ 370248 h 2071892"/>
                <a:gd name="connsiteX14" fmla="*/ 512363 w 4923549"/>
                <a:gd name="connsiteY14" fmla="*/ 387077 h 2071892"/>
                <a:gd name="connsiteX15" fmla="*/ 613340 w 4923549"/>
                <a:gd name="connsiteY15" fmla="*/ 387077 h 2071892"/>
                <a:gd name="connsiteX16" fmla="*/ 613340 w 4923549"/>
                <a:gd name="connsiteY16" fmla="*/ 435695 h 2071892"/>
                <a:gd name="connsiteX17" fmla="*/ 650739 w 4923549"/>
                <a:gd name="connsiteY17" fmla="*/ 435695 h 2071892"/>
                <a:gd name="connsiteX18" fmla="*/ 650739 w 4923549"/>
                <a:gd name="connsiteY18" fmla="*/ 519843 h 2071892"/>
                <a:gd name="connsiteX19" fmla="*/ 678788 w 4923549"/>
                <a:gd name="connsiteY19" fmla="*/ 519843 h 2071892"/>
                <a:gd name="connsiteX20" fmla="*/ 678788 w 4923549"/>
                <a:gd name="connsiteY20" fmla="*/ 546022 h 2071892"/>
                <a:gd name="connsiteX21" fmla="*/ 718056 w 4923549"/>
                <a:gd name="connsiteY21" fmla="*/ 546022 h 2071892"/>
                <a:gd name="connsiteX22" fmla="*/ 718056 w 4923549"/>
                <a:gd name="connsiteY22" fmla="*/ 566591 h 2071892"/>
                <a:gd name="connsiteX23" fmla="*/ 798464 w 4923549"/>
                <a:gd name="connsiteY23" fmla="*/ 566591 h 2071892"/>
                <a:gd name="connsiteX24" fmla="*/ 798464 w 4923549"/>
                <a:gd name="connsiteY24" fmla="*/ 577811 h 2071892"/>
                <a:gd name="connsiteX25" fmla="*/ 867652 w 4923549"/>
                <a:gd name="connsiteY25" fmla="*/ 577811 h 2071892"/>
                <a:gd name="connsiteX26" fmla="*/ 867652 w 4923549"/>
                <a:gd name="connsiteY26" fmla="*/ 590900 h 2071892"/>
                <a:gd name="connsiteX27" fmla="*/ 912530 w 4923549"/>
                <a:gd name="connsiteY27" fmla="*/ 590900 h 2071892"/>
                <a:gd name="connsiteX28" fmla="*/ 912530 w 4923549"/>
                <a:gd name="connsiteY28" fmla="*/ 603990 h 2071892"/>
                <a:gd name="connsiteX29" fmla="*/ 991068 w 4923549"/>
                <a:gd name="connsiteY29" fmla="*/ 603990 h 2071892"/>
                <a:gd name="connsiteX30" fmla="*/ 991068 w 4923549"/>
                <a:gd name="connsiteY30" fmla="*/ 660088 h 2071892"/>
                <a:gd name="connsiteX31" fmla="*/ 1028466 w 4923549"/>
                <a:gd name="connsiteY31" fmla="*/ 660088 h 2071892"/>
                <a:gd name="connsiteX32" fmla="*/ 1028466 w 4923549"/>
                <a:gd name="connsiteY32" fmla="*/ 738625 h 2071892"/>
                <a:gd name="connsiteX33" fmla="*/ 1043426 w 4923549"/>
                <a:gd name="connsiteY33" fmla="*/ 738625 h 2071892"/>
                <a:gd name="connsiteX34" fmla="*/ 1043426 w 4923549"/>
                <a:gd name="connsiteY34" fmla="*/ 777894 h 2071892"/>
                <a:gd name="connsiteX35" fmla="*/ 1069605 w 4923549"/>
                <a:gd name="connsiteY35" fmla="*/ 777894 h 2071892"/>
                <a:gd name="connsiteX36" fmla="*/ 1069605 w 4923549"/>
                <a:gd name="connsiteY36" fmla="*/ 798464 h 2071892"/>
                <a:gd name="connsiteX37" fmla="*/ 1093914 w 4923549"/>
                <a:gd name="connsiteY37" fmla="*/ 798464 h 2071892"/>
                <a:gd name="connsiteX38" fmla="*/ 1093914 w 4923549"/>
                <a:gd name="connsiteY38" fmla="*/ 817163 h 2071892"/>
                <a:gd name="connsiteX39" fmla="*/ 1146272 w 4923549"/>
                <a:gd name="connsiteY39" fmla="*/ 817163 h 2071892"/>
                <a:gd name="connsiteX40" fmla="*/ 1146272 w 4923549"/>
                <a:gd name="connsiteY40" fmla="*/ 828383 h 2071892"/>
                <a:gd name="connsiteX41" fmla="*/ 1273428 w 4923549"/>
                <a:gd name="connsiteY41" fmla="*/ 828383 h 2071892"/>
                <a:gd name="connsiteX42" fmla="*/ 1273428 w 4923549"/>
                <a:gd name="connsiteY42" fmla="*/ 847082 h 2071892"/>
                <a:gd name="connsiteX43" fmla="*/ 1303347 w 4923549"/>
                <a:gd name="connsiteY43" fmla="*/ 847082 h 2071892"/>
                <a:gd name="connsiteX44" fmla="*/ 1303347 w 4923549"/>
                <a:gd name="connsiteY44" fmla="*/ 865781 h 2071892"/>
                <a:gd name="connsiteX45" fmla="*/ 1372535 w 4923549"/>
                <a:gd name="connsiteY45" fmla="*/ 865781 h 2071892"/>
                <a:gd name="connsiteX46" fmla="*/ 1372535 w 4923549"/>
                <a:gd name="connsiteY46" fmla="*/ 916270 h 2071892"/>
                <a:gd name="connsiteX47" fmla="*/ 1419283 w 4923549"/>
                <a:gd name="connsiteY47" fmla="*/ 916270 h 2071892"/>
                <a:gd name="connsiteX48" fmla="*/ 1419283 w 4923549"/>
                <a:gd name="connsiteY48" fmla="*/ 992937 h 2071892"/>
                <a:gd name="connsiteX49" fmla="*/ 1486601 w 4923549"/>
                <a:gd name="connsiteY49" fmla="*/ 992937 h 2071892"/>
                <a:gd name="connsiteX50" fmla="*/ 1486601 w 4923549"/>
                <a:gd name="connsiteY50" fmla="*/ 1020986 h 2071892"/>
                <a:gd name="connsiteX51" fmla="*/ 1567009 w 4923549"/>
                <a:gd name="connsiteY51" fmla="*/ 1020986 h 2071892"/>
                <a:gd name="connsiteX52" fmla="*/ 1567009 w 4923549"/>
                <a:gd name="connsiteY52" fmla="*/ 1041556 h 2071892"/>
                <a:gd name="connsiteX53" fmla="*/ 1669855 w 4923549"/>
                <a:gd name="connsiteY53" fmla="*/ 1041556 h 2071892"/>
                <a:gd name="connsiteX54" fmla="*/ 1669855 w 4923549"/>
                <a:gd name="connsiteY54" fmla="*/ 1052775 h 2071892"/>
                <a:gd name="connsiteX55" fmla="*/ 1733433 w 4923549"/>
                <a:gd name="connsiteY55" fmla="*/ 1052775 h 2071892"/>
                <a:gd name="connsiteX56" fmla="*/ 1733433 w 4923549"/>
                <a:gd name="connsiteY56" fmla="*/ 1067735 h 2071892"/>
                <a:gd name="connsiteX57" fmla="*/ 1767092 w 4923549"/>
                <a:gd name="connsiteY57" fmla="*/ 1067735 h 2071892"/>
                <a:gd name="connsiteX58" fmla="*/ 1767092 w 4923549"/>
                <a:gd name="connsiteY58" fmla="*/ 1110743 h 2071892"/>
                <a:gd name="connsiteX59" fmla="*/ 1789531 w 4923549"/>
                <a:gd name="connsiteY59" fmla="*/ 1110743 h 2071892"/>
                <a:gd name="connsiteX60" fmla="*/ 1789531 w 4923549"/>
                <a:gd name="connsiteY60" fmla="*/ 1265948 h 2071892"/>
                <a:gd name="connsiteX61" fmla="*/ 1853109 w 4923549"/>
                <a:gd name="connsiteY61" fmla="*/ 1265948 h 2071892"/>
                <a:gd name="connsiteX62" fmla="*/ 1853109 w 4923549"/>
                <a:gd name="connsiteY62" fmla="*/ 1293997 h 2071892"/>
                <a:gd name="connsiteX63" fmla="*/ 1940996 w 4923549"/>
                <a:gd name="connsiteY63" fmla="*/ 1293997 h 2071892"/>
                <a:gd name="connsiteX64" fmla="*/ 1940996 w 4923549"/>
                <a:gd name="connsiteY64" fmla="*/ 1323916 h 2071892"/>
                <a:gd name="connsiteX65" fmla="*/ 2010184 w 4923549"/>
                <a:gd name="connsiteY65" fmla="*/ 1323916 h 2071892"/>
                <a:gd name="connsiteX66" fmla="*/ 2010184 w 4923549"/>
                <a:gd name="connsiteY66" fmla="*/ 1348225 h 2071892"/>
                <a:gd name="connsiteX67" fmla="*/ 2144820 w 4923549"/>
                <a:gd name="connsiteY67" fmla="*/ 1348225 h 2071892"/>
                <a:gd name="connsiteX68" fmla="*/ 2144820 w 4923549"/>
                <a:gd name="connsiteY68" fmla="*/ 1400584 h 2071892"/>
                <a:gd name="connsiteX69" fmla="*/ 2170999 w 4923549"/>
                <a:gd name="connsiteY69" fmla="*/ 1400584 h 2071892"/>
                <a:gd name="connsiteX70" fmla="*/ 2170999 w 4923549"/>
                <a:gd name="connsiteY70" fmla="*/ 1432373 h 2071892"/>
                <a:gd name="connsiteX71" fmla="*/ 2189698 w 4923549"/>
                <a:gd name="connsiteY71" fmla="*/ 1432373 h 2071892"/>
                <a:gd name="connsiteX72" fmla="*/ 2189698 w 4923549"/>
                <a:gd name="connsiteY72" fmla="*/ 1462292 h 2071892"/>
                <a:gd name="connsiteX73" fmla="*/ 2288805 w 4923549"/>
                <a:gd name="connsiteY73" fmla="*/ 1462292 h 2071892"/>
                <a:gd name="connsiteX74" fmla="*/ 2288805 w 4923549"/>
                <a:gd name="connsiteY74" fmla="*/ 1479121 h 2071892"/>
                <a:gd name="connsiteX75" fmla="*/ 2511328 w 4923549"/>
                <a:gd name="connsiteY75" fmla="*/ 1479121 h 2071892"/>
                <a:gd name="connsiteX76" fmla="*/ 2511328 w 4923549"/>
                <a:gd name="connsiteY76" fmla="*/ 1561398 h 2071892"/>
                <a:gd name="connsiteX77" fmla="*/ 2550596 w 4923549"/>
                <a:gd name="connsiteY77" fmla="*/ 1561398 h 2071892"/>
                <a:gd name="connsiteX78" fmla="*/ 2550596 w 4923549"/>
                <a:gd name="connsiteY78" fmla="*/ 1636196 h 2071892"/>
                <a:gd name="connsiteX79" fmla="*/ 2653443 w 4923549"/>
                <a:gd name="connsiteY79" fmla="*/ 1636196 h 2071892"/>
                <a:gd name="connsiteX80" fmla="*/ 2653443 w 4923549"/>
                <a:gd name="connsiteY80" fmla="*/ 1647416 h 2071892"/>
                <a:gd name="connsiteX81" fmla="*/ 2746940 w 4923549"/>
                <a:gd name="connsiteY81" fmla="*/ 1647416 h 2071892"/>
                <a:gd name="connsiteX82" fmla="*/ 2746940 w 4923549"/>
                <a:gd name="connsiteY82" fmla="*/ 1669855 h 2071892"/>
                <a:gd name="connsiteX83" fmla="*/ 2799298 w 4923549"/>
                <a:gd name="connsiteY83" fmla="*/ 1669855 h 2071892"/>
                <a:gd name="connsiteX84" fmla="*/ 2799298 w 4923549"/>
                <a:gd name="connsiteY84" fmla="*/ 1684814 h 2071892"/>
                <a:gd name="connsiteX85" fmla="*/ 2894665 w 4923549"/>
                <a:gd name="connsiteY85" fmla="*/ 1684814 h 2071892"/>
                <a:gd name="connsiteX86" fmla="*/ 2894665 w 4923549"/>
                <a:gd name="connsiteY86" fmla="*/ 1714733 h 2071892"/>
                <a:gd name="connsiteX87" fmla="*/ 2922714 w 4923549"/>
                <a:gd name="connsiteY87" fmla="*/ 1714733 h 2071892"/>
                <a:gd name="connsiteX88" fmla="*/ 2922714 w 4923549"/>
                <a:gd name="connsiteY88" fmla="*/ 1748392 h 2071892"/>
                <a:gd name="connsiteX89" fmla="*/ 2943283 w 4923549"/>
                <a:gd name="connsiteY89" fmla="*/ 1748392 h 2071892"/>
                <a:gd name="connsiteX90" fmla="*/ 2943283 w 4923549"/>
                <a:gd name="connsiteY90" fmla="*/ 1765222 h 2071892"/>
                <a:gd name="connsiteX91" fmla="*/ 2973203 w 4923549"/>
                <a:gd name="connsiteY91" fmla="*/ 1765222 h 2071892"/>
                <a:gd name="connsiteX92" fmla="*/ 2973203 w 4923549"/>
                <a:gd name="connsiteY92" fmla="*/ 1782051 h 2071892"/>
                <a:gd name="connsiteX93" fmla="*/ 3042390 w 4923549"/>
                <a:gd name="connsiteY93" fmla="*/ 1782051 h 2071892"/>
                <a:gd name="connsiteX94" fmla="*/ 3042390 w 4923549"/>
                <a:gd name="connsiteY94" fmla="*/ 1810100 h 2071892"/>
                <a:gd name="connsiteX95" fmla="*/ 3066699 w 4923549"/>
                <a:gd name="connsiteY95" fmla="*/ 1810100 h 2071892"/>
                <a:gd name="connsiteX96" fmla="*/ 3066699 w 4923549"/>
                <a:gd name="connsiteY96" fmla="*/ 1825060 h 2071892"/>
                <a:gd name="connsiteX97" fmla="*/ 3292962 w 4923549"/>
                <a:gd name="connsiteY97" fmla="*/ 1825060 h 2071892"/>
                <a:gd name="connsiteX98" fmla="*/ 3292962 w 4923549"/>
                <a:gd name="connsiteY98" fmla="*/ 1851239 h 2071892"/>
                <a:gd name="connsiteX99" fmla="*/ 3335971 w 4923549"/>
                <a:gd name="connsiteY99" fmla="*/ 1851239 h 2071892"/>
                <a:gd name="connsiteX100" fmla="*/ 3335971 w 4923549"/>
                <a:gd name="connsiteY100" fmla="*/ 1883028 h 2071892"/>
                <a:gd name="connsiteX101" fmla="*/ 3491176 w 4923549"/>
                <a:gd name="connsiteY101" fmla="*/ 1883028 h 2071892"/>
                <a:gd name="connsiteX102" fmla="*/ 3491176 w 4923549"/>
                <a:gd name="connsiteY102" fmla="*/ 1903597 h 2071892"/>
                <a:gd name="connsiteX103" fmla="*/ 3665080 w 4923549"/>
                <a:gd name="connsiteY103" fmla="*/ 1903597 h 2071892"/>
                <a:gd name="connsiteX104" fmla="*/ 3665080 w 4923549"/>
                <a:gd name="connsiteY104" fmla="*/ 1931646 h 2071892"/>
                <a:gd name="connsiteX105" fmla="*/ 3700609 w 4923549"/>
                <a:gd name="connsiteY105" fmla="*/ 1931646 h 2071892"/>
                <a:gd name="connsiteX106" fmla="*/ 3700609 w 4923549"/>
                <a:gd name="connsiteY106" fmla="*/ 1980265 h 2071892"/>
                <a:gd name="connsiteX107" fmla="*/ 4068987 w 4923549"/>
                <a:gd name="connsiteY107" fmla="*/ 1980265 h 2071892"/>
                <a:gd name="connsiteX108" fmla="*/ 4068987 w 4923549"/>
                <a:gd name="connsiteY108" fmla="*/ 2002704 h 2071892"/>
                <a:gd name="connsiteX109" fmla="*/ 4106385 w 4923549"/>
                <a:gd name="connsiteY109" fmla="*/ 2002704 h 2071892"/>
                <a:gd name="connsiteX110" fmla="*/ 4106385 w 4923549"/>
                <a:gd name="connsiteY110" fmla="*/ 2028883 h 2071892"/>
                <a:gd name="connsiteX111" fmla="*/ 4444844 w 4923549"/>
                <a:gd name="connsiteY111" fmla="*/ 2028883 h 2071892"/>
                <a:gd name="connsiteX112" fmla="*/ 4444844 w 4923549"/>
                <a:gd name="connsiteY112" fmla="*/ 2066282 h 2071892"/>
                <a:gd name="connsiteX113" fmla="*/ 4923549 w 4923549"/>
                <a:gd name="connsiteY113" fmla="*/ 2071892 h 2071892"/>
                <a:gd name="connsiteX0" fmla="*/ 0 w 5032005"/>
                <a:gd name="connsiteY0" fmla="*/ 0 h 2071892"/>
                <a:gd name="connsiteX1" fmla="*/ 216912 w 5032005"/>
                <a:gd name="connsiteY1" fmla="*/ 0 h 2071892"/>
                <a:gd name="connsiteX2" fmla="*/ 216912 w 5032005"/>
                <a:gd name="connsiteY2" fmla="*/ 33659 h 2071892"/>
                <a:gd name="connsiteX3" fmla="*/ 252441 w 5032005"/>
                <a:gd name="connsiteY3" fmla="*/ 33659 h 2071892"/>
                <a:gd name="connsiteX4" fmla="*/ 252441 w 5032005"/>
                <a:gd name="connsiteY4" fmla="*/ 205693 h 2071892"/>
                <a:gd name="connsiteX5" fmla="*/ 286100 w 5032005"/>
                <a:gd name="connsiteY5" fmla="*/ 205693 h 2071892"/>
                <a:gd name="connsiteX6" fmla="*/ 286100 w 5032005"/>
                <a:gd name="connsiteY6" fmla="*/ 237482 h 2071892"/>
                <a:gd name="connsiteX7" fmla="*/ 504883 w 5032005"/>
                <a:gd name="connsiteY7" fmla="*/ 237482 h 2071892"/>
                <a:gd name="connsiteX8" fmla="*/ 504883 w 5032005"/>
                <a:gd name="connsiteY8" fmla="*/ 329109 h 2071892"/>
                <a:gd name="connsiteX9" fmla="*/ 531062 w 5032005"/>
                <a:gd name="connsiteY9" fmla="*/ 329109 h 2071892"/>
                <a:gd name="connsiteX10" fmla="*/ 531062 w 5032005"/>
                <a:gd name="connsiteY10" fmla="*/ 353418 h 2071892"/>
                <a:gd name="connsiteX11" fmla="*/ 568461 w 5032005"/>
                <a:gd name="connsiteY11" fmla="*/ 353418 h 2071892"/>
                <a:gd name="connsiteX12" fmla="*/ 568461 w 5032005"/>
                <a:gd name="connsiteY12" fmla="*/ 370248 h 2071892"/>
                <a:gd name="connsiteX13" fmla="*/ 620819 w 5032005"/>
                <a:gd name="connsiteY13" fmla="*/ 370248 h 2071892"/>
                <a:gd name="connsiteX14" fmla="*/ 620819 w 5032005"/>
                <a:gd name="connsiteY14" fmla="*/ 387077 h 2071892"/>
                <a:gd name="connsiteX15" fmla="*/ 721796 w 5032005"/>
                <a:gd name="connsiteY15" fmla="*/ 387077 h 2071892"/>
                <a:gd name="connsiteX16" fmla="*/ 721796 w 5032005"/>
                <a:gd name="connsiteY16" fmla="*/ 435695 h 2071892"/>
                <a:gd name="connsiteX17" fmla="*/ 759195 w 5032005"/>
                <a:gd name="connsiteY17" fmla="*/ 435695 h 2071892"/>
                <a:gd name="connsiteX18" fmla="*/ 759195 w 5032005"/>
                <a:gd name="connsiteY18" fmla="*/ 519843 h 2071892"/>
                <a:gd name="connsiteX19" fmla="*/ 787244 w 5032005"/>
                <a:gd name="connsiteY19" fmla="*/ 519843 h 2071892"/>
                <a:gd name="connsiteX20" fmla="*/ 787244 w 5032005"/>
                <a:gd name="connsiteY20" fmla="*/ 546022 h 2071892"/>
                <a:gd name="connsiteX21" fmla="*/ 826512 w 5032005"/>
                <a:gd name="connsiteY21" fmla="*/ 546022 h 2071892"/>
                <a:gd name="connsiteX22" fmla="*/ 826512 w 5032005"/>
                <a:gd name="connsiteY22" fmla="*/ 566591 h 2071892"/>
                <a:gd name="connsiteX23" fmla="*/ 906920 w 5032005"/>
                <a:gd name="connsiteY23" fmla="*/ 566591 h 2071892"/>
                <a:gd name="connsiteX24" fmla="*/ 906920 w 5032005"/>
                <a:gd name="connsiteY24" fmla="*/ 577811 h 2071892"/>
                <a:gd name="connsiteX25" fmla="*/ 976108 w 5032005"/>
                <a:gd name="connsiteY25" fmla="*/ 577811 h 2071892"/>
                <a:gd name="connsiteX26" fmla="*/ 976108 w 5032005"/>
                <a:gd name="connsiteY26" fmla="*/ 590900 h 2071892"/>
                <a:gd name="connsiteX27" fmla="*/ 1020986 w 5032005"/>
                <a:gd name="connsiteY27" fmla="*/ 590900 h 2071892"/>
                <a:gd name="connsiteX28" fmla="*/ 1020986 w 5032005"/>
                <a:gd name="connsiteY28" fmla="*/ 603990 h 2071892"/>
                <a:gd name="connsiteX29" fmla="*/ 1099524 w 5032005"/>
                <a:gd name="connsiteY29" fmla="*/ 603990 h 2071892"/>
                <a:gd name="connsiteX30" fmla="*/ 1099524 w 5032005"/>
                <a:gd name="connsiteY30" fmla="*/ 660088 h 2071892"/>
                <a:gd name="connsiteX31" fmla="*/ 1136922 w 5032005"/>
                <a:gd name="connsiteY31" fmla="*/ 660088 h 2071892"/>
                <a:gd name="connsiteX32" fmla="*/ 1136922 w 5032005"/>
                <a:gd name="connsiteY32" fmla="*/ 738625 h 2071892"/>
                <a:gd name="connsiteX33" fmla="*/ 1151882 w 5032005"/>
                <a:gd name="connsiteY33" fmla="*/ 738625 h 2071892"/>
                <a:gd name="connsiteX34" fmla="*/ 1151882 w 5032005"/>
                <a:gd name="connsiteY34" fmla="*/ 777894 h 2071892"/>
                <a:gd name="connsiteX35" fmla="*/ 1178061 w 5032005"/>
                <a:gd name="connsiteY35" fmla="*/ 777894 h 2071892"/>
                <a:gd name="connsiteX36" fmla="*/ 1178061 w 5032005"/>
                <a:gd name="connsiteY36" fmla="*/ 798464 h 2071892"/>
                <a:gd name="connsiteX37" fmla="*/ 1202370 w 5032005"/>
                <a:gd name="connsiteY37" fmla="*/ 798464 h 2071892"/>
                <a:gd name="connsiteX38" fmla="*/ 1202370 w 5032005"/>
                <a:gd name="connsiteY38" fmla="*/ 817163 h 2071892"/>
                <a:gd name="connsiteX39" fmla="*/ 1254728 w 5032005"/>
                <a:gd name="connsiteY39" fmla="*/ 817163 h 2071892"/>
                <a:gd name="connsiteX40" fmla="*/ 1254728 w 5032005"/>
                <a:gd name="connsiteY40" fmla="*/ 828383 h 2071892"/>
                <a:gd name="connsiteX41" fmla="*/ 1381884 w 5032005"/>
                <a:gd name="connsiteY41" fmla="*/ 828383 h 2071892"/>
                <a:gd name="connsiteX42" fmla="*/ 1381884 w 5032005"/>
                <a:gd name="connsiteY42" fmla="*/ 847082 h 2071892"/>
                <a:gd name="connsiteX43" fmla="*/ 1411803 w 5032005"/>
                <a:gd name="connsiteY43" fmla="*/ 847082 h 2071892"/>
                <a:gd name="connsiteX44" fmla="*/ 1411803 w 5032005"/>
                <a:gd name="connsiteY44" fmla="*/ 865781 h 2071892"/>
                <a:gd name="connsiteX45" fmla="*/ 1480991 w 5032005"/>
                <a:gd name="connsiteY45" fmla="*/ 865781 h 2071892"/>
                <a:gd name="connsiteX46" fmla="*/ 1480991 w 5032005"/>
                <a:gd name="connsiteY46" fmla="*/ 916270 h 2071892"/>
                <a:gd name="connsiteX47" fmla="*/ 1527739 w 5032005"/>
                <a:gd name="connsiteY47" fmla="*/ 916270 h 2071892"/>
                <a:gd name="connsiteX48" fmla="*/ 1527739 w 5032005"/>
                <a:gd name="connsiteY48" fmla="*/ 992937 h 2071892"/>
                <a:gd name="connsiteX49" fmla="*/ 1595057 w 5032005"/>
                <a:gd name="connsiteY49" fmla="*/ 992937 h 2071892"/>
                <a:gd name="connsiteX50" fmla="*/ 1595057 w 5032005"/>
                <a:gd name="connsiteY50" fmla="*/ 1020986 h 2071892"/>
                <a:gd name="connsiteX51" fmla="*/ 1675465 w 5032005"/>
                <a:gd name="connsiteY51" fmla="*/ 1020986 h 2071892"/>
                <a:gd name="connsiteX52" fmla="*/ 1675465 w 5032005"/>
                <a:gd name="connsiteY52" fmla="*/ 1041556 h 2071892"/>
                <a:gd name="connsiteX53" fmla="*/ 1778311 w 5032005"/>
                <a:gd name="connsiteY53" fmla="*/ 1041556 h 2071892"/>
                <a:gd name="connsiteX54" fmla="*/ 1778311 w 5032005"/>
                <a:gd name="connsiteY54" fmla="*/ 1052775 h 2071892"/>
                <a:gd name="connsiteX55" fmla="*/ 1841889 w 5032005"/>
                <a:gd name="connsiteY55" fmla="*/ 1052775 h 2071892"/>
                <a:gd name="connsiteX56" fmla="*/ 1841889 w 5032005"/>
                <a:gd name="connsiteY56" fmla="*/ 1067735 h 2071892"/>
                <a:gd name="connsiteX57" fmla="*/ 1875548 w 5032005"/>
                <a:gd name="connsiteY57" fmla="*/ 1067735 h 2071892"/>
                <a:gd name="connsiteX58" fmla="*/ 1875548 w 5032005"/>
                <a:gd name="connsiteY58" fmla="*/ 1110743 h 2071892"/>
                <a:gd name="connsiteX59" fmla="*/ 1897987 w 5032005"/>
                <a:gd name="connsiteY59" fmla="*/ 1110743 h 2071892"/>
                <a:gd name="connsiteX60" fmla="*/ 1897987 w 5032005"/>
                <a:gd name="connsiteY60" fmla="*/ 1265948 h 2071892"/>
                <a:gd name="connsiteX61" fmla="*/ 1961565 w 5032005"/>
                <a:gd name="connsiteY61" fmla="*/ 1265948 h 2071892"/>
                <a:gd name="connsiteX62" fmla="*/ 1961565 w 5032005"/>
                <a:gd name="connsiteY62" fmla="*/ 1293997 h 2071892"/>
                <a:gd name="connsiteX63" fmla="*/ 2049452 w 5032005"/>
                <a:gd name="connsiteY63" fmla="*/ 1293997 h 2071892"/>
                <a:gd name="connsiteX64" fmla="*/ 2049452 w 5032005"/>
                <a:gd name="connsiteY64" fmla="*/ 1323916 h 2071892"/>
                <a:gd name="connsiteX65" fmla="*/ 2118640 w 5032005"/>
                <a:gd name="connsiteY65" fmla="*/ 1323916 h 2071892"/>
                <a:gd name="connsiteX66" fmla="*/ 2118640 w 5032005"/>
                <a:gd name="connsiteY66" fmla="*/ 1348225 h 2071892"/>
                <a:gd name="connsiteX67" fmla="*/ 2253276 w 5032005"/>
                <a:gd name="connsiteY67" fmla="*/ 1348225 h 2071892"/>
                <a:gd name="connsiteX68" fmla="*/ 2253276 w 5032005"/>
                <a:gd name="connsiteY68" fmla="*/ 1400584 h 2071892"/>
                <a:gd name="connsiteX69" fmla="*/ 2279455 w 5032005"/>
                <a:gd name="connsiteY69" fmla="*/ 1400584 h 2071892"/>
                <a:gd name="connsiteX70" fmla="*/ 2279455 w 5032005"/>
                <a:gd name="connsiteY70" fmla="*/ 1432373 h 2071892"/>
                <a:gd name="connsiteX71" fmla="*/ 2298154 w 5032005"/>
                <a:gd name="connsiteY71" fmla="*/ 1432373 h 2071892"/>
                <a:gd name="connsiteX72" fmla="*/ 2298154 w 5032005"/>
                <a:gd name="connsiteY72" fmla="*/ 1462292 h 2071892"/>
                <a:gd name="connsiteX73" fmla="*/ 2397261 w 5032005"/>
                <a:gd name="connsiteY73" fmla="*/ 1462292 h 2071892"/>
                <a:gd name="connsiteX74" fmla="*/ 2397261 w 5032005"/>
                <a:gd name="connsiteY74" fmla="*/ 1479121 h 2071892"/>
                <a:gd name="connsiteX75" fmla="*/ 2619784 w 5032005"/>
                <a:gd name="connsiteY75" fmla="*/ 1479121 h 2071892"/>
                <a:gd name="connsiteX76" fmla="*/ 2619784 w 5032005"/>
                <a:gd name="connsiteY76" fmla="*/ 1561398 h 2071892"/>
                <a:gd name="connsiteX77" fmla="*/ 2659052 w 5032005"/>
                <a:gd name="connsiteY77" fmla="*/ 1561398 h 2071892"/>
                <a:gd name="connsiteX78" fmla="*/ 2659052 w 5032005"/>
                <a:gd name="connsiteY78" fmla="*/ 1636196 h 2071892"/>
                <a:gd name="connsiteX79" fmla="*/ 2761899 w 5032005"/>
                <a:gd name="connsiteY79" fmla="*/ 1636196 h 2071892"/>
                <a:gd name="connsiteX80" fmla="*/ 2761899 w 5032005"/>
                <a:gd name="connsiteY80" fmla="*/ 1647416 h 2071892"/>
                <a:gd name="connsiteX81" fmla="*/ 2855396 w 5032005"/>
                <a:gd name="connsiteY81" fmla="*/ 1647416 h 2071892"/>
                <a:gd name="connsiteX82" fmla="*/ 2855396 w 5032005"/>
                <a:gd name="connsiteY82" fmla="*/ 1669855 h 2071892"/>
                <a:gd name="connsiteX83" fmla="*/ 2907754 w 5032005"/>
                <a:gd name="connsiteY83" fmla="*/ 1669855 h 2071892"/>
                <a:gd name="connsiteX84" fmla="*/ 2907754 w 5032005"/>
                <a:gd name="connsiteY84" fmla="*/ 1684814 h 2071892"/>
                <a:gd name="connsiteX85" fmla="*/ 3003121 w 5032005"/>
                <a:gd name="connsiteY85" fmla="*/ 1684814 h 2071892"/>
                <a:gd name="connsiteX86" fmla="*/ 3003121 w 5032005"/>
                <a:gd name="connsiteY86" fmla="*/ 1714733 h 2071892"/>
                <a:gd name="connsiteX87" fmla="*/ 3031170 w 5032005"/>
                <a:gd name="connsiteY87" fmla="*/ 1714733 h 2071892"/>
                <a:gd name="connsiteX88" fmla="*/ 3031170 w 5032005"/>
                <a:gd name="connsiteY88" fmla="*/ 1748392 h 2071892"/>
                <a:gd name="connsiteX89" fmla="*/ 3051739 w 5032005"/>
                <a:gd name="connsiteY89" fmla="*/ 1748392 h 2071892"/>
                <a:gd name="connsiteX90" fmla="*/ 3051739 w 5032005"/>
                <a:gd name="connsiteY90" fmla="*/ 1765222 h 2071892"/>
                <a:gd name="connsiteX91" fmla="*/ 3081659 w 5032005"/>
                <a:gd name="connsiteY91" fmla="*/ 1765222 h 2071892"/>
                <a:gd name="connsiteX92" fmla="*/ 3081659 w 5032005"/>
                <a:gd name="connsiteY92" fmla="*/ 1782051 h 2071892"/>
                <a:gd name="connsiteX93" fmla="*/ 3150846 w 5032005"/>
                <a:gd name="connsiteY93" fmla="*/ 1782051 h 2071892"/>
                <a:gd name="connsiteX94" fmla="*/ 3150846 w 5032005"/>
                <a:gd name="connsiteY94" fmla="*/ 1810100 h 2071892"/>
                <a:gd name="connsiteX95" fmla="*/ 3175155 w 5032005"/>
                <a:gd name="connsiteY95" fmla="*/ 1810100 h 2071892"/>
                <a:gd name="connsiteX96" fmla="*/ 3175155 w 5032005"/>
                <a:gd name="connsiteY96" fmla="*/ 1825060 h 2071892"/>
                <a:gd name="connsiteX97" fmla="*/ 3401418 w 5032005"/>
                <a:gd name="connsiteY97" fmla="*/ 1825060 h 2071892"/>
                <a:gd name="connsiteX98" fmla="*/ 3401418 w 5032005"/>
                <a:gd name="connsiteY98" fmla="*/ 1851239 h 2071892"/>
                <a:gd name="connsiteX99" fmla="*/ 3444427 w 5032005"/>
                <a:gd name="connsiteY99" fmla="*/ 1851239 h 2071892"/>
                <a:gd name="connsiteX100" fmla="*/ 3444427 w 5032005"/>
                <a:gd name="connsiteY100" fmla="*/ 1883028 h 2071892"/>
                <a:gd name="connsiteX101" fmla="*/ 3599632 w 5032005"/>
                <a:gd name="connsiteY101" fmla="*/ 1883028 h 2071892"/>
                <a:gd name="connsiteX102" fmla="*/ 3599632 w 5032005"/>
                <a:gd name="connsiteY102" fmla="*/ 1903597 h 2071892"/>
                <a:gd name="connsiteX103" fmla="*/ 3773536 w 5032005"/>
                <a:gd name="connsiteY103" fmla="*/ 1903597 h 2071892"/>
                <a:gd name="connsiteX104" fmla="*/ 3773536 w 5032005"/>
                <a:gd name="connsiteY104" fmla="*/ 1931646 h 2071892"/>
                <a:gd name="connsiteX105" fmla="*/ 3809065 w 5032005"/>
                <a:gd name="connsiteY105" fmla="*/ 1931646 h 2071892"/>
                <a:gd name="connsiteX106" fmla="*/ 3809065 w 5032005"/>
                <a:gd name="connsiteY106" fmla="*/ 1980265 h 2071892"/>
                <a:gd name="connsiteX107" fmla="*/ 4177443 w 5032005"/>
                <a:gd name="connsiteY107" fmla="*/ 1980265 h 2071892"/>
                <a:gd name="connsiteX108" fmla="*/ 4177443 w 5032005"/>
                <a:gd name="connsiteY108" fmla="*/ 2002704 h 2071892"/>
                <a:gd name="connsiteX109" fmla="*/ 4214841 w 5032005"/>
                <a:gd name="connsiteY109" fmla="*/ 2002704 h 2071892"/>
                <a:gd name="connsiteX110" fmla="*/ 4214841 w 5032005"/>
                <a:gd name="connsiteY110" fmla="*/ 2028883 h 2071892"/>
                <a:gd name="connsiteX111" fmla="*/ 4553300 w 5032005"/>
                <a:gd name="connsiteY111" fmla="*/ 2028883 h 2071892"/>
                <a:gd name="connsiteX112" fmla="*/ 4553300 w 5032005"/>
                <a:gd name="connsiteY112" fmla="*/ 2066282 h 2071892"/>
                <a:gd name="connsiteX113" fmla="*/ 5032005 w 5032005"/>
                <a:gd name="connsiteY113" fmla="*/ 2071892 h 207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5032005" h="2071892">
                  <a:moveTo>
                    <a:pt x="0" y="0"/>
                  </a:moveTo>
                  <a:lnTo>
                    <a:pt x="216912" y="0"/>
                  </a:lnTo>
                  <a:lnTo>
                    <a:pt x="216912" y="33659"/>
                  </a:lnTo>
                  <a:lnTo>
                    <a:pt x="252441" y="33659"/>
                  </a:lnTo>
                  <a:lnTo>
                    <a:pt x="252441" y="205693"/>
                  </a:lnTo>
                  <a:lnTo>
                    <a:pt x="286100" y="205693"/>
                  </a:lnTo>
                  <a:lnTo>
                    <a:pt x="286100" y="237482"/>
                  </a:lnTo>
                  <a:lnTo>
                    <a:pt x="504883" y="237482"/>
                  </a:lnTo>
                  <a:lnTo>
                    <a:pt x="504883" y="329109"/>
                  </a:lnTo>
                  <a:lnTo>
                    <a:pt x="531062" y="329109"/>
                  </a:lnTo>
                  <a:lnTo>
                    <a:pt x="531062" y="353418"/>
                  </a:lnTo>
                  <a:lnTo>
                    <a:pt x="568461" y="353418"/>
                  </a:lnTo>
                  <a:lnTo>
                    <a:pt x="568461" y="370248"/>
                  </a:lnTo>
                  <a:lnTo>
                    <a:pt x="620819" y="370248"/>
                  </a:lnTo>
                  <a:lnTo>
                    <a:pt x="620819" y="387077"/>
                  </a:lnTo>
                  <a:lnTo>
                    <a:pt x="721796" y="387077"/>
                  </a:lnTo>
                  <a:lnTo>
                    <a:pt x="721796" y="435695"/>
                  </a:lnTo>
                  <a:lnTo>
                    <a:pt x="759195" y="435695"/>
                  </a:lnTo>
                  <a:lnTo>
                    <a:pt x="759195" y="519843"/>
                  </a:lnTo>
                  <a:lnTo>
                    <a:pt x="787244" y="519843"/>
                  </a:lnTo>
                  <a:lnTo>
                    <a:pt x="787244" y="546022"/>
                  </a:lnTo>
                  <a:lnTo>
                    <a:pt x="826512" y="546022"/>
                  </a:lnTo>
                  <a:lnTo>
                    <a:pt x="826512" y="566591"/>
                  </a:lnTo>
                  <a:lnTo>
                    <a:pt x="906920" y="566591"/>
                  </a:lnTo>
                  <a:lnTo>
                    <a:pt x="906920" y="577811"/>
                  </a:lnTo>
                  <a:lnTo>
                    <a:pt x="976108" y="577811"/>
                  </a:lnTo>
                  <a:lnTo>
                    <a:pt x="976108" y="590900"/>
                  </a:lnTo>
                  <a:lnTo>
                    <a:pt x="1020986" y="590900"/>
                  </a:lnTo>
                  <a:lnTo>
                    <a:pt x="1020986" y="603990"/>
                  </a:lnTo>
                  <a:lnTo>
                    <a:pt x="1099524" y="603990"/>
                  </a:lnTo>
                  <a:lnTo>
                    <a:pt x="1099524" y="660088"/>
                  </a:lnTo>
                  <a:lnTo>
                    <a:pt x="1136922" y="660088"/>
                  </a:lnTo>
                  <a:lnTo>
                    <a:pt x="1136922" y="738625"/>
                  </a:lnTo>
                  <a:lnTo>
                    <a:pt x="1151882" y="738625"/>
                  </a:lnTo>
                  <a:lnTo>
                    <a:pt x="1151882" y="777894"/>
                  </a:lnTo>
                  <a:lnTo>
                    <a:pt x="1178061" y="777894"/>
                  </a:lnTo>
                  <a:lnTo>
                    <a:pt x="1178061" y="798464"/>
                  </a:lnTo>
                  <a:lnTo>
                    <a:pt x="1202370" y="798464"/>
                  </a:lnTo>
                  <a:lnTo>
                    <a:pt x="1202370" y="817163"/>
                  </a:lnTo>
                  <a:lnTo>
                    <a:pt x="1254728" y="817163"/>
                  </a:lnTo>
                  <a:lnTo>
                    <a:pt x="1254728" y="828383"/>
                  </a:lnTo>
                  <a:lnTo>
                    <a:pt x="1381884" y="828383"/>
                  </a:lnTo>
                  <a:lnTo>
                    <a:pt x="1381884" y="847082"/>
                  </a:lnTo>
                  <a:lnTo>
                    <a:pt x="1411803" y="847082"/>
                  </a:lnTo>
                  <a:lnTo>
                    <a:pt x="1411803" y="865781"/>
                  </a:lnTo>
                  <a:lnTo>
                    <a:pt x="1480991" y="865781"/>
                  </a:lnTo>
                  <a:lnTo>
                    <a:pt x="1480991" y="916270"/>
                  </a:lnTo>
                  <a:lnTo>
                    <a:pt x="1527739" y="916270"/>
                  </a:lnTo>
                  <a:lnTo>
                    <a:pt x="1527739" y="992937"/>
                  </a:lnTo>
                  <a:lnTo>
                    <a:pt x="1595057" y="992937"/>
                  </a:lnTo>
                  <a:lnTo>
                    <a:pt x="1595057" y="1020986"/>
                  </a:lnTo>
                  <a:lnTo>
                    <a:pt x="1675465" y="1020986"/>
                  </a:lnTo>
                  <a:lnTo>
                    <a:pt x="1675465" y="1041556"/>
                  </a:lnTo>
                  <a:lnTo>
                    <a:pt x="1778311" y="1041556"/>
                  </a:lnTo>
                  <a:lnTo>
                    <a:pt x="1778311" y="1052775"/>
                  </a:lnTo>
                  <a:lnTo>
                    <a:pt x="1841889" y="1052775"/>
                  </a:lnTo>
                  <a:lnTo>
                    <a:pt x="1841889" y="1067735"/>
                  </a:lnTo>
                  <a:lnTo>
                    <a:pt x="1875548" y="1067735"/>
                  </a:lnTo>
                  <a:lnTo>
                    <a:pt x="1875548" y="1110743"/>
                  </a:lnTo>
                  <a:lnTo>
                    <a:pt x="1897987" y="1110743"/>
                  </a:lnTo>
                  <a:lnTo>
                    <a:pt x="1897987" y="1265948"/>
                  </a:lnTo>
                  <a:lnTo>
                    <a:pt x="1961565" y="1265948"/>
                  </a:lnTo>
                  <a:lnTo>
                    <a:pt x="1961565" y="1293997"/>
                  </a:lnTo>
                  <a:lnTo>
                    <a:pt x="2049452" y="1293997"/>
                  </a:lnTo>
                  <a:lnTo>
                    <a:pt x="2049452" y="1323916"/>
                  </a:lnTo>
                  <a:lnTo>
                    <a:pt x="2118640" y="1323916"/>
                  </a:lnTo>
                  <a:lnTo>
                    <a:pt x="2118640" y="1348225"/>
                  </a:lnTo>
                  <a:lnTo>
                    <a:pt x="2253276" y="1348225"/>
                  </a:lnTo>
                  <a:lnTo>
                    <a:pt x="2253276" y="1400584"/>
                  </a:lnTo>
                  <a:lnTo>
                    <a:pt x="2279455" y="1400584"/>
                  </a:lnTo>
                  <a:lnTo>
                    <a:pt x="2279455" y="1432373"/>
                  </a:lnTo>
                  <a:lnTo>
                    <a:pt x="2298154" y="1432373"/>
                  </a:lnTo>
                  <a:lnTo>
                    <a:pt x="2298154" y="1462292"/>
                  </a:lnTo>
                  <a:lnTo>
                    <a:pt x="2397261" y="1462292"/>
                  </a:lnTo>
                  <a:lnTo>
                    <a:pt x="2397261" y="1479121"/>
                  </a:lnTo>
                  <a:lnTo>
                    <a:pt x="2619784" y="1479121"/>
                  </a:lnTo>
                  <a:lnTo>
                    <a:pt x="2619784" y="1561398"/>
                  </a:lnTo>
                  <a:lnTo>
                    <a:pt x="2659052" y="1561398"/>
                  </a:lnTo>
                  <a:lnTo>
                    <a:pt x="2659052" y="1636196"/>
                  </a:lnTo>
                  <a:lnTo>
                    <a:pt x="2761899" y="1636196"/>
                  </a:lnTo>
                  <a:lnTo>
                    <a:pt x="2761899" y="1647416"/>
                  </a:lnTo>
                  <a:lnTo>
                    <a:pt x="2855396" y="1647416"/>
                  </a:lnTo>
                  <a:lnTo>
                    <a:pt x="2855396" y="1669855"/>
                  </a:lnTo>
                  <a:lnTo>
                    <a:pt x="2907754" y="1669855"/>
                  </a:lnTo>
                  <a:lnTo>
                    <a:pt x="2907754" y="1684814"/>
                  </a:lnTo>
                  <a:lnTo>
                    <a:pt x="3003121" y="1684814"/>
                  </a:lnTo>
                  <a:lnTo>
                    <a:pt x="3003121" y="1714733"/>
                  </a:lnTo>
                  <a:lnTo>
                    <a:pt x="3031170" y="1714733"/>
                  </a:lnTo>
                  <a:lnTo>
                    <a:pt x="3031170" y="1748392"/>
                  </a:lnTo>
                  <a:lnTo>
                    <a:pt x="3051739" y="1748392"/>
                  </a:lnTo>
                  <a:lnTo>
                    <a:pt x="3051739" y="1765222"/>
                  </a:lnTo>
                  <a:lnTo>
                    <a:pt x="3081659" y="1765222"/>
                  </a:lnTo>
                  <a:lnTo>
                    <a:pt x="3081659" y="1782051"/>
                  </a:lnTo>
                  <a:lnTo>
                    <a:pt x="3150846" y="1782051"/>
                  </a:lnTo>
                  <a:lnTo>
                    <a:pt x="3150846" y="1810100"/>
                  </a:lnTo>
                  <a:lnTo>
                    <a:pt x="3175155" y="1810100"/>
                  </a:lnTo>
                  <a:lnTo>
                    <a:pt x="3175155" y="1825060"/>
                  </a:lnTo>
                  <a:lnTo>
                    <a:pt x="3401418" y="1825060"/>
                  </a:lnTo>
                  <a:lnTo>
                    <a:pt x="3401418" y="1851239"/>
                  </a:lnTo>
                  <a:lnTo>
                    <a:pt x="3444427" y="1851239"/>
                  </a:lnTo>
                  <a:lnTo>
                    <a:pt x="3444427" y="1883028"/>
                  </a:lnTo>
                  <a:lnTo>
                    <a:pt x="3599632" y="1883028"/>
                  </a:lnTo>
                  <a:lnTo>
                    <a:pt x="3599632" y="1903597"/>
                  </a:lnTo>
                  <a:lnTo>
                    <a:pt x="3773536" y="1903597"/>
                  </a:lnTo>
                  <a:lnTo>
                    <a:pt x="3773536" y="1931646"/>
                  </a:lnTo>
                  <a:lnTo>
                    <a:pt x="3809065" y="1931646"/>
                  </a:lnTo>
                  <a:lnTo>
                    <a:pt x="3809065" y="1980265"/>
                  </a:lnTo>
                  <a:lnTo>
                    <a:pt x="4177443" y="1980265"/>
                  </a:lnTo>
                  <a:lnTo>
                    <a:pt x="4177443" y="2002704"/>
                  </a:lnTo>
                  <a:lnTo>
                    <a:pt x="4214841" y="2002704"/>
                  </a:lnTo>
                  <a:lnTo>
                    <a:pt x="4214841" y="2028883"/>
                  </a:lnTo>
                  <a:lnTo>
                    <a:pt x="4553300" y="2028883"/>
                  </a:lnTo>
                  <a:lnTo>
                    <a:pt x="4553300" y="2066282"/>
                  </a:lnTo>
                  <a:cubicBezTo>
                    <a:pt x="4583219" y="2066282"/>
                    <a:pt x="5002086" y="2071892"/>
                    <a:pt x="5032005" y="2071892"/>
                  </a:cubicBezTo>
                </a:path>
              </a:pathLst>
            </a:cu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106" name="Oval 195">
              <a:extLst>
                <a:ext uri="{FF2B5EF4-FFF2-40B4-BE49-F238E27FC236}">
                  <a16:creationId xmlns:a16="http://schemas.microsoft.com/office/drawing/2014/main" id="{FFD605AD-95F5-A99F-5C31-346887E3319B}"/>
                </a:ext>
              </a:extLst>
            </p:cNvPr>
            <p:cNvSpPr>
              <a:spLocks noChangeArrowheads="1"/>
            </p:cNvSpPr>
            <p:nvPr/>
          </p:nvSpPr>
          <p:spPr bwMode="auto">
            <a:xfrm>
              <a:off x="1699039" y="2603859"/>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07" name="Oval 276">
              <a:extLst>
                <a:ext uri="{FF2B5EF4-FFF2-40B4-BE49-F238E27FC236}">
                  <a16:creationId xmlns:a16="http://schemas.microsoft.com/office/drawing/2014/main" id="{F721F5BE-6AC9-97F6-85FB-5790DC92CB4C}"/>
                </a:ext>
              </a:extLst>
            </p:cNvPr>
            <p:cNvSpPr>
              <a:spLocks noChangeArrowheads="1"/>
            </p:cNvSpPr>
            <p:nvPr/>
          </p:nvSpPr>
          <p:spPr bwMode="auto">
            <a:xfrm>
              <a:off x="1488243" y="2565560"/>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08" name="Oval 195">
              <a:extLst>
                <a:ext uri="{FF2B5EF4-FFF2-40B4-BE49-F238E27FC236}">
                  <a16:creationId xmlns:a16="http://schemas.microsoft.com/office/drawing/2014/main" id="{3D0B5C8D-6CA7-A387-4A84-2324BEBB39C9}"/>
                </a:ext>
              </a:extLst>
            </p:cNvPr>
            <p:cNvSpPr>
              <a:spLocks noChangeArrowheads="1"/>
            </p:cNvSpPr>
            <p:nvPr/>
          </p:nvSpPr>
          <p:spPr bwMode="auto">
            <a:xfrm>
              <a:off x="1716804" y="2653412"/>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09" name="Oval 195">
              <a:extLst>
                <a:ext uri="{FF2B5EF4-FFF2-40B4-BE49-F238E27FC236}">
                  <a16:creationId xmlns:a16="http://schemas.microsoft.com/office/drawing/2014/main" id="{96FBD8C6-30F5-6F09-B4BD-92AD9FDFEAA7}"/>
                </a:ext>
              </a:extLst>
            </p:cNvPr>
            <p:cNvSpPr>
              <a:spLocks noChangeArrowheads="1"/>
            </p:cNvSpPr>
            <p:nvPr/>
          </p:nvSpPr>
          <p:spPr bwMode="auto">
            <a:xfrm>
              <a:off x="1734569" y="2702965"/>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10" name="Oval 195">
              <a:extLst>
                <a:ext uri="{FF2B5EF4-FFF2-40B4-BE49-F238E27FC236}">
                  <a16:creationId xmlns:a16="http://schemas.microsoft.com/office/drawing/2014/main" id="{4832BCEB-A951-4A9F-9DB9-23CFDEF9F38C}"/>
                </a:ext>
              </a:extLst>
            </p:cNvPr>
            <p:cNvSpPr>
              <a:spLocks noChangeArrowheads="1"/>
            </p:cNvSpPr>
            <p:nvPr/>
          </p:nvSpPr>
          <p:spPr bwMode="auto">
            <a:xfrm>
              <a:off x="1950059" y="2790687"/>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11" name="Oval 195">
              <a:extLst>
                <a:ext uri="{FF2B5EF4-FFF2-40B4-BE49-F238E27FC236}">
                  <a16:creationId xmlns:a16="http://schemas.microsoft.com/office/drawing/2014/main" id="{2A4AA00B-723C-B5ED-2A93-DE6C2501E0D4}"/>
                </a:ext>
              </a:extLst>
            </p:cNvPr>
            <p:cNvSpPr>
              <a:spLocks noChangeArrowheads="1"/>
            </p:cNvSpPr>
            <p:nvPr/>
          </p:nvSpPr>
          <p:spPr bwMode="auto">
            <a:xfrm>
              <a:off x="1974965" y="2817427"/>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12" name="Oval 195">
              <a:extLst>
                <a:ext uri="{FF2B5EF4-FFF2-40B4-BE49-F238E27FC236}">
                  <a16:creationId xmlns:a16="http://schemas.microsoft.com/office/drawing/2014/main" id="{BEE952A3-7A5B-12C2-4820-0B2193C93973}"/>
                </a:ext>
              </a:extLst>
            </p:cNvPr>
            <p:cNvSpPr>
              <a:spLocks noChangeArrowheads="1"/>
            </p:cNvSpPr>
            <p:nvPr/>
          </p:nvSpPr>
          <p:spPr bwMode="auto">
            <a:xfrm>
              <a:off x="2042581" y="2833727"/>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13" name="Oval 195">
              <a:extLst>
                <a:ext uri="{FF2B5EF4-FFF2-40B4-BE49-F238E27FC236}">
                  <a16:creationId xmlns:a16="http://schemas.microsoft.com/office/drawing/2014/main" id="{BE6C3961-FDE3-82E4-ABDE-C6BEF1B3762B}"/>
                </a:ext>
              </a:extLst>
            </p:cNvPr>
            <p:cNvSpPr>
              <a:spLocks noChangeArrowheads="1"/>
            </p:cNvSpPr>
            <p:nvPr/>
          </p:nvSpPr>
          <p:spPr bwMode="auto">
            <a:xfrm>
              <a:off x="2163186" y="2854837"/>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14" name="Oval 195">
              <a:extLst>
                <a:ext uri="{FF2B5EF4-FFF2-40B4-BE49-F238E27FC236}">
                  <a16:creationId xmlns:a16="http://schemas.microsoft.com/office/drawing/2014/main" id="{8207CE88-D822-8482-8A93-A73954EE3489}"/>
                </a:ext>
              </a:extLst>
            </p:cNvPr>
            <p:cNvSpPr>
              <a:spLocks noChangeArrowheads="1"/>
            </p:cNvSpPr>
            <p:nvPr/>
          </p:nvSpPr>
          <p:spPr bwMode="auto">
            <a:xfrm>
              <a:off x="2209685" y="2883425"/>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15" name="Oval 195">
              <a:extLst>
                <a:ext uri="{FF2B5EF4-FFF2-40B4-BE49-F238E27FC236}">
                  <a16:creationId xmlns:a16="http://schemas.microsoft.com/office/drawing/2014/main" id="{F09C238A-7F8B-530F-3B38-5CD4FD09E6BD}"/>
                </a:ext>
              </a:extLst>
            </p:cNvPr>
            <p:cNvSpPr>
              <a:spLocks noChangeArrowheads="1"/>
            </p:cNvSpPr>
            <p:nvPr/>
          </p:nvSpPr>
          <p:spPr bwMode="auto">
            <a:xfrm>
              <a:off x="2236393" y="2927346"/>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16" name="Oval 195">
              <a:extLst>
                <a:ext uri="{FF2B5EF4-FFF2-40B4-BE49-F238E27FC236}">
                  <a16:creationId xmlns:a16="http://schemas.microsoft.com/office/drawing/2014/main" id="{B7D68B37-9E0C-6F57-C5C3-231B5563D4AB}"/>
                </a:ext>
              </a:extLst>
            </p:cNvPr>
            <p:cNvSpPr>
              <a:spLocks noChangeArrowheads="1"/>
            </p:cNvSpPr>
            <p:nvPr/>
          </p:nvSpPr>
          <p:spPr bwMode="auto">
            <a:xfrm>
              <a:off x="2271014" y="2971267"/>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17" name="Oval 195">
              <a:extLst>
                <a:ext uri="{FF2B5EF4-FFF2-40B4-BE49-F238E27FC236}">
                  <a16:creationId xmlns:a16="http://schemas.microsoft.com/office/drawing/2014/main" id="{8298EFFC-811B-2FAC-500E-9B67B9ABDD3F}"/>
                </a:ext>
              </a:extLst>
            </p:cNvPr>
            <p:cNvSpPr>
              <a:spLocks noChangeArrowheads="1"/>
            </p:cNvSpPr>
            <p:nvPr/>
          </p:nvSpPr>
          <p:spPr bwMode="auto">
            <a:xfrm>
              <a:off x="2395864" y="2983676"/>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18" name="Oval 195">
              <a:extLst>
                <a:ext uri="{FF2B5EF4-FFF2-40B4-BE49-F238E27FC236}">
                  <a16:creationId xmlns:a16="http://schemas.microsoft.com/office/drawing/2014/main" id="{D9B21E99-CC48-3296-B78A-2B55A963EA9E}"/>
                </a:ext>
              </a:extLst>
            </p:cNvPr>
            <p:cNvSpPr>
              <a:spLocks noChangeArrowheads="1"/>
            </p:cNvSpPr>
            <p:nvPr/>
          </p:nvSpPr>
          <p:spPr bwMode="auto">
            <a:xfrm>
              <a:off x="2486093" y="3004270"/>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19" name="Oval 195">
              <a:extLst>
                <a:ext uri="{FF2B5EF4-FFF2-40B4-BE49-F238E27FC236}">
                  <a16:creationId xmlns:a16="http://schemas.microsoft.com/office/drawing/2014/main" id="{016B87AD-34A0-76A8-2924-9E5E5211EFD4}"/>
                </a:ext>
              </a:extLst>
            </p:cNvPr>
            <p:cNvSpPr>
              <a:spLocks noChangeArrowheads="1"/>
            </p:cNvSpPr>
            <p:nvPr/>
          </p:nvSpPr>
          <p:spPr bwMode="auto">
            <a:xfrm>
              <a:off x="2550826" y="3016675"/>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20" name="Oval 195">
              <a:extLst>
                <a:ext uri="{FF2B5EF4-FFF2-40B4-BE49-F238E27FC236}">
                  <a16:creationId xmlns:a16="http://schemas.microsoft.com/office/drawing/2014/main" id="{62B0797B-65D4-C458-D302-36A8AB7C9E7C}"/>
                </a:ext>
              </a:extLst>
            </p:cNvPr>
            <p:cNvSpPr>
              <a:spLocks noChangeArrowheads="1"/>
            </p:cNvSpPr>
            <p:nvPr/>
          </p:nvSpPr>
          <p:spPr bwMode="auto">
            <a:xfrm>
              <a:off x="2609834" y="3126889"/>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21" name="Oval 195">
              <a:extLst>
                <a:ext uri="{FF2B5EF4-FFF2-40B4-BE49-F238E27FC236}">
                  <a16:creationId xmlns:a16="http://schemas.microsoft.com/office/drawing/2014/main" id="{A0E9688E-6256-F78D-2E6F-8DD41B3BB9B0}"/>
                </a:ext>
              </a:extLst>
            </p:cNvPr>
            <p:cNvSpPr>
              <a:spLocks noChangeArrowheads="1"/>
            </p:cNvSpPr>
            <p:nvPr/>
          </p:nvSpPr>
          <p:spPr bwMode="auto">
            <a:xfrm>
              <a:off x="2642036" y="3169344"/>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22" name="Oval 195">
              <a:extLst>
                <a:ext uri="{FF2B5EF4-FFF2-40B4-BE49-F238E27FC236}">
                  <a16:creationId xmlns:a16="http://schemas.microsoft.com/office/drawing/2014/main" id="{9351B706-9128-98A5-23DC-E715041AB931}"/>
                </a:ext>
              </a:extLst>
            </p:cNvPr>
            <p:cNvSpPr>
              <a:spLocks noChangeArrowheads="1"/>
            </p:cNvSpPr>
            <p:nvPr/>
          </p:nvSpPr>
          <p:spPr bwMode="auto">
            <a:xfrm>
              <a:off x="2896392" y="3227862"/>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23" name="Oval 195">
              <a:extLst>
                <a:ext uri="{FF2B5EF4-FFF2-40B4-BE49-F238E27FC236}">
                  <a16:creationId xmlns:a16="http://schemas.microsoft.com/office/drawing/2014/main" id="{E0FF2449-2157-7494-9E1E-9533D79D1C84}"/>
                </a:ext>
              </a:extLst>
            </p:cNvPr>
            <p:cNvSpPr>
              <a:spLocks noChangeArrowheads="1"/>
            </p:cNvSpPr>
            <p:nvPr/>
          </p:nvSpPr>
          <p:spPr bwMode="auto">
            <a:xfrm>
              <a:off x="2974783" y="3267645"/>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24" name="Oval 195">
              <a:extLst>
                <a:ext uri="{FF2B5EF4-FFF2-40B4-BE49-F238E27FC236}">
                  <a16:creationId xmlns:a16="http://schemas.microsoft.com/office/drawing/2014/main" id="{38869045-D905-B5DF-BFE8-A0336F0CAE65}"/>
                </a:ext>
              </a:extLst>
            </p:cNvPr>
            <p:cNvSpPr>
              <a:spLocks noChangeArrowheads="1"/>
            </p:cNvSpPr>
            <p:nvPr/>
          </p:nvSpPr>
          <p:spPr bwMode="auto">
            <a:xfrm>
              <a:off x="3017795" y="3314378"/>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25" name="Oval 195">
              <a:extLst>
                <a:ext uri="{FF2B5EF4-FFF2-40B4-BE49-F238E27FC236}">
                  <a16:creationId xmlns:a16="http://schemas.microsoft.com/office/drawing/2014/main" id="{53DA36B8-0B2E-0D50-61F3-D75558B4906C}"/>
                </a:ext>
              </a:extLst>
            </p:cNvPr>
            <p:cNvSpPr>
              <a:spLocks noChangeArrowheads="1"/>
            </p:cNvSpPr>
            <p:nvPr/>
          </p:nvSpPr>
          <p:spPr bwMode="auto">
            <a:xfrm>
              <a:off x="2994190" y="3291012"/>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26" name="Oval 195">
              <a:extLst>
                <a:ext uri="{FF2B5EF4-FFF2-40B4-BE49-F238E27FC236}">
                  <a16:creationId xmlns:a16="http://schemas.microsoft.com/office/drawing/2014/main" id="{6392BEC1-BE7C-FB44-78F8-F7881B67C34E}"/>
                </a:ext>
              </a:extLst>
            </p:cNvPr>
            <p:cNvSpPr>
              <a:spLocks noChangeArrowheads="1"/>
            </p:cNvSpPr>
            <p:nvPr/>
          </p:nvSpPr>
          <p:spPr bwMode="auto">
            <a:xfrm>
              <a:off x="3187972" y="3396001"/>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27" name="Oval 195">
              <a:extLst>
                <a:ext uri="{FF2B5EF4-FFF2-40B4-BE49-F238E27FC236}">
                  <a16:creationId xmlns:a16="http://schemas.microsoft.com/office/drawing/2014/main" id="{1EF509A5-9A72-305A-3B33-943F62D47E61}"/>
                </a:ext>
              </a:extLst>
            </p:cNvPr>
            <p:cNvSpPr>
              <a:spLocks noChangeArrowheads="1"/>
            </p:cNvSpPr>
            <p:nvPr/>
          </p:nvSpPr>
          <p:spPr bwMode="auto">
            <a:xfrm>
              <a:off x="3240960" y="3396001"/>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28" name="Oval 195">
              <a:extLst>
                <a:ext uri="{FF2B5EF4-FFF2-40B4-BE49-F238E27FC236}">
                  <a16:creationId xmlns:a16="http://schemas.microsoft.com/office/drawing/2014/main" id="{790C7369-4811-FD48-81B6-DD959DB5E8AB}"/>
                </a:ext>
              </a:extLst>
            </p:cNvPr>
            <p:cNvSpPr>
              <a:spLocks noChangeArrowheads="1"/>
            </p:cNvSpPr>
            <p:nvPr/>
          </p:nvSpPr>
          <p:spPr bwMode="auto">
            <a:xfrm>
              <a:off x="3352914" y="3478279"/>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29" name="Oval 195">
              <a:extLst>
                <a:ext uri="{FF2B5EF4-FFF2-40B4-BE49-F238E27FC236}">
                  <a16:creationId xmlns:a16="http://schemas.microsoft.com/office/drawing/2014/main" id="{0BF3FE6C-0CA9-CB8A-8DD3-91A31E119C04}"/>
                </a:ext>
              </a:extLst>
            </p:cNvPr>
            <p:cNvSpPr>
              <a:spLocks noChangeArrowheads="1"/>
            </p:cNvSpPr>
            <p:nvPr/>
          </p:nvSpPr>
          <p:spPr bwMode="auto">
            <a:xfrm>
              <a:off x="3387535" y="3511651"/>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30" name="Oval 195">
              <a:extLst>
                <a:ext uri="{FF2B5EF4-FFF2-40B4-BE49-F238E27FC236}">
                  <a16:creationId xmlns:a16="http://schemas.microsoft.com/office/drawing/2014/main" id="{5D22C19C-9AA8-982C-6A9A-27DAAFA01918}"/>
                </a:ext>
              </a:extLst>
            </p:cNvPr>
            <p:cNvSpPr>
              <a:spLocks noChangeArrowheads="1"/>
            </p:cNvSpPr>
            <p:nvPr/>
          </p:nvSpPr>
          <p:spPr bwMode="auto">
            <a:xfrm>
              <a:off x="3696409" y="3575540"/>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31" name="Oval 195">
              <a:extLst>
                <a:ext uri="{FF2B5EF4-FFF2-40B4-BE49-F238E27FC236}">
                  <a16:creationId xmlns:a16="http://schemas.microsoft.com/office/drawing/2014/main" id="{7CE2F8A7-B123-840B-86F5-8A03C745758A}"/>
                </a:ext>
              </a:extLst>
            </p:cNvPr>
            <p:cNvSpPr>
              <a:spLocks noChangeArrowheads="1"/>
            </p:cNvSpPr>
            <p:nvPr/>
          </p:nvSpPr>
          <p:spPr bwMode="auto">
            <a:xfrm>
              <a:off x="3757944" y="3636147"/>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32" name="Oval 195">
              <a:extLst>
                <a:ext uri="{FF2B5EF4-FFF2-40B4-BE49-F238E27FC236}">
                  <a16:creationId xmlns:a16="http://schemas.microsoft.com/office/drawing/2014/main" id="{8C851AD4-C999-461D-D401-C7B24AB8CA4B}"/>
                </a:ext>
              </a:extLst>
            </p:cNvPr>
            <p:cNvSpPr>
              <a:spLocks noChangeArrowheads="1"/>
            </p:cNvSpPr>
            <p:nvPr/>
          </p:nvSpPr>
          <p:spPr bwMode="auto">
            <a:xfrm>
              <a:off x="3727936" y="3600605"/>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33" name="Oval 195">
              <a:extLst>
                <a:ext uri="{FF2B5EF4-FFF2-40B4-BE49-F238E27FC236}">
                  <a16:creationId xmlns:a16="http://schemas.microsoft.com/office/drawing/2014/main" id="{97550868-D008-A8CA-580A-CB680ED1F697}"/>
                </a:ext>
              </a:extLst>
            </p:cNvPr>
            <p:cNvSpPr>
              <a:spLocks noChangeArrowheads="1"/>
            </p:cNvSpPr>
            <p:nvPr/>
          </p:nvSpPr>
          <p:spPr bwMode="auto">
            <a:xfrm>
              <a:off x="4069882" y="3704583"/>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34" name="Oval 195">
              <a:extLst>
                <a:ext uri="{FF2B5EF4-FFF2-40B4-BE49-F238E27FC236}">
                  <a16:creationId xmlns:a16="http://schemas.microsoft.com/office/drawing/2014/main" id="{539B0799-5ACA-FA68-EA44-39A0F5308433}"/>
                </a:ext>
              </a:extLst>
            </p:cNvPr>
            <p:cNvSpPr>
              <a:spLocks noChangeArrowheads="1"/>
            </p:cNvSpPr>
            <p:nvPr/>
          </p:nvSpPr>
          <p:spPr bwMode="auto">
            <a:xfrm>
              <a:off x="4104503" y="3721282"/>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35" name="Oval 195">
              <a:extLst>
                <a:ext uri="{FF2B5EF4-FFF2-40B4-BE49-F238E27FC236}">
                  <a16:creationId xmlns:a16="http://schemas.microsoft.com/office/drawing/2014/main" id="{9C796DED-1776-48D5-617E-AE810B6ABCF2}"/>
                </a:ext>
              </a:extLst>
            </p:cNvPr>
            <p:cNvSpPr>
              <a:spLocks noChangeArrowheads="1"/>
            </p:cNvSpPr>
            <p:nvPr/>
          </p:nvSpPr>
          <p:spPr bwMode="auto">
            <a:xfrm>
              <a:off x="4131417" y="3780616"/>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36" name="Oval 195">
              <a:extLst>
                <a:ext uri="{FF2B5EF4-FFF2-40B4-BE49-F238E27FC236}">
                  <a16:creationId xmlns:a16="http://schemas.microsoft.com/office/drawing/2014/main" id="{3183E678-74CD-299B-3A7B-955CEF727327}"/>
                </a:ext>
              </a:extLst>
            </p:cNvPr>
            <p:cNvSpPr>
              <a:spLocks noChangeArrowheads="1"/>
            </p:cNvSpPr>
            <p:nvPr/>
          </p:nvSpPr>
          <p:spPr bwMode="auto">
            <a:xfrm>
              <a:off x="4255018" y="3808005"/>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37" name="Oval 195">
              <a:extLst>
                <a:ext uri="{FF2B5EF4-FFF2-40B4-BE49-F238E27FC236}">
                  <a16:creationId xmlns:a16="http://schemas.microsoft.com/office/drawing/2014/main" id="{06039C50-2921-3951-1823-FB2F0621A17E}"/>
                </a:ext>
              </a:extLst>
            </p:cNvPr>
            <p:cNvSpPr>
              <a:spLocks noChangeArrowheads="1"/>
            </p:cNvSpPr>
            <p:nvPr/>
          </p:nvSpPr>
          <p:spPr bwMode="auto">
            <a:xfrm>
              <a:off x="4383903" y="3827914"/>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38" name="Oval 195">
              <a:extLst>
                <a:ext uri="{FF2B5EF4-FFF2-40B4-BE49-F238E27FC236}">
                  <a16:creationId xmlns:a16="http://schemas.microsoft.com/office/drawing/2014/main" id="{5AB86C07-1367-3843-097A-3E687773C15B}"/>
                </a:ext>
              </a:extLst>
            </p:cNvPr>
            <p:cNvSpPr>
              <a:spLocks noChangeArrowheads="1"/>
            </p:cNvSpPr>
            <p:nvPr/>
          </p:nvSpPr>
          <p:spPr bwMode="auto">
            <a:xfrm>
              <a:off x="4493111" y="3836754"/>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39" name="Oval 195">
              <a:extLst>
                <a:ext uri="{FF2B5EF4-FFF2-40B4-BE49-F238E27FC236}">
                  <a16:creationId xmlns:a16="http://schemas.microsoft.com/office/drawing/2014/main" id="{E47F9296-C7D6-90F6-09B4-1611D2F8C8EB}"/>
                </a:ext>
              </a:extLst>
            </p:cNvPr>
            <p:cNvSpPr>
              <a:spLocks noChangeArrowheads="1"/>
            </p:cNvSpPr>
            <p:nvPr/>
          </p:nvSpPr>
          <p:spPr bwMode="auto">
            <a:xfrm>
              <a:off x="4512788" y="3856663"/>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40" name="Oval 195">
              <a:extLst>
                <a:ext uri="{FF2B5EF4-FFF2-40B4-BE49-F238E27FC236}">
                  <a16:creationId xmlns:a16="http://schemas.microsoft.com/office/drawing/2014/main" id="{227BA61D-4B59-8DB3-62F3-4BED73548FB8}"/>
                </a:ext>
              </a:extLst>
            </p:cNvPr>
            <p:cNvSpPr>
              <a:spLocks noChangeArrowheads="1"/>
            </p:cNvSpPr>
            <p:nvPr/>
          </p:nvSpPr>
          <p:spPr bwMode="auto">
            <a:xfrm>
              <a:off x="4534433" y="3879708"/>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41" name="Oval 195">
              <a:extLst>
                <a:ext uri="{FF2B5EF4-FFF2-40B4-BE49-F238E27FC236}">
                  <a16:creationId xmlns:a16="http://schemas.microsoft.com/office/drawing/2014/main" id="{563671BB-A39B-204C-6171-0DBE00B93A95}"/>
                </a:ext>
              </a:extLst>
            </p:cNvPr>
            <p:cNvSpPr>
              <a:spLocks noChangeArrowheads="1"/>
            </p:cNvSpPr>
            <p:nvPr/>
          </p:nvSpPr>
          <p:spPr bwMode="auto">
            <a:xfrm>
              <a:off x="4671010" y="3879708"/>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42" name="Oval 195">
              <a:extLst>
                <a:ext uri="{FF2B5EF4-FFF2-40B4-BE49-F238E27FC236}">
                  <a16:creationId xmlns:a16="http://schemas.microsoft.com/office/drawing/2014/main" id="{65D4F4F2-7A06-87C1-7079-7EB2C0CD9E2E}"/>
                </a:ext>
              </a:extLst>
            </p:cNvPr>
            <p:cNvSpPr>
              <a:spLocks noChangeArrowheads="1"/>
            </p:cNvSpPr>
            <p:nvPr/>
          </p:nvSpPr>
          <p:spPr bwMode="auto">
            <a:xfrm>
              <a:off x="4756526" y="3902752"/>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43" name="Oval 195">
              <a:extLst>
                <a:ext uri="{FF2B5EF4-FFF2-40B4-BE49-F238E27FC236}">
                  <a16:creationId xmlns:a16="http://schemas.microsoft.com/office/drawing/2014/main" id="{EF0D8947-1B89-41EF-1AB1-F3EA9E0A9374}"/>
                </a:ext>
              </a:extLst>
            </p:cNvPr>
            <p:cNvSpPr>
              <a:spLocks noChangeArrowheads="1"/>
            </p:cNvSpPr>
            <p:nvPr/>
          </p:nvSpPr>
          <p:spPr bwMode="auto">
            <a:xfrm>
              <a:off x="4842042" y="3925796"/>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44" name="Oval 195">
              <a:extLst>
                <a:ext uri="{FF2B5EF4-FFF2-40B4-BE49-F238E27FC236}">
                  <a16:creationId xmlns:a16="http://schemas.microsoft.com/office/drawing/2014/main" id="{4DEF0A73-7A06-0FEA-E1BD-26485A7DCD06}"/>
                </a:ext>
              </a:extLst>
            </p:cNvPr>
            <p:cNvSpPr>
              <a:spLocks noChangeArrowheads="1"/>
            </p:cNvSpPr>
            <p:nvPr/>
          </p:nvSpPr>
          <p:spPr bwMode="auto">
            <a:xfrm>
              <a:off x="4868956" y="3935751"/>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45" name="Oval 195">
              <a:extLst>
                <a:ext uri="{FF2B5EF4-FFF2-40B4-BE49-F238E27FC236}">
                  <a16:creationId xmlns:a16="http://schemas.microsoft.com/office/drawing/2014/main" id="{6B6C2892-DA3F-57FF-0650-7D102A707CEC}"/>
                </a:ext>
              </a:extLst>
            </p:cNvPr>
            <p:cNvSpPr>
              <a:spLocks noChangeArrowheads="1"/>
            </p:cNvSpPr>
            <p:nvPr/>
          </p:nvSpPr>
          <p:spPr bwMode="auto">
            <a:xfrm>
              <a:off x="4909377" y="3965579"/>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46" name="Oval 195">
              <a:extLst>
                <a:ext uri="{FF2B5EF4-FFF2-40B4-BE49-F238E27FC236}">
                  <a16:creationId xmlns:a16="http://schemas.microsoft.com/office/drawing/2014/main" id="{73253CD1-0D49-8B62-8376-D3152EDC12AC}"/>
                </a:ext>
              </a:extLst>
            </p:cNvPr>
            <p:cNvSpPr>
              <a:spLocks noChangeArrowheads="1"/>
            </p:cNvSpPr>
            <p:nvPr/>
          </p:nvSpPr>
          <p:spPr bwMode="auto">
            <a:xfrm>
              <a:off x="4885016" y="3950665"/>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47" name="Oval 195">
              <a:extLst>
                <a:ext uri="{FF2B5EF4-FFF2-40B4-BE49-F238E27FC236}">
                  <a16:creationId xmlns:a16="http://schemas.microsoft.com/office/drawing/2014/main" id="{FFD79F50-D46D-5C3A-E135-27BAD8DC33C5}"/>
                </a:ext>
              </a:extLst>
            </p:cNvPr>
            <p:cNvSpPr>
              <a:spLocks noChangeArrowheads="1"/>
            </p:cNvSpPr>
            <p:nvPr/>
          </p:nvSpPr>
          <p:spPr bwMode="auto">
            <a:xfrm>
              <a:off x="5025286" y="4006134"/>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48" name="Oval 195">
              <a:extLst>
                <a:ext uri="{FF2B5EF4-FFF2-40B4-BE49-F238E27FC236}">
                  <a16:creationId xmlns:a16="http://schemas.microsoft.com/office/drawing/2014/main" id="{D810D447-0C5E-D36F-976D-CE53BCB3D716}"/>
                </a:ext>
              </a:extLst>
            </p:cNvPr>
            <p:cNvSpPr>
              <a:spLocks noChangeArrowheads="1"/>
            </p:cNvSpPr>
            <p:nvPr/>
          </p:nvSpPr>
          <p:spPr bwMode="auto">
            <a:xfrm>
              <a:off x="5183673" y="4006134"/>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49" name="Oval 195">
              <a:extLst>
                <a:ext uri="{FF2B5EF4-FFF2-40B4-BE49-F238E27FC236}">
                  <a16:creationId xmlns:a16="http://schemas.microsoft.com/office/drawing/2014/main" id="{AE3F309A-66B2-7267-6172-1059B82EC61E}"/>
                </a:ext>
              </a:extLst>
            </p:cNvPr>
            <p:cNvSpPr>
              <a:spLocks noChangeArrowheads="1"/>
            </p:cNvSpPr>
            <p:nvPr/>
          </p:nvSpPr>
          <p:spPr bwMode="auto">
            <a:xfrm>
              <a:off x="5227966" y="4014704"/>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50" name="Oval 195">
              <a:extLst>
                <a:ext uri="{FF2B5EF4-FFF2-40B4-BE49-F238E27FC236}">
                  <a16:creationId xmlns:a16="http://schemas.microsoft.com/office/drawing/2014/main" id="{9C42FB33-E0DA-723F-B7FA-B05472EF276D}"/>
                </a:ext>
              </a:extLst>
            </p:cNvPr>
            <p:cNvSpPr>
              <a:spLocks noChangeArrowheads="1"/>
            </p:cNvSpPr>
            <p:nvPr/>
          </p:nvSpPr>
          <p:spPr bwMode="auto">
            <a:xfrm>
              <a:off x="5250053" y="4031577"/>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51" name="Oval 195">
              <a:extLst>
                <a:ext uri="{FF2B5EF4-FFF2-40B4-BE49-F238E27FC236}">
                  <a16:creationId xmlns:a16="http://schemas.microsoft.com/office/drawing/2014/main" id="{8BC1EC10-9FD3-44BB-E03C-D7878C9D2218}"/>
                </a:ext>
              </a:extLst>
            </p:cNvPr>
            <p:cNvSpPr>
              <a:spLocks noChangeArrowheads="1"/>
            </p:cNvSpPr>
            <p:nvPr/>
          </p:nvSpPr>
          <p:spPr bwMode="auto">
            <a:xfrm>
              <a:off x="5273631" y="4058920"/>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52" name="Oval 195">
              <a:extLst>
                <a:ext uri="{FF2B5EF4-FFF2-40B4-BE49-F238E27FC236}">
                  <a16:creationId xmlns:a16="http://schemas.microsoft.com/office/drawing/2014/main" id="{5B35B9B4-70D5-56D3-6C4E-0D9674005F9C}"/>
                </a:ext>
              </a:extLst>
            </p:cNvPr>
            <p:cNvSpPr>
              <a:spLocks noChangeArrowheads="1"/>
            </p:cNvSpPr>
            <p:nvPr/>
          </p:nvSpPr>
          <p:spPr bwMode="auto">
            <a:xfrm>
              <a:off x="5297209" y="4086263"/>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53" name="Oval 195">
              <a:extLst>
                <a:ext uri="{FF2B5EF4-FFF2-40B4-BE49-F238E27FC236}">
                  <a16:creationId xmlns:a16="http://schemas.microsoft.com/office/drawing/2014/main" id="{09958AE4-4959-0F72-70D1-FCDD9A1B7D86}"/>
                </a:ext>
              </a:extLst>
            </p:cNvPr>
            <p:cNvSpPr>
              <a:spLocks noChangeArrowheads="1"/>
            </p:cNvSpPr>
            <p:nvPr/>
          </p:nvSpPr>
          <p:spPr bwMode="auto">
            <a:xfrm>
              <a:off x="5285279" y="4095659"/>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54" name="Oval 195">
              <a:extLst>
                <a:ext uri="{FF2B5EF4-FFF2-40B4-BE49-F238E27FC236}">
                  <a16:creationId xmlns:a16="http://schemas.microsoft.com/office/drawing/2014/main" id="{18259618-651D-6E4D-0264-0975E1FDAE74}"/>
                </a:ext>
              </a:extLst>
            </p:cNvPr>
            <p:cNvSpPr>
              <a:spLocks noChangeArrowheads="1"/>
            </p:cNvSpPr>
            <p:nvPr/>
          </p:nvSpPr>
          <p:spPr bwMode="auto">
            <a:xfrm>
              <a:off x="5312549" y="4134015"/>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55" name="Oval 195">
              <a:extLst>
                <a:ext uri="{FF2B5EF4-FFF2-40B4-BE49-F238E27FC236}">
                  <a16:creationId xmlns:a16="http://schemas.microsoft.com/office/drawing/2014/main" id="{2808E8E0-A368-C74B-6955-A7B7B0C9E17D}"/>
                </a:ext>
              </a:extLst>
            </p:cNvPr>
            <p:cNvSpPr>
              <a:spLocks noChangeArrowheads="1"/>
            </p:cNvSpPr>
            <p:nvPr/>
          </p:nvSpPr>
          <p:spPr bwMode="auto">
            <a:xfrm>
              <a:off x="5359048" y="4136401"/>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56" name="Oval 195">
              <a:extLst>
                <a:ext uri="{FF2B5EF4-FFF2-40B4-BE49-F238E27FC236}">
                  <a16:creationId xmlns:a16="http://schemas.microsoft.com/office/drawing/2014/main" id="{485C1878-FD8D-43B5-8F8B-9196256FFEB6}"/>
                </a:ext>
              </a:extLst>
            </p:cNvPr>
            <p:cNvSpPr>
              <a:spLocks noChangeArrowheads="1"/>
            </p:cNvSpPr>
            <p:nvPr/>
          </p:nvSpPr>
          <p:spPr bwMode="auto">
            <a:xfrm>
              <a:off x="5429317" y="4136774"/>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57" name="Oval 195">
              <a:extLst>
                <a:ext uri="{FF2B5EF4-FFF2-40B4-BE49-F238E27FC236}">
                  <a16:creationId xmlns:a16="http://schemas.microsoft.com/office/drawing/2014/main" id="{62CB6DBB-33D3-3900-3C26-47F133D1DB0C}"/>
                </a:ext>
              </a:extLst>
            </p:cNvPr>
            <p:cNvSpPr>
              <a:spLocks noChangeArrowheads="1"/>
            </p:cNvSpPr>
            <p:nvPr/>
          </p:nvSpPr>
          <p:spPr bwMode="auto">
            <a:xfrm>
              <a:off x="5617384" y="4241526"/>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58" name="Oval 195">
              <a:extLst>
                <a:ext uri="{FF2B5EF4-FFF2-40B4-BE49-F238E27FC236}">
                  <a16:creationId xmlns:a16="http://schemas.microsoft.com/office/drawing/2014/main" id="{01151C58-D935-B09E-DBC3-5AE16FD13180}"/>
                </a:ext>
              </a:extLst>
            </p:cNvPr>
            <p:cNvSpPr>
              <a:spLocks noChangeArrowheads="1"/>
            </p:cNvSpPr>
            <p:nvPr/>
          </p:nvSpPr>
          <p:spPr bwMode="auto">
            <a:xfrm>
              <a:off x="5626533" y="4268266"/>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59" name="Oval 195">
              <a:extLst>
                <a:ext uri="{FF2B5EF4-FFF2-40B4-BE49-F238E27FC236}">
                  <a16:creationId xmlns:a16="http://schemas.microsoft.com/office/drawing/2014/main" id="{25E6C8F8-C094-813C-7AAF-77BA5E79C095}"/>
                </a:ext>
              </a:extLst>
            </p:cNvPr>
            <p:cNvSpPr>
              <a:spLocks noChangeArrowheads="1"/>
            </p:cNvSpPr>
            <p:nvPr/>
          </p:nvSpPr>
          <p:spPr bwMode="auto">
            <a:xfrm>
              <a:off x="5648487" y="4287895"/>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60" name="Oval 195">
              <a:extLst>
                <a:ext uri="{FF2B5EF4-FFF2-40B4-BE49-F238E27FC236}">
                  <a16:creationId xmlns:a16="http://schemas.microsoft.com/office/drawing/2014/main" id="{8F9AE4D8-3AAD-A311-ECCF-1CF997F752CB}"/>
                </a:ext>
              </a:extLst>
            </p:cNvPr>
            <p:cNvSpPr>
              <a:spLocks noChangeArrowheads="1"/>
            </p:cNvSpPr>
            <p:nvPr/>
          </p:nvSpPr>
          <p:spPr bwMode="auto">
            <a:xfrm>
              <a:off x="5676754" y="4314635"/>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61" name="Oval 195">
              <a:extLst>
                <a:ext uri="{FF2B5EF4-FFF2-40B4-BE49-F238E27FC236}">
                  <a16:creationId xmlns:a16="http://schemas.microsoft.com/office/drawing/2014/main" id="{27DFCEE3-C9D6-98CB-2211-68D48798EFBE}"/>
                </a:ext>
              </a:extLst>
            </p:cNvPr>
            <p:cNvSpPr>
              <a:spLocks noChangeArrowheads="1"/>
            </p:cNvSpPr>
            <p:nvPr/>
          </p:nvSpPr>
          <p:spPr bwMode="auto">
            <a:xfrm>
              <a:off x="5956566" y="4380633"/>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62" name="Oval 195">
              <a:extLst>
                <a:ext uri="{FF2B5EF4-FFF2-40B4-BE49-F238E27FC236}">
                  <a16:creationId xmlns:a16="http://schemas.microsoft.com/office/drawing/2014/main" id="{403FC10B-95B8-8EDF-07F6-3B605250B452}"/>
                </a:ext>
              </a:extLst>
            </p:cNvPr>
            <p:cNvSpPr>
              <a:spLocks noChangeArrowheads="1"/>
            </p:cNvSpPr>
            <p:nvPr/>
          </p:nvSpPr>
          <p:spPr bwMode="auto">
            <a:xfrm>
              <a:off x="6018101" y="4381006"/>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63" name="Oval 195">
              <a:extLst>
                <a:ext uri="{FF2B5EF4-FFF2-40B4-BE49-F238E27FC236}">
                  <a16:creationId xmlns:a16="http://schemas.microsoft.com/office/drawing/2014/main" id="{91F3028D-D2AD-84BA-D088-4EDB3B2FB8BD}"/>
                </a:ext>
              </a:extLst>
            </p:cNvPr>
            <p:cNvSpPr>
              <a:spLocks noChangeArrowheads="1"/>
            </p:cNvSpPr>
            <p:nvPr/>
          </p:nvSpPr>
          <p:spPr bwMode="auto">
            <a:xfrm>
              <a:off x="5990703" y="4378667"/>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64" name="Oval 195">
              <a:extLst>
                <a:ext uri="{FF2B5EF4-FFF2-40B4-BE49-F238E27FC236}">
                  <a16:creationId xmlns:a16="http://schemas.microsoft.com/office/drawing/2014/main" id="{44895AF2-798D-FE4F-7736-27FF3D219082}"/>
                </a:ext>
              </a:extLst>
            </p:cNvPr>
            <p:cNvSpPr>
              <a:spLocks noChangeArrowheads="1"/>
            </p:cNvSpPr>
            <p:nvPr/>
          </p:nvSpPr>
          <p:spPr bwMode="auto">
            <a:xfrm>
              <a:off x="6038850" y="4436292"/>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65" name="Oval 195">
              <a:extLst>
                <a:ext uri="{FF2B5EF4-FFF2-40B4-BE49-F238E27FC236}">
                  <a16:creationId xmlns:a16="http://schemas.microsoft.com/office/drawing/2014/main" id="{1F2373A4-BD52-529B-853A-D87665125715}"/>
                </a:ext>
              </a:extLst>
            </p:cNvPr>
            <p:cNvSpPr>
              <a:spLocks noChangeArrowheads="1"/>
            </p:cNvSpPr>
            <p:nvPr/>
          </p:nvSpPr>
          <p:spPr bwMode="auto">
            <a:xfrm>
              <a:off x="6284041" y="4500010"/>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66" name="Oval 195">
              <a:extLst>
                <a:ext uri="{FF2B5EF4-FFF2-40B4-BE49-F238E27FC236}">
                  <a16:creationId xmlns:a16="http://schemas.microsoft.com/office/drawing/2014/main" id="{1C3D9147-BEE8-2F5D-46E8-D9E18537B743}"/>
                </a:ext>
              </a:extLst>
            </p:cNvPr>
            <p:cNvSpPr>
              <a:spLocks noChangeArrowheads="1"/>
            </p:cNvSpPr>
            <p:nvPr/>
          </p:nvSpPr>
          <p:spPr bwMode="auto">
            <a:xfrm>
              <a:off x="6376021" y="4501975"/>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67" name="Oval 195">
              <a:extLst>
                <a:ext uri="{FF2B5EF4-FFF2-40B4-BE49-F238E27FC236}">
                  <a16:creationId xmlns:a16="http://schemas.microsoft.com/office/drawing/2014/main" id="{28A4F75A-B962-1B52-1AE1-424CBCAD68B0}"/>
                </a:ext>
              </a:extLst>
            </p:cNvPr>
            <p:cNvSpPr>
              <a:spLocks noChangeArrowheads="1"/>
            </p:cNvSpPr>
            <p:nvPr/>
          </p:nvSpPr>
          <p:spPr bwMode="auto">
            <a:xfrm>
              <a:off x="6432596" y="4501975"/>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68" name="Oval 195">
              <a:extLst>
                <a:ext uri="{FF2B5EF4-FFF2-40B4-BE49-F238E27FC236}">
                  <a16:creationId xmlns:a16="http://schemas.microsoft.com/office/drawing/2014/main" id="{C9CBB80E-8F89-E962-ABF1-2D90F9299C93}"/>
                </a:ext>
              </a:extLst>
            </p:cNvPr>
            <p:cNvSpPr>
              <a:spLocks noChangeArrowheads="1"/>
            </p:cNvSpPr>
            <p:nvPr/>
          </p:nvSpPr>
          <p:spPr bwMode="auto">
            <a:xfrm>
              <a:off x="6402684" y="4504086"/>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69" name="Oval 195">
              <a:extLst>
                <a:ext uri="{FF2B5EF4-FFF2-40B4-BE49-F238E27FC236}">
                  <a16:creationId xmlns:a16="http://schemas.microsoft.com/office/drawing/2014/main" id="{AA67311D-06D1-BB71-D814-DA47A1B387E1}"/>
                </a:ext>
              </a:extLst>
            </p:cNvPr>
            <p:cNvSpPr>
              <a:spLocks noChangeArrowheads="1"/>
            </p:cNvSpPr>
            <p:nvPr/>
          </p:nvSpPr>
          <p:spPr bwMode="auto">
            <a:xfrm>
              <a:off x="6753267" y="4495343"/>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70" name="Oval 195">
              <a:extLst>
                <a:ext uri="{FF2B5EF4-FFF2-40B4-BE49-F238E27FC236}">
                  <a16:creationId xmlns:a16="http://schemas.microsoft.com/office/drawing/2014/main" id="{B3CA9028-8205-D306-2227-CD8104F50B0A}"/>
                </a:ext>
              </a:extLst>
            </p:cNvPr>
            <p:cNvSpPr>
              <a:spLocks noChangeArrowheads="1"/>
            </p:cNvSpPr>
            <p:nvPr/>
          </p:nvSpPr>
          <p:spPr bwMode="auto">
            <a:xfrm>
              <a:off x="6794060" y="4500010"/>
              <a:ext cx="69242" cy="65998"/>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71" name="Oval 276">
              <a:extLst>
                <a:ext uri="{FF2B5EF4-FFF2-40B4-BE49-F238E27FC236}">
                  <a16:creationId xmlns:a16="http://schemas.microsoft.com/office/drawing/2014/main" id="{C7BDA610-F674-C449-A728-47F2E123EBF1}"/>
                </a:ext>
              </a:extLst>
            </p:cNvPr>
            <p:cNvSpPr>
              <a:spLocks noChangeArrowheads="1"/>
            </p:cNvSpPr>
            <p:nvPr/>
          </p:nvSpPr>
          <p:spPr bwMode="auto">
            <a:xfrm>
              <a:off x="1707961" y="2611373"/>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72" name="Oval 276">
              <a:extLst>
                <a:ext uri="{FF2B5EF4-FFF2-40B4-BE49-F238E27FC236}">
                  <a16:creationId xmlns:a16="http://schemas.microsoft.com/office/drawing/2014/main" id="{CCC2FCFE-5E3F-CDC0-0663-CFE99B6D61BE}"/>
                </a:ext>
              </a:extLst>
            </p:cNvPr>
            <p:cNvSpPr>
              <a:spLocks noChangeArrowheads="1"/>
            </p:cNvSpPr>
            <p:nvPr/>
          </p:nvSpPr>
          <p:spPr bwMode="auto">
            <a:xfrm>
              <a:off x="1727595" y="2685235"/>
              <a:ext cx="66509" cy="63393"/>
            </a:xfrm>
            <a:prstGeom prst="ellipse">
              <a:avLst/>
            </a:prstGeom>
            <a:noFill/>
            <a:ln>
              <a:solidFill>
                <a:srgbClr val="B2D23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73" name="Oval 276">
              <a:extLst>
                <a:ext uri="{FF2B5EF4-FFF2-40B4-BE49-F238E27FC236}">
                  <a16:creationId xmlns:a16="http://schemas.microsoft.com/office/drawing/2014/main" id="{0381045D-B5E1-4278-C705-25F79C6DD581}"/>
                </a:ext>
              </a:extLst>
            </p:cNvPr>
            <p:cNvSpPr>
              <a:spLocks noChangeArrowheads="1"/>
            </p:cNvSpPr>
            <p:nvPr/>
          </p:nvSpPr>
          <p:spPr bwMode="auto">
            <a:xfrm>
              <a:off x="1734139" y="2768447"/>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74" name="Oval 276">
              <a:extLst>
                <a:ext uri="{FF2B5EF4-FFF2-40B4-BE49-F238E27FC236}">
                  <a16:creationId xmlns:a16="http://schemas.microsoft.com/office/drawing/2014/main" id="{A472C536-E621-FDAA-6B5E-C99F987C170E}"/>
                </a:ext>
              </a:extLst>
            </p:cNvPr>
            <p:cNvSpPr>
              <a:spLocks noChangeArrowheads="1"/>
            </p:cNvSpPr>
            <p:nvPr/>
          </p:nvSpPr>
          <p:spPr bwMode="auto">
            <a:xfrm>
              <a:off x="1980035" y="2887187"/>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75" name="Oval 276">
              <a:extLst>
                <a:ext uri="{FF2B5EF4-FFF2-40B4-BE49-F238E27FC236}">
                  <a16:creationId xmlns:a16="http://schemas.microsoft.com/office/drawing/2014/main" id="{321B36C6-2E9A-1C4A-E40D-9537F04FFC95}"/>
                </a:ext>
              </a:extLst>
            </p:cNvPr>
            <p:cNvSpPr>
              <a:spLocks noChangeArrowheads="1"/>
            </p:cNvSpPr>
            <p:nvPr/>
          </p:nvSpPr>
          <p:spPr bwMode="auto">
            <a:xfrm>
              <a:off x="2009018" y="2923650"/>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76" name="Oval 276">
              <a:extLst>
                <a:ext uri="{FF2B5EF4-FFF2-40B4-BE49-F238E27FC236}">
                  <a16:creationId xmlns:a16="http://schemas.microsoft.com/office/drawing/2014/main" id="{DE459D81-34AA-80E4-7B67-F85FADBD1A72}"/>
                </a:ext>
              </a:extLst>
            </p:cNvPr>
            <p:cNvSpPr>
              <a:spLocks noChangeArrowheads="1"/>
            </p:cNvSpPr>
            <p:nvPr/>
          </p:nvSpPr>
          <p:spPr bwMode="auto">
            <a:xfrm>
              <a:off x="2183857" y="2965723"/>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77" name="Oval 276">
              <a:extLst>
                <a:ext uri="{FF2B5EF4-FFF2-40B4-BE49-F238E27FC236}">
                  <a16:creationId xmlns:a16="http://schemas.microsoft.com/office/drawing/2014/main" id="{FDB58ABA-80E3-324A-D258-E245D1D2C4F5}"/>
                </a:ext>
              </a:extLst>
            </p:cNvPr>
            <p:cNvSpPr>
              <a:spLocks noChangeArrowheads="1"/>
            </p:cNvSpPr>
            <p:nvPr/>
          </p:nvSpPr>
          <p:spPr bwMode="auto">
            <a:xfrm>
              <a:off x="2227801" y="3043325"/>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78" name="Oval 276">
              <a:extLst>
                <a:ext uri="{FF2B5EF4-FFF2-40B4-BE49-F238E27FC236}">
                  <a16:creationId xmlns:a16="http://schemas.microsoft.com/office/drawing/2014/main" id="{F1CF77FB-2AF3-B4B9-86C3-6654651C2E6D}"/>
                </a:ext>
              </a:extLst>
            </p:cNvPr>
            <p:cNvSpPr>
              <a:spLocks noChangeArrowheads="1"/>
            </p:cNvSpPr>
            <p:nvPr/>
          </p:nvSpPr>
          <p:spPr bwMode="auto">
            <a:xfrm>
              <a:off x="2200687" y="2995642"/>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79" name="Oval 276">
              <a:extLst>
                <a:ext uri="{FF2B5EF4-FFF2-40B4-BE49-F238E27FC236}">
                  <a16:creationId xmlns:a16="http://schemas.microsoft.com/office/drawing/2014/main" id="{0C2E1245-456C-0BA1-3906-D868A1E21197}"/>
                </a:ext>
              </a:extLst>
            </p:cNvPr>
            <p:cNvSpPr>
              <a:spLocks noChangeArrowheads="1"/>
            </p:cNvSpPr>
            <p:nvPr/>
          </p:nvSpPr>
          <p:spPr bwMode="auto">
            <a:xfrm>
              <a:off x="2452194" y="3161132"/>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80" name="Oval 276">
              <a:extLst>
                <a:ext uri="{FF2B5EF4-FFF2-40B4-BE49-F238E27FC236}">
                  <a16:creationId xmlns:a16="http://schemas.microsoft.com/office/drawing/2014/main" id="{BF969213-D84F-E843-082C-44F0356EC242}"/>
                </a:ext>
              </a:extLst>
            </p:cNvPr>
            <p:cNvSpPr>
              <a:spLocks noChangeArrowheads="1"/>
            </p:cNvSpPr>
            <p:nvPr/>
          </p:nvSpPr>
          <p:spPr bwMode="auto">
            <a:xfrm>
              <a:off x="2563456" y="3178897"/>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81" name="Oval 276">
              <a:extLst>
                <a:ext uri="{FF2B5EF4-FFF2-40B4-BE49-F238E27FC236}">
                  <a16:creationId xmlns:a16="http://schemas.microsoft.com/office/drawing/2014/main" id="{C33D0263-DEAE-59C7-C26E-D3CD466A3D3C}"/>
                </a:ext>
              </a:extLst>
            </p:cNvPr>
            <p:cNvSpPr>
              <a:spLocks noChangeArrowheads="1"/>
            </p:cNvSpPr>
            <p:nvPr/>
          </p:nvSpPr>
          <p:spPr bwMode="auto">
            <a:xfrm>
              <a:off x="2611139" y="3301378"/>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82" name="Oval 276">
              <a:extLst>
                <a:ext uri="{FF2B5EF4-FFF2-40B4-BE49-F238E27FC236}">
                  <a16:creationId xmlns:a16="http://schemas.microsoft.com/office/drawing/2014/main" id="{BEBB720E-3B8A-640F-5998-D5F758979D1B}"/>
                </a:ext>
              </a:extLst>
            </p:cNvPr>
            <p:cNvSpPr>
              <a:spLocks noChangeArrowheads="1"/>
            </p:cNvSpPr>
            <p:nvPr/>
          </p:nvSpPr>
          <p:spPr bwMode="auto">
            <a:xfrm>
              <a:off x="2963622" y="3472477"/>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83" name="Oval 276">
              <a:extLst>
                <a:ext uri="{FF2B5EF4-FFF2-40B4-BE49-F238E27FC236}">
                  <a16:creationId xmlns:a16="http://schemas.microsoft.com/office/drawing/2014/main" id="{E8BE1885-1F81-35D0-8EDB-E6EE30A5486D}"/>
                </a:ext>
              </a:extLst>
            </p:cNvPr>
            <p:cNvSpPr>
              <a:spLocks noChangeArrowheads="1"/>
            </p:cNvSpPr>
            <p:nvPr/>
          </p:nvSpPr>
          <p:spPr bwMode="auto">
            <a:xfrm>
              <a:off x="3000086" y="3531379"/>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84" name="Oval 276">
              <a:extLst>
                <a:ext uri="{FF2B5EF4-FFF2-40B4-BE49-F238E27FC236}">
                  <a16:creationId xmlns:a16="http://schemas.microsoft.com/office/drawing/2014/main" id="{928D75E0-F850-510C-BCAE-FE27F95CBE5D}"/>
                </a:ext>
              </a:extLst>
            </p:cNvPr>
            <p:cNvSpPr>
              <a:spLocks noChangeArrowheads="1"/>
            </p:cNvSpPr>
            <p:nvPr/>
          </p:nvSpPr>
          <p:spPr bwMode="auto">
            <a:xfrm>
              <a:off x="2980452" y="3500524"/>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85" name="Oval 276">
              <a:extLst>
                <a:ext uri="{FF2B5EF4-FFF2-40B4-BE49-F238E27FC236}">
                  <a16:creationId xmlns:a16="http://schemas.microsoft.com/office/drawing/2014/main" id="{5A798144-4598-CB6E-2D78-B22A30AF4529}"/>
                </a:ext>
              </a:extLst>
            </p:cNvPr>
            <p:cNvSpPr>
              <a:spLocks noChangeArrowheads="1"/>
            </p:cNvSpPr>
            <p:nvPr/>
          </p:nvSpPr>
          <p:spPr bwMode="auto">
            <a:xfrm>
              <a:off x="3095453" y="3593085"/>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86" name="Oval 276">
              <a:extLst>
                <a:ext uri="{FF2B5EF4-FFF2-40B4-BE49-F238E27FC236}">
                  <a16:creationId xmlns:a16="http://schemas.microsoft.com/office/drawing/2014/main" id="{095B904B-3F92-B17F-B889-1B6F54CF0AF8}"/>
                </a:ext>
              </a:extLst>
            </p:cNvPr>
            <p:cNvSpPr>
              <a:spLocks noChangeArrowheads="1"/>
            </p:cNvSpPr>
            <p:nvPr/>
          </p:nvSpPr>
          <p:spPr bwMode="auto">
            <a:xfrm>
              <a:off x="3386228" y="3837111"/>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87" name="Oval 276">
              <a:extLst>
                <a:ext uri="{FF2B5EF4-FFF2-40B4-BE49-F238E27FC236}">
                  <a16:creationId xmlns:a16="http://schemas.microsoft.com/office/drawing/2014/main" id="{F9F5FC09-66BC-3AEC-FD11-5380A78D0502}"/>
                </a:ext>
              </a:extLst>
            </p:cNvPr>
            <p:cNvSpPr>
              <a:spLocks noChangeArrowheads="1"/>
            </p:cNvSpPr>
            <p:nvPr/>
          </p:nvSpPr>
          <p:spPr bwMode="auto">
            <a:xfrm>
              <a:off x="3523809" y="3884028"/>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88" name="Oval 276">
              <a:extLst>
                <a:ext uri="{FF2B5EF4-FFF2-40B4-BE49-F238E27FC236}">
                  <a16:creationId xmlns:a16="http://schemas.microsoft.com/office/drawing/2014/main" id="{8A6A9D58-ACB8-1E6B-A9B3-CFBEB06C1F7E}"/>
                </a:ext>
              </a:extLst>
            </p:cNvPr>
            <p:cNvSpPr>
              <a:spLocks noChangeArrowheads="1"/>
            </p:cNvSpPr>
            <p:nvPr/>
          </p:nvSpPr>
          <p:spPr bwMode="auto">
            <a:xfrm>
              <a:off x="3616512" y="3915986"/>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89" name="Oval 276">
              <a:extLst>
                <a:ext uri="{FF2B5EF4-FFF2-40B4-BE49-F238E27FC236}">
                  <a16:creationId xmlns:a16="http://schemas.microsoft.com/office/drawing/2014/main" id="{FD9E8C87-93F1-F1DF-2F6C-46B43D6F5144}"/>
                </a:ext>
              </a:extLst>
            </p:cNvPr>
            <p:cNvSpPr>
              <a:spLocks noChangeArrowheads="1"/>
            </p:cNvSpPr>
            <p:nvPr/>
          </p:nvSpPr>
          <p:spPr bwMode="auto">
            <a:xfrm>
              <a:off x="3797102" y="4035831"/>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90" name="Oval 276">
              <a:extLst>
                <a:ext uri="{FF2B5EF4-FFF2-40B4-BE49-F238E27FC236}">
                  <a16:creationId xmlns:a16="http://schemas.microsoft.com/office/drawing/2014/main" id="{8AA89D36-B333-24F6-A429-990C442E7CCC}"/>
                </a:ext>
              </a:extLst>
            </p:cNvPr>
            <p:cNvSpPr>
              <a:spLocks noChangeArrowheads="1"/>
            </p:cNvSpPr>
            <p:nvPr/>
          </p:nvSpPr>
          <p:spPr bwMode="auto">
            <a:xfrm>
              <a:off x="4078669" y="4047219"/>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91" name="Oval 276">
              <a:extLst>
                <a:ext uri="{FF2B5EF4-FFF2-40B4-BE49-F238E27FC236}">
                  <a16:creationId xmlns:a16="http://schemas.microsoft.com/office/drawing/2014/main" id="{BD4E0F66-F6AE-2E28-D3BA-1BDC58649247}"/>
                </a:ext>
              </a:extLst>
            </p:cNvPr>
            <p:cNvSpPr>
              <a:spLocks noChangeArrowheads="1"/>
            </p:cNvSpPr>
            <p:nvPr/>
          </p:nvSpPr>
          <p:spPr bwMode="auto">
            <a:xfrm>
              <a:off x="4107795" y="4105355"/>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92" name="Oval 276">
              <a:extLst>
                <a:ext uri="{FF2B5EF4-FFF2-40B4-BE49-F238E27FC236}">
                  <a16:creationId xmlns:a16="http://schemas.microsoft.com/office/drawing/2014/main" id="{93B03E7F-1CA4-D917-374A-01A2FC0E2DB5}"/>
                </a:ext>
              </a:extLst>
            </p:cNvPr>
            <p:cNvSpPr>
              <a:spLocks noChangeArrowheads="1"/>
            </p:cNvSpPr>
            <p:nvPr/>
          </p:nvSpPr>
          <p:spPr bwMode="auto">
            <a:xfrm>
              <a:off x="4258325" y="4218487"/>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93" name="Oval 276">
              <a:extLst>
                <a:ext uri="{FF2B5EF4-FFF2-40B4-BE49-F238E27FC236}">
                  <a16:creationId xmlns:a16="http://schemas.microsoft.com/office/drawing/2014/main" id="{D41E9F3D-099C-636E-90F0-071559F7ACB6}"/>
                </a:ext>
              </a:extLst>
            </p:cNvPr>
            <p:cNvSpPr>
              <a:spLocks noChangeArrowheads="1"/>
            </p:cNvSpPr>
            <p:nvPr/>
          </p:nvSpPr>
          <p:spPr bwMode="auto">
            <a:xfrm>
              <a:off x="4350887" y="4241862"/>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94" name="Oval 276">
              <a:extLst>
                <a:ext uri="{FF2B5EF4-FFF2-40B4-BE49-F238E27FC236}">
                  <a16:creationId xmlns:a16="http://schemas.microsoft.com/office/drawing/2014/main" id="{BE828EBE-2733-97A4-E145-60BA6600EE27}"/>
                </a:ext>
              </a:extLst>
            </p:cNvPr>
            <p:cNvSpPr>
              <a:spLocks noChangeArrowheads="1"/>
            </p:cNvSpPr>
            <p:nvPr/>
          </p:nvSpPr>
          <p:spPr bwMode="auto">
            <a:xfrm>
              <a:off x="4493757" y="4285930"/>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95" name="Oval 276">
              <a:extLst>
                <a:ext uri="{FF2B5EF4-FFF2-40B4-BE49-F238E27FC236}">
                  <a16:creationId xmlns:a16="http://schemas.microsoft.com/office/drawing/2014/main" id="{7CF01F98-1EF7-2B29-BADC-646FAD9EDF27}"/>
                </a:ext>
              </a:extLst>
            </p:cNvPr>
            <p:cNvSpPr>
              <a:spLocks noChangeArrowheads="1"/>
            </p:cNvSpPr>
            <p:nvPr/>
          </p:nvSpPr>
          <p:spPr bwMode="auto">
            <a:xfrm>
              <a:off x="4533780" y="4333738"/>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96" name="Oval 276">
              <a:extLst>
                <a:ext uri="{FF2B5EF4-FFF2-40B4-BE49-F238E27FC236}">
                  <a16:creationId xmlns:a16="http://schemas.microsoft.com/office/drawing/2014/main" id="{D523AB8A-A028-02FE-C0FB-8071066381DB}"/>
                </a:ext>
              </a:extLst>
            </p:cNvPr>
            <p:cNvSpPr>
              <a:spLocks noChangeArrowheads="1"/>
            </p:cNvSpPr>
            <p:nvPr/>
          </p:nvSpPr>
          <p:spPr bwMode="auto">
            <a:xfrm>
              <a:off x="4603722" y="4351627"/>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97" name="Oval 276">
              <a:extLst>
                <a:ext uri="{FF2B5EF4-FFF2-40B4-BE49-F238E27FC236}">
                  <a16:creationId xmlns:a16="http://schemas.microsoft.com/office/drawing/2014/main" id="{DC7F6C46-68ED-5AE1-B3E6-6D29293784CA}"/>
                </a:ext>
              </a:extLst>
            </p:cNvPr>
            <p:cNvSpPr>
              <a:spLocks noChangeArrowheads="1"/>
            </p:cNvSpPr>
            <p:nvPr/>
          </p:nvSpPr>
          <p:spPr bwMode="auto">
            <a:xfrm>
              <a:off x="4634396" y="4378865"/>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98" name="Oval 276">
              <a:extLst>
                <a:ext uri="{FF2B5EF4-FFF2-40B4-BE49-F238E27FC236}">
                  <a16:creationId xmlns:a16="http://schemas.microsoft.com/office/drawing/2014/main" id="{2D0AD8B1-08E8-351F-7D56-0CFE111FD128}"/>
                </a:ext>
              </a:extLst>
            </p:cNvPr>
            <p:cNvSpPr>
              <a:spLocks noChangeArrowheads="1"/>
            </p:cNvSpPr>
            <p:nvPr/>
          </p:nvSpPr>
          <p:spPr bwMode="auto">
            <a:xfrm>
              <a:off x="4842714" y="4396754"/>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199" name="Oval 276">
              <a:extLst>
                <a:ext uri="{FF2B5EF4-FFF2-40B4-BE49-F238E27FC236}">
                  <a16:creationId xmlns:a16="http://schemas.microsoft.com/office/drawing/2014/main" id="{D02DB497-5175-C969-1C0A-BDD6951A6D1E}"/>
                </a:ext>
              </a:extLst>
            </p:cNvPr>
            <p:cNvSpPr>
              <a:spLocks noChangeArrowheads="1"/>
            </p:cNvSpPr>
            <p:nvPr/>
          </p:nvSpPr>
          <p:spPr bwMode="auto">
            <a:xfrm>
              <a:off x="4946316" y="4461392"/>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00" name="Oval 276">
              <a:extLst>
                <a:ext uri="{FF2B5EF4-FFF2-40B4-BE49-F238E27FC236}">
                  <a16:creationId xmlns:a16="http://schemas.microsoft.com/office/drawing/2014/main" id="{5122022C-0C10-30E0-AAC3-A2A0D2C5B174}"/>
                </a:ext>
              </a:extLst>
            </p:cNvPr>
            <p:cNvSpPr>
              <a:spLocks noChangeArrowheads="1"/>
            </p:cNvSpPr>
            <p:nvPr/>
          </p:nvSpPr>
          <p:spPr bwMode="auto">
            <a:xfrm>
              <a:off x="4871656" y="4412968"/>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01" name="Oval 276">
              <a:extLst>
                <a:ext uri="{FF2B5EF4-FFF2-40B4-BE49-F238E27FC236}">
                  <a16:creationId xmlns:a16="http://schemas.microsoft.com/office/drawing/2014/main" id="{BA2B4D45-792B-CBE5-C6A4-4206487F6737}"/>
                </a:ext>
              </a:extLst>
            </p:cNvPr>
            <p:cNvSpPr>
              <a:spLocks noChangeArrowheads="1"/>
            </p:cNvSpPr>
            <p:nvPr/>
          </p:nvSpPr>
          <p:spPr bwMode="auto">
            <a:xfrm>
              <a:off x="4912932" y="4439341"/>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02" name="Oval 276">
              <a:extLst>
                <a:ext uri="{FF2B5EF4-FFF2-40B4-BE49-F238E27FC236}">
                  <a16:creationId xmlns:a16="http://schemas.microsoft.com/office/drawing/2014/main" id="{BF948CBD-442F-75A0-14F8-68D56F00709B}"/>
                </a:ext>
              </a:extLst>
            </p:cNvPr>
            <p:cNvSpPr>
              <a:spLocks noChangeArrowheads="1"/>
            </p:cNvSpPr>
            <p:nvPr/>
          </p:nvSpPr>
          <p:spPr bwMode="auto">
            <a:xfrm>
              <a:off x="5123589" y="4474948"/>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03" name="Oval 276">
              <a:extLst>
                <a:ext uri="{FF2B5EF4-FFF2-40B4-BE49-F238E27FC236}">
                  <a16:creationId xmlns:a16="http://schemas.microsoft.com/office/drawing/2014/main" id="{766106CF-A7B5-FB74-01D8-81D35FFFC06C}"/>
                </a:ext>
              </a:extLst>
            </p:cNvPr>
            <p:cNvSpPr>
              <a:spLocks noChangeArrowheads="1"/>
            </p:cNvSpPr>
            <p:nvPr/>
          </p:nvSpPr>
          <p:spPr bwMode="auto">
            <a:xfrm>
              <a:off x="5145383" y="4476896"/>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04" name="Oval 276">
              <a:extLst>
                <a:ext uri="{FF2B5EF4-FFF2-40B4-BE49-F238E27FC236}">
                  <a16:creationId xmlns:a16="http://schemas.microsoft.com/office/drawing/2014/main" id="{33725F5C-4BF7-FDB3-337D-65A7F9468941}"/>
                </a:ext>
              </a:extLst>
            </p:cNvPr>
            <p:cNvSpPr>
              <a:spLocks noChangeArrowheads="1"/>
            </p:cNvSpPr>
            <p:nvPr/>
          </p:nvSpPr>
          <p:spPr bwMode="auto">
            <a:xfrm>
              <a:off x="5240105" y="4482584"/>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05" name="Oval 276">
              <a:extLst>
                <a:ext uri="{FF2B5EF4-FFF2-40B4-BE49-F238E27FC236}">
                  <a16:creationId xmlns:a16="http://schemas.microsoft.com/office/drawing/2014/main" id="{52992ED5-52DF-4C24-29E7-8FBD37F89A5E}"/>
                </a:ext>
              </a:extLst>
            </p:cNvPr>
            <p:cNvSpPr>
              <a:spLocks noChangeArrowheads="1"/>
            </p:cNvSpPr>
            <p:nvPr/>
          </p:nvSpPr>
          <p:spPr bwMode="auto">
            <a:xfrm>
              <a:off x="5344176" y="4553720"/>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06" name="Oval 276">
              <a:extLst>
                <a:ext uri="{FF2B5EF4-FFF2-40B4-BE49-F238E27FC236}">
                  <a16:creationId xmlns:a16="http://schemas.microsoft.com/office/drawing/2014/main" id="{AD1B9DBD-2734-4CD1-5B32-300C55DCFF95}"/>
                </a:ext>
              </a:extLst>
            </p:cNvPr>
            <p:cNvSpPr>
              <a:spLocks noChangeArrowheads="1"/>
            </p:cNvSpPr>
            <p:nvPr/>
          </p:nvSpPr>
          <p:spPr bwMode="auto">
            <a:xfrm>
              <a:off x="5294912" y="4544449"/>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07" name="Oval 276">
              <a:extLst>
                <a:ext uri="{FF2B5EF4-FFF2-40B4-BE49-F238E27FC236}">
                  <a16:creationId xmlns:a16="http://schemas.microsoft.com/office/drawing/2014/main" id="{78CC7768-5F16-BE6C-8EA5-A6F5A20BFBC0}"/>
                </a:ext>
              </a:extLst>
            </p:cNvPr>
            <p:cNvSpPr>
              <a:spLocks noChangeArrowheads="1"/>
            </p:cNvSpPr>
            <p:nvPr/>
          </p:nvSpPr>
          <p:spPr bwMode="auto">
            <a:xfrm>
              <a:off x="5258737" y="4503389"/>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08" name="Oval 276">
              <a:extLst>
                <a:ext uri="{FF2B5EF4-FFF2-40B4-BE49-F238E27FC236}">
                  <a16:creationId xmlns:a16="http://schemas.microsoft.com/office/drawing/2014/main" id="{345B061B-D77A-D093-D77F-905139AA867C}"/>
                </a:ext>
              </a:extLst>
            </p:cNvPr>
            <p:cNvSpPr>
              <a:spLocks noChangeArrowheads="1"/>
            </p:cNvSpPr>
            <p:nvPr/>
          </p:nvSpPr>
          <p:spPr bwMode="auto">
            <a:xfrm>
              <a:off x="5278660" y="4531516"/>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09" name="Oval 276">
              <a:extLst>
                <a:ext uri="{FF2B5EF4-FFF2-40B4-BE49-F238E27FC236}">
                  <a16:creationId xmlns:a16="http://schemas.microsoft.com/office/drawing/2014/main" id="{867F45E9-6D2C-3F5B-1892-E367D2D00E08}"/>
                </a:ext>
              </a:extLst>
            </p:cNvPr>
            <p:cNvSpPr>
              <a:spLocks noChangeArrowheads="1"/>
            </p:cNvSpPr>
            <p:nvPr/>
          </p:nvSpPr>
          <p:spPr bwMode="auto">
            <a:xfrm>
              <a:off x="5465007" y="4557773"/>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10" name="Oval 276">
              <a:extLst>
                <a:ext uri="{FF2B5EF4-FFF2-40B4-BE49-F238E27FC236}">
                  <a16:creationId xmlns:a16="http://schemas.microsoft.com/office/drawing/2014/main" id="{622C61EA-FD48-C31A-56FD-63076FA7F119}"/>
                </a:ext>
              </a:extLst>
            </p:cNvPr>
            <p:cNvSpPr>
              <a:spLocks noChangeArrowheads="1"/>
            </p:cNvSpPr>
            <p:nvPr/>
          </p:nvSpPr>
          <p:spPr bwMode="auto">
            <a:xfrm>
              <a:off x="5606476" y="4554110"/>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11" name="Oval 276">
              <a:extLst>
                <a:ext uri="{FF2B5EF4-FFF2-40B4-BE49-F238E27FC236}">
                  <a16:creationId xmlns:a16="http://schemas.microsoft.com/office/drawing/2014/main" id="{E4BDC52C-CAA5-355A-5B19-052DA2A74BAE}"/>
                </a:ext>
              </a:extLst>
            </p:cNvPr>
            <p:cNvSpPr>
              <a:spLocks noChangeArrowheads="1"/>
            </p:cNvSpPr>
            <p:nvPr/>
          </p:nvSpPr>
          <p:spPr bwMode="auto">
            <a:xfrm>
              <a:off x="5633879" y="4554187"/>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12" name="Oval 276">
              <a:extLst>
                <a:ext uri="{FF2B5EF4-FFF2-40B4-BE49-F238E27FC236}">
                  <a16:creationId xmlns:a16="http://schemas.microsoft.com/office/drawing/2014/main" id="{13B84105-48D6-6073-747C-A05A0705FE9E}"/>
                </a:ext>
              </a:extLst>
            </p:cNvPr>
            <p:cNvSpPr>
              <a:spLocks noChangeArrowheads="1"/>
            </p:cNvSpPr>
            <p:nvPr/>
          </p:nvSpPr>
          <p:spPr bwMode="auto">
            <a:xfrm>
              <a:off x="5674372" y="4578574"/>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13" name="Oval 276">
              <a:extLst>
                <a:ext uri="{FF2B5EF4-FFF2-40B4-BE49-F238E27FC236}">
                  <a16:creationId xmlns:a16="http://schemas.microsoft.com/office/drawing/2014/main" id="{114AA76A-BF73-E204-2A24-4CA28EF2AEF2}"/>
                </a:ext>
              </a:extLst>
            </p:cNvPr>
            <p:cNvSpPr>
              <a:spLocks noChangeArrowheads="1"/>
            </p:cNvSpPr>
            <p:nvPr/>
          </p:nvSpPr>
          <p:spPr bwMode="auto">
            <a:xfrm>
              <a:off x="5733564" y="4593611"/>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14" name="Oval 276">
              <a:extLst>
                <a:ext uri="{FF2B5EF4-FFF2-40B4-BE49-F238E27FC236}">
                  <a16:creationId xmlns:a16="http://schemas.microsoft.com/office/drawing/2014/main" id="{0BDDC9F6-7AE7-A20B-0C0A-3E25CD0D0792}"/>
                </a:ext>
              </a:extLst>
            </p:cNvPr>
            <p:cNvSpPr>
              <a:spLocks noChangeArrowheads="1"/>
            </p:cNvSpPr>
            <p:nvPr/>
          </p:nvSpPr>
          <p:spPr bwMode="auto">
            <a:xfrm>
              <a:off x="5776735" y="4593610"/>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15" name="Oval 276">
              <a:extLst>
                <a:ext uri="{FF2B5EF4-FFF2-40B4-BE49-F238E27FC236}">
                  <a16:creationId xmlns:a16="http://schemas.microsoft.com/office/drawing/2014/main" id="{5CF2B42E-EF74-B7C3-7A63-7DCDAD5B349A}"/>
                </a:ext>
              </a:extLst>
            </p:cNvPr>
            <p:cNvSpPr>
              <a:spLocks noChangeArrowheads="1"/>
            </p:cNvSpPr>
            <p:nvPr/>
          </p:nvSpPr>
          <p:spPr bwMode="auto">
            <a:xfrm>
              <a:off x="5995680" y="4599219"/>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16" name="Oval 276">
              <a:extLst>
                <a:ext uri="{FF2B5EF4-FFF2-40B4-BE49-F238E27FC236}">
                  <a16:creationId xmlns:a16="http://schemas.microsoft.com/office/drawing/2014/main" id="{871A3010-905A-BC33-4C3C-FF5B84C254C1}"/>
                </a:ext>
              </a:extLst>
            </p:cNvPr>
            <p:cNvSpPr>
              <a:spLocks noChangeArrowheads="1"/>
            </p:cNvSpPr>
            <p:nvPr/>
          </p:nvSpPr>
          <p:spPr bwMode="auto">
            <a:xfrm>
              <a:off x="6046331" y="4640357"/>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17" name="Oval 276">
              <a:extLst>
                <a:ext uri="{FF2B5EF4-FFF2-40B4-BE49-F238E27FC236}">
                  <a16:creationId xmlns:a16="http://schemas.microsoft.com/office/drawing/2014/main" id="{D239531C-7CC2-CB2D-B9CF-B4597F7A2F8F}"/>
                </a:ext>
              </a:extLst>
            </p:cNvPr>
            <p:cNvSpPr>
              <a:spLocks noChangeArrowheads="1"/>
            </p:cNvSpPr>
            <p:nvPr/>
          </p:nvSpPr>
          <p:spPr bwMode="auto">
            <a:xfrm>
              <a:off x="6020314" y="4617917"/>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18" name="Oval 276">
              <a:extLst>
                <a:ext uri="{FF2B5EF4-FFF2-40B4-BE49-F238E27FC236}">
                  <a16:creationId xmlns:a16="http://schemas.microsoft.com/office/drawing/2014/main" id="{A7CC0FAA-65DE-237E-908E-C48D5CB6C0BF}"/>
                </a:ext>
              </a:extLst>
            </p:cNvPr>
            <p:cNvSpPr>
              <a:spLocks noChangeArrowheads="1"/>
            </p:cNvSpPr>
            <p:nvPr/>
          </p:nvSpPr>
          <p:spPr bwMode="auto">
            <a:xfrm>
              <a:off x="6295357" y="4642226"/>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19" name="Oval 276">
              <a:extLst>
                <a:ext uri="{FF2B5EF4-FFF2-40B4-BE49-F238E27FC236}">
                  <a16:creationId xmlns:a16="http://schemas.microsoft.com/office/drawing/2014/main" id="{F6B74A95-5DF6-4AC9-8B34-8664705796D6}"/>
                </a:ext>
              </a:extLst>
            </p:cNvPr>
            <p:cNvSpPr>
              <a:spLocks noChangeArrowheads="1"/>
            </p:cNvSpPr>
            <p:nvPr/>
          </p:nvSpPr>
          <p:spPr bwMode="auto">
            <a:xfrm>
              <a:off x="6512159" y="4648958"/>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20" name="Oval 276">
              <a:extLst>
                <a:ext uri="{FF2B5EF4-FFF2-40B4-BE49-F238E27FC236}">
                  <a16:creationId xmlns:a16="http://schemas.microsoft.com/office/drawing/2014/main" id="{8FCA0F4A-7592-9FBA-88FA-521372176532}"/>
                </a:ext>
              </a:extLst>
            </p:cNvPr>
            <p:cNvSpPr>
              <a:spLocks noChangeArrowheads="1"/>
            </p:cNvSpPr>
            <p:nvPr/>
          </p:nvSpPr>
          <p:spPr bwMode="auto">
            <a:xfrm>
              <a:off x="6376588" y="4644283"/>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21" name="Oval 276">
              <a:extLst>
                <a:ext uri="{FF2B5EF4-FFF2-40B4-BE49-F238E27FC236}">
                  <a16:creationId xmlns:a16="http://schemas.microsoft.com/office/drawing/2014/main" id="{C50596FF-9E10-A0B1-12F2-F0D8FFE7A9D9}"/>
                </a:ext>
              </a:extLst>
            </p:cNvPr>
            <p:cNvSpPr>
              <a:spLocks noChangeArrowheads="1"/>
            </p:cNvSpPr>
            <p:nvPr/>
          </p:nvSpPr>
          <p:spPr bwMode="auto">
            <a:xfrm>
              <a:off x="6435329" y="4643317"/>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222" name="Oval 276">
              <a:extLst>
                <a:ext uri="{FF2B5EF4-FFF2-40B4-BE49-F238E27FC236}">
                  <a16:creationId xmlns:a16="http://schemas.microsoft.com/office/drawing/2014/main" id="{7AF75594-1404-CA40-492E-2BE37770A57C}"/>
                </a:ext>
              </a:extLst>
            </p:cNvPr>
            <p:cNvSpPr>
              <a:spLocks noChangeArrowheads="1"/>
            </p:cNvSpPr>
            <p:nvPr/>
          </p:nvSpPr>
          <p:spPr bwMode="auto">
            <a:xfrm>
              <a:off x="6408365" y="4642351"/>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grpSp>
      <p:cxnSp>
        <p:nvCxnSpPr>
          <p:cNvPr id="223" name="Straight Connector 222">
            <a:extLst>
              <a:ext uri="{FF2B5EF4-FFF2-40B4-BE49-F238E27FC236}">
                <a16:creationId xmlns:a16="http://schemas.microsoft.com/office/drawing/2014/main" id="{D7A33A15-4BAA-42B6-B5D0-2D32EA05FA83}"/>
              </a:ext>
            </a:extLst>
          </p:cNvPr>
          <p:cNvCxnSpPr>
            <a:cxnSpLocks/>
          </p:cNvCxnSpPr>
          <p:nvPr/>
        </p:nvCxnSpPr>
        <p:spPr>
          <a:xfrm flipH="1">
            <a:off x="3867905" y="2580392"/>
            <a:ext cx="5256" cy="2350243"/>
          </a:xfrm>
          <a:prstGeom prst="line">
            <a:avLst/>
          </a:prstGeom>
          <a:ln w="19050" cap="flat" cmpd="sng" algn="ctr">
            <a:solidFill>
              <a:srgbClr val="99006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4" name="Straight Connector 223">
            <a:extLst>
              <a:ext uri="{FF2B5EF4-FFF2-40B4-BE49-F238E27FC236}">
                <a16:creationId xmlns:a16="http://schemas.microsoft.com/office/drawing/2014/main" id="{0BCC5DB5-A027-4D90-81E6-D83D4B627B23}"/>
              </a:ext>
            </a:extLst>
          </p:cNvPr>
          <p:cNvCxnSpPr>
            <a:cxnSpLocks/>
          </p:cNvCxnSpPr>
          <p:nvPr/>
        </p:nvCxnSpPr>
        <p:spPr>
          <a:xfrm>
            <a:off x="1615690" y="3530191"/>
            <a:ext cx="5429922" cy="6925"/>
          </a:xfrm>
          <a:prstGeom prst="line">
            <a:avLst/>
          </a:prstGeom>
          <a:ln w="2857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25" name="TextBox 224">
            <a:extLst>
              <a:ext uri="{FF2B5EF4-FFF2-40B4-BE49-F238E27FC236}">
                <a16:creationId xmlns:a16="http://schemas.microsoft.com/office/drawing/2014/main" id="{D123E4D3-021C-4FD0-B2B9-390C5EE9D569}"/>
              </a:ext>
            </a:extLst>
          </p:cNvPr>
          <p:cNvSpPr txBox="1"/>
          <p:nvPr/>
        </p:nvSpPr>
        <p:spPr>
          <a:xfrm>
            <a:off x="3687574" y="1936723"/>
            <a:ext cx="1705014" cy="461665"/>
          </a:xfrm>
          <a:prstGeom prst="rect">
            <a:avLst/>
          </a:prstGeom>
          <a:noFill/>
          <a:ln w="28575">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830051"/>
                </a:solidFill>
                <a:effectLst/>
                <a:uLnTx/>
                <a:uFillTx/>
                <a:latin typeface="+mn-lt"/>
                <a:ea typeface="+mn-ea"/>
                <a:cs typeface="+mn-cs"/>
              </a:rPr>
              <a:t>+ 8,6 мес.</a:t>
            </a:r>
            <a:endParaRPr kumimoji="0" lang="en-US" sz="2400" b="1" i="0" u="none" strike="noStrike" kern="1200" cap="none" spc="0" normalizeH="0" baseline="0" noProof="0" dirty="0">
              <a:ln>
                <a:noFill/>
              </a:ln>
              <a:solidFill>
                <a:srgbClr val="830051"/>
              </a:solidFill>
              <a:effectLst/>
              <a:uLnTx/>
              <a:uFillTx/>
              <a:latin typeface="+mn-lt"/>
              <a:ea typeface="+mn-ea"/>
              <a:cs typeface="+mn-cs"/>
            </a:endParaRPr>
          </a:p>
        </p:txBody>
      </p:sp>
      <p:sp>
        <p:nvSpPr>
          <p:cNvPr id="226" name="Rectangle: Diagonal Corners Rounded 225">
            <a:extLst>
              <a:ext uri="{FF2B5EF4-FFF2-40B4-BE49-F238E27FC236}">
                <a16:creationId xmlns:a16="http://schemas.microsoft.com/office/drawing/2014/main" id="{95A991D1-4BB0-4D87-8A90-551F81068D54}"/>
              </a:ext>
            </a:extLst>
          </p:cNvPr>
          <p:cNvSpPr/>
          <p:nvPr/>
        </p:nvSpPr>
        <p:spPr>
          <a:xfrm>
            <a:off x="7679732" y="4479794"/>
            <a:ext cx="4018065" cy="1233478"/>
          </a:xfrm>
          <a:prstGeom prst="round2Diag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spcBef>
                <a:spcPts val="300"/>
              </a:spcBef>
            </a:pPr>
            <a:r>
              <a:rPr lang="ru" sz="1400" b="1" dirty="0">
                <a:solidFill>
                  <a:schemeClr val="tx2"/>
                </a:solidFill>
              </a:rPr>
              <a:t>Увеличение медианы рВБП на 8,6 месяца</a:t>
            </a:r>
            <a:br>
              <a:rPr lang="en-GB" sz="1400" b="1" dirty="0">
                <a:solidFill>
                  <a:schemeClr val="tx2"/>
                </a:solidFill>
              </a:rPr>
            </a:br>
            <a:r>
              <a:rPr lang="ru" sz="1400" b="1" dirty="0">
                <a:solidFill>
                  <a:schemeClr val="tx2"/>
                </a:solidFill>
              </a:rPr>
              <a:t>свидетельствует в пользу применения Линпарзы в комбинации с абиратероном в </a:t>
            </a:r>
            <a:r>
              <a:rPr lang="ru-RU" sz="1400" b="1" dirty="0">
                <a:solidFill>
                  <a:schemeClr val="tx2"/>
                </a:solidFill>
              </a:rPr>
              <a:t>общей</a:t>
            </a:r>
            <a:r>
              <a:rPr lang="ru" sz="1400" b="1" dirty="0">
                <a:solidFill>
                  <a:schemeClr val="tx2"/>
                </a:solidFill>
              </a:rPr>
              <a:t> популяции пациентов**</a:t>
            </a:r>
            <a:endParaRPr lang="en-US" sz="1400" b="1" dirty="0">
              <a:solidFill>
                <a:schemeClr val="tx2"/>
              </a:solidFill>
            </a:endParaRPr>
          </a:p>
        </p:txBody>
      </p:sp>
      <p:cxnSp>
        <p:nvCxnSpPr>
          <p:cNvPr id="2" name="Straight Connector 1">
            <a:extLst>
              <a:ext uri="{FF2B5EF4-FFF2-40B4-BE49-F238E27FC236}">
                <a16:creationId xmlns:a16="http://schemas.microsoft.com/office/drawing/2014/main" id="{8B4CDF6E-1EFF-AF75-6C03-ED9C7B915D1A}"/>
              </a:ext>
            </a:extLst>
          </p:cNvPr>
          <p:cNvCxnSpPr>
            <a:cxnSpLocks/>
          </p:cNvCxnSpPr>
          <p:nvPr/>
        </p:nvCxnSpPr>
        <p:spPr>
          <a:xfrm flipH="1">
            <a:off x="5048320" y="2560462"/>
            <a:ext cx="5256" cy="2350243"/>
          </a:xfrm>
          <a:prstGeom prst="line">
            <a:avLst/>
          </a:prstGeom>
          <a:ln w="19050" cap="flat" cmpd="sng" algn="ctr">
            <a:solidFill>
              <a:srgbClr val="99006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6735467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3D07FF2-3D50-46A1-86B4-BBDE8E11B151}"/>
              </a:ext>
            </a:extLst>
          </p:cNvPr>
          <p:cNvSpPr>
            <a:spLocks noGrp="1"/>
          </p:cNvSpPr>
          <p:nvPr>
            <p:ph type="title"/>
          </p:nvPr>
        </p:nvSpPr>
        <p:spPr>
          <a:xfrm>
            <a:off x="267385" y="179686"/>
            <a:ext cx="11641080" cy="1270825"/>
          </a:xfrm>
        </p:spPr>
        <p:txBody>
          <a:bodyPr rtlCol="0">
            <a:noAutofit/>
          </a:bodyPr>
          <a:lstStyle/>
          <a:p>
            <a:pPr algn="ctr"/>
            <a:r>
              <a:rPr lang="ru" sz="2000" b="1" i="1" dirty="0">
                <a:latin typeface="+mn-lt"/>
                <a:ea typeface="+mn-ea"/>
                <a:cs typeface="+mn-cs"/>
              </a:rPr>
              <a:t>По независимой централизованной оценке (BICR*) медиана рВБП составила </a:t>
            </a:r>
            <a:r>
              <a:rPr lang="ru" sz="2000" b="1" i="1" dirty="0">
                <a:solidFill>
                  <a:schemeClr val="accent5"/>
                </a:solidFill>
                <a:latin typeface="+mn-lt"/>
                <a:ea typeface="+mn-ea"/>
                <a:cs typeface="+mn-cs"/>
              </a:rPr>
              <a:t>11,2 мес. </a:t>
            </a:r>
            <a:br>
              <a:rPr lang="ru" sz="2000" b="1" i="1" dirty="0">
                <a:solidFill>
                  <a:schemeClr val="accent5"/>
                </a:solidFill>
                <a:latin typeface="+mn-lt"/>
                <a:ea typeface="+mn-ea"/>
                <a:cs typeface="+mn-cs"/>
              </a:rPr>
            </a:br>
            <a:r>
              <a:rPr lang="ru" sz="2000" b="1" i="1" dirty="0">
                <a:latin typeface="+mn-lt"/>
                <a:ea typeface="+mn-ea"/>
                <a:cs typeface="+mn-cs"/>
              </a:rPr>
              <a:t>и снижение риска прогрессирования заболевания или смерти </a:t>
            </a:r>
            <a:r>
              <a:rPr lang="ru" sz="2000" b="1" i="1" dirty="0">
                <a:solidFill>
                  <a:schemeClr val="accent5"/>
                </a:solidFill>
                <a:latin typeface="+mn-lt"/>
                <a:ea typeface="+mn-ea"/>
                <a:cs typeface="+mn-cs"/>
              </a:rPr>
              <a:t>на 39% </a:t>
            </a:r>
            <a:r>
              <a:rPr lang="ru" sz="2000" b="1" i="1" dirty="0">
                <a:latin typeface="+mn-lt"/>
                <a:ea typeface="+mn-ea"/>
                <a:cs typeface="+mn-cs"/>
              </a:rPr>
              <a:t>при применении препарата </a:t>
            </a:r>
            <a:r>
              <a:rPr lang="ru-RU" sz="2000" b="1" i="1" dirty="0" err="1">
                <a:latin typeface="+mn-lt"/>
                <a:ea typeface="+mn-ea"/>
                <a:cs typeface="+mn-cs"/>
              </a:rPr>
              <a:t>Линпарза</a:t>
            </a:r>
            <a:r>
              <a:rPr lang="ru" sz="2000" b="1" i="1" baseline="30000" dirty="0">
                <a:latin typeface="+mn-lt"/>
                <a:ea typeface="+mn-ea"/>
                <a:cs typeface="+mn-cs"/>
              </a:rPr>
              <a:t>®</a:t>
            </a:r>
            <a:r>
              <a:rPr lang="ru" sz="2000" b="1" i="1" dirty="0">
                <a:latin typeface="+mn-lt"/>
                <a:ea typeface="+mn-ea"/>
                <a:cs typeface="+mn-cs"/>
              </a:rPr>
              <a:t> и абиратерона </a:t>
            </a:r>
            <a:r>
              <a:rPr lang="ru-RU" sz="2000" b="1" i="1" dirty="0">
                <a:latin typeface="+mn-lt"/>
                <a:ea typeface="+mn-ea"/>
                <a:cs typeface="+mn-cs"/>
              </a:rPr>
              <a:t>у пациентов с </a:t>
            </a:r>
            <a:r>
              <a:rPr lang="ru-RU" sz="2000" b="1" i="1" dirty="0" err="1">
                <a:latin typeface="+mn-lt"/>
                <a:ea typeface="+mn-ea"/>
                <a:cs typeface="+mn-cs"/>
              </a:rPr>
              <a:t>мКРРПЖ</a:t>
            </a:r>
            <a:r>
              <a:rPr lang="ru-RU" sz="2000" b="1" i="1" dirty="0">
                <a:latin typeface="+mn-lt"/>
                <a:ea typeface="+mn-ea"/>
                <a:cs typeface="+mn-cs"/>
              </a:rPr>
              <a:t>, </a:t>
            </a:r>
            <a:r>
              <a:rPr lang="ru" sz="2000" b="1" i="1" dirty="0">
                <a:latin typeface="+mn-lt"/>
                <a:ea typeface="+mn-ea"/>
                <a:cs typeface="+mn-cs"/>
              </a:rPr>
              <a:t>независимо от статуса мутаций генов </a:t>
            </a:r>
            <a:r>
              <a:rPr lang="en-US" sz="2000" b="1" i="1" dirty="0">
                <a:latin typeface="+mn-lt"/>
                <a:ea typeface="+mn-ea"/>
                <a:cs typeface="+mn-cs"/>
              </a:rPr>
              <a:t>HRR</a:t>
            </a:r>
            <a:br>
              <a:rPr lang="ru" sz="2000" b="1" i="1" dirty="0">
                <a:latin typeface="+mn-lt"/>
                <a:ea typeface="+mn-ea"/>
                <a:cs typeface="+mn-cs"/>
              </a:rPr>
            </a:br>
            <a:r>
              <a:rPr lang="ru" sz="2400" b="1" i="1" dirty="0">
                <a:latin typeface="+mn-lt"/>
                <a:ea typeface="+mn-ea"/>
                <a:cs typeface="+mn-cs"/>
              </a:rPr>
              <a:t> </a:t>
            </a:r>
            <a:endParaRPr lang="en-GB" sz="2400" b="1" i="1" dirty="0">
              <a:latin typeface="+mn-lt"/>
              <a:ea typeface="+mn-ea"/>
              <a:cs typeface="+mn-cs"/>
            </a:endParaRPr>
          </a:p>
        </p:txBody>
      </p:sp>
      <p:sp>
        <p:nvSpPr>
          <p:cNvPr id="10" name="Text Placeholder 9">
            <a:extLst>
              <a:ext uri="{FF2B5EF4-FFF2-40B4-BE49-F238E27FC236}">
                <a16:creationId xmlns:a16="http://schemas.microsoft.com/office/drawing/2014/main" id="{182E998B-2257-42D2-85EA-00B63AA167BB}"/>
              </a:ext>
            </a:extLst>
          </p:cNvPr>
          <p:cNvSpPr>
            <a:spLocks noGrp="1"/>
          </p:cNvSpPr>
          <p:nvPr>
            <p:ph type="body" sz="quarter" idx="111"/>
          </p:nvPr>
        </p:nvSpPr>
        <p:spPr>
          <a:xfrm>
            <a:off x="267384" y="6169264"/>
            <a:ext cx="10798728" cy="657225"/>
          </a:xfrm>
        </p:spPr>
        <p:txBody>
          <a:bodyPr rtlCol="0"/>
          <a:lstStyle/>
          <a:p>
            <a:pPr marL="0" rtl="0">
              <a:spcAft>
                <a:spcPts val="0"/>
              </a:spcAft>
            </a:pPr>
            <a:r>
              <a:rPr lang="ru" dirty="0"/>
              <a:t>*Предварительно заданный анализ чувствительности; †Номинально **В комбинации с преднизоном или преднизолоном BICR — независимая централизованная заслепленная оценка; ДИ — доверительный интервал; ОР — отношение рисков; мес. — месяцы; </a:t>
            </a:r>
            <a:r>
              <a:rPr lang="ru" dirty="0">
                <a:solidFill>
                  <a:schemeClr val="tx1"/>
                </a:solidFill>
              </a:rPr>
              <a:t>мКРРПЖ — метастатический кастрационно-резистентный рак предстательной железы; рВБП — выживаемость без радиологического прогрессирования </a:t>
            </a:r>
          </a:p>
          <a:p>
            <a:pPr marL="0" rtl="0">
              <a:spcAft>
                <a:spcPts val="0"/>
              </a:spcAft>
            </a:pPr>
            <a:r>
              <a:rPr lang="ru" dirty="0"/>
              <a:t>Saad F, et al. Представлено на конгрессе ASCO GU 2022, 17–19 февраля, Сан-Франциско, Калифорния. Устный доклад 1</a:t>
            </a:r>
            <a:r>
              <a:rPr lang="en-US" dirty="0"/>
              <a:t>; </a:t>
            </a:r>
            <a:r>
              <a:rPr lang="en-GB" dirty="0"/>
              <a:t>Clarke N, et al. New </a:t>
            </a:r>
            <a:r>
              <a:rPr lang="en-GB" dirty="0" err="1"/>
              <a:t>Engl</a:t>
            </a:r>
            <a:r>
              <a:rPr lang="en-GB" dirty="0"/>
              <a:t> J Med Evid </a:t>
            </a:r>
            <a:r>
              <a:rPr lang="en-US" dirty="0"/>
              <a:t>Published June 3, 2022</a:t>
            </a:r>
            <a:r>
              <a:rPr lang="en-GB" dirty="0"/>
              <a:t>. </a:t>
            </a:r>
            <a:r>
              <a:rPr lang="en-US" dirty="0"/>
              <a:t>DOI: 10.1056/EVIDoa2200043</a:t>
            </a:r>
            <a:endParaRPr lang="ru" dirty="0"/>
          </a:p>
        </p:txBody>
      </p:sp>
      <p:graphicFrame>
        <p:nvGraphicFramePr>
          <p:cNvPr id="597" name="Table 10">
            <a:extLst>
              <a:ext uri="{FF2B5EF4-FFF2-40B4-BE49-F238E27FC236}">
                <a16:creationId xmlns:a16="http://schemas.microsoft.com/office/drawing/2014/main" id="{448D527E-CA77-4544-B919-D1301A16DA7F}"/>
              </a:ext>
            </a:extLst>
          </p:cNvPr>
          <p:cNvGraphicFramePr>
            <a:graphicFrameLocks noGrp="1"/>
          </p:cNvGraphicFramePr>
          <p:nvPr>
            <p:extLst>
              <p:ext uri="{D42A27DB-BD31-4B8C-83A1-F6EECF244321}">
                <p14:modId xmlns:p14="http://schemas.microsoft.com/office/powerpoint/2010/main" val="2735945891"/>
              </p:ext>
            </p:extLst>
          </p:nvPr>
        </p:nvGraphicFramePr>
        <p:xfrm>
          <a:off x="7649708" y="2042497"/>
          <a:ext cx="3885623" cy="2052365"/>
        </p:xfrm>
        <a:graphic>
          <a:graphicData uri="http://schemas.openxmlformats.org/drawingml/2006/table">
            <a:tbl>
              <a:tblPr firstRow="1" bandRow="1">
                <a:tableStyleId>{5C22544A-7EE6-4342-B048-85BDC9FD1C3A}</a:tableStyleId>
              </a:tblPr>
              <a:tblGrid>
                <a:gridCol w="1648558">
                  <a:extLst>
                    <a:ext uri="{9D8B030D-6E8A-4147-A177-3AD203B41FA5}">
                      <a16:colId xmlns:a16="http://schemas.microsoft.com/office/drawing/2014/main" val="256280186"/>
                    </a:ext>
                  </a:extLst>
                </a:gridCol>
                <a:gridCol w="1105786">
                  <a:extLst>
                    <a:ext uri="{9D8B030D-6E8A-4147-A177-3AD203B41FA5}">
                      <a16:colId xmlns:a16="http://schemas.microsoft.com/office/drawing/2014/main" val="2660757379"/>
                    </a:ext>
                  </a:extLst>
                </a:gridCol>
                <a:gridCol w="1131279">
                  <a:extLst>
                    <a:ext uri="{9D8B030D-6E8A-4147-A177-3AD203B41FA5}">
                      <a16:colId xmlns:a16="http://schemas.microsoft.com/office/drawing/2014/main" val="351983716"/>
                    </a:ext>
                  </a:extLst>
                </a:gridCol>
              </a:tblGrid>
              <a:tr h="680765">
                <a:tc>
                  <a:txBody>
                    <a:bodyPr/>
                    <a:lstStyle/>
                    <a:p>
                      <a:pPr rtl="0"/>
                      <a:endParaRPr lang="en-GB" sz="1200" dirty="0">
                        <a:solidFill>
                          <a:schemeClr val="bg1"/>
                        </a:solidFill>
                        <a:latin typeface="+mn-lt"/>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r>
                        <a:rPr lang="ru" sz="1200" dirty="0">
                          <a:solidFill>
                            <a:schemeClr val="tx2"/>
                          </a:solidFill>
                          <a:latin typeface="+mn-lt"/>
                        </a:rPr>
                        <a:t>Олапариб + абиратерон</a:t>
                      </a:r>
                    </a:p>
                    <a:p>
                      <a:pPr algn="ctr" rtl="0"/>
                      <a:r>
                        <a:rPr lang="ru" sz="1200" dirty="0">
                          <a:solidFill>
                            <a:schemeClr val="tx2"/>
                          </a:solidFill>
                          <a:latin typeface="+mn-lt"/>
                        </a:rPr>
                        <a:t>(n = 399)</a:t>
                      </a:r>
                      <a:endParaRPr lang="en-GB" sz="1200" dirty="0">
                        <a:solidFill>
                          <a:schemeClr val="tx2"/>
                        </a:solidFill>
                        <a:latin typeface="+mn-lt"/>
                      </a:endParaRPr>
                    </a:p>
                  </a:txBody>
                  <a:tcPr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rtl="0"/>
                      <a:r>
                        <a:rPr lang="ru" sz="1200" dirty="0">
                          <a:solidFill>
                            <a:schemeClr val="bg1"/>
                          </a:solidFill>
                          <a:latin typeface="+mn-lt"/>
                        </a:rPr>
                        <a:t>Плацебо + абиратерон</a:t>
                      </a:r>
                    </a:p>
                    <a:p>
                      <a:pPr algn="ctr" rtl="0"/>
                      <a:r>
                        <a:rPr lang="ru" sz="1200" dirty="0">
                          <a:solidFill>
                            <a:schemeClr val="bg1"/>
                          </a:solidFill>
                          <a:latin typeface="+mn-lt"/>
                        </a:rPr>
                        <a:t>(n = 397)</a:t>
                      </a:r>
                      <a:endParaRPr lang="en-GB" sz="1200" dirty="0">
                        <a:solidFill>
                          <a:schemeClr val="bg1"/>
                        </a:solidFill>
                        <a:latin typeface="+mn-lt"/>
                      </a:endParaRPr>
                    </a:p>
                  </a:txBody>
                  <a:tcPr marT="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534889841"/>
                  </a:ext>
                </a:extLst>
              </a:tr>
              <a:tr h="394127">
                <a:tc>
                  <a:txBody>
                    <a:bodyPr/>
                    <a:lstStyle/>
                    <a:p>
                      <a:pPr rtl="0"/>
                      <a:r>
                        <a:rPr lang="ru" sz="1200" b="1">
                          <a:solidFill>
                            <a:schemeClr val="tx1"/>
                          </a:solidFill>
                          <a:latin typeface="+mn-lt"/>
                        </a:rPr>
                        <a:t>Количество случаев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ru" sz="1200" b="1">
                          <a:solidFill>
                            <a:schemeClr val="tx1"/>
                          </a:solidFill>
                          <a:latin typeface="+mn-lt"/>
                        </a:rPr>
                        <a:t>157 (39,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a:r>
                        <a:rPr lang="ru" sz="1200" b="1">
                          <a:solidFill>
                            <a:schemeClr val="tx1"/>
                          </a:solidFill>
                          <a:latin typeface="+mn-lt"/>
                        </a:rPr>
                        <a:t>218 (54,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32230878"/>
                  </a:ext>
                </a:extLst>
              </a:tr>
              <a:tr h="394127">
                <a:tc>
                  <a:txBody>
                    <a:bodyPr/>
                    <a:lstStyle/>
                    <a:p>
                      <a:pPr rtl="0"/>
                      <a:r>
                        <a:rPr lang="ru" sz="1200" b="1" dirty="0">
                          <a:solidFill>
                            <a:schemeClr val="tx1"/>
                          </a:solidFill>
                          <a:latin typeface="+mn-lt"/>
                        </a:rPr>
                        <a:t>Медиана рВБП (ме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ru" sz="1600" b="1" dirty="0">
                          <a:solidFill>
                            <a:srgbClr val="830051"/>
                          </a:solidFill>
                          <a:latin typeface="+mn-lt"/>
                        </a:rPr>
                        <a:t>27,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a:r>
                        <a:rPr lang="ru" sz="1600" b="1" dirty="0">
                          <a:solidFill>
                            <a:schemeClr val="tx2"/>
                          </a:solidFill>
                          <a:latin typeface="+mn-lt"/>
                        </a:rPr>
                        <a:t>16,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83592731"/>
                  </a:ext>
                </a:extLst>
              </a:tr>
              <a:tr h="389652">
                <a:tc>
                  <a:txBody>
                    <a:bodyPr/>
                    <a:lstStyle/>
                    <a:p>
                      <a:pPr rtl="0"/>
                      <a:r>
                        <a:rPr lang="ru" sz="1200" b="1" dirty="0">
                          <a:solidFill>
                            <a:schemeClr val="tx1"/>
                          </a:solidFill>
                          <a:latin typeface="+mn-lt"/>
                        </a:rPr>
                        <a:t>Отношение рисков (95% Д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a:r>
                        <a:rPr lang="ru" sz="1200" b="1" dirty="0">
                          <a:solidFill>
                            <a:schemeClr val="tx1"/>
                          </a:solidFill>
                          <a:latin typeface="+mn-lt"/>
                        </a:rPr>
                        <a:t>0,61 (0,49‒0,74);</a:t>
                      </a:r>
                    </a:p>
                    <a:p>
                      <a:pPr marL="0" marR="0" lvl="0" indent="0" algn="ctr" defTabSz="914400" rtl="0" eaLnBrk="1" fontAlgn="auto" latinLnBrk="0" hangingPunct="1">
                        <a:lnSpc>
                          <a:spcPct val="100000"/>
                        </a:lnSpc>
                        <a:spcBef>
                          <a:spcPts val="0"/>
                        </a:spcBef>
                        <a:spcAft>
                          <a:spcPts val="0"/>
                        </a:spcAft>
                        <a:buClrTx/>
                        <a:buSzTx/>
                        <a:buFontTx/>
                        <a:buNone/>
                        <a:tabLst/>
                        <a:defRPr/>
                      </a:pPr>
                      <a:r>
                        <a:rPr lang="ru" sz="1200" b="1" i="1" dirty="0">
                          <a:solidFill>
                            <a:schemeClr val="tx1"/>
                          </a:solidFill>
                          <a:latin typeface="+mn-lt"/>
                        </a:rPr>
                        <a:t>P </a:t>
                      </a:r>
                      <a:r>
                        <a:rPr lang="ru" sz="1200" b="1" dirty="0">
                          <a:solidFill>
                            <a:schemeClr val="tx1"/>
                          </a:solidFill>
                          <a:latin typeface="+mn-lt"/>
                        </a:rPr>
                        <a:t>&lt; 0,0001†</a:t>
                      </a:r>
                      <a:endParaRPr lang="en-GB" sz="1200" b="1"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hMerge="1">
                  <a:txBody>
                    <a:bodyPr/>
                    <a:lstStyle/>
                    <a:p>
                      <a:pPr algn="ctr" rtl="0"/>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sp>
        <p:nvSpPr>
          <p:cNvPr id="598" name="Rectangle: Rounded Corners 369">
            <a:extLst>
              <a:ext uri="{FF2B5EF4-FFF2-40B4-BE49-F238E27FC236}">
                <a16:creationId xmlns:a16="http://schemas.microsoft.com/office/drawing/2014/main" id="{150BE689-CAEC-49C0-A902-3AE5A3B45875}"/>
              </a:ext>
            </a:extLst>
          </p:cNvPr>
          <p:cNvSpPr/>
          <p:nvPr/>
        </p:nvSpPr>
        <p:spPr>
          <a:xfrm>
            <a:off x="1353713" y="1518228"/>
            <a:ext cx="8143734" cy="417410"/>
          </a:xfrm>
          <a:prstGeom prst="round2DiagRect">
            <a:avLst/>
          </a:prstGeom>
          <a:no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err="1">
                <a:ln>
                  <a:noFill/>
                </a:ln>
                <a:solidFill>
                  <a:srgbClr val="3F4444"/>
                </a:solidFill>
                <a:effectLst/>
                <a:uLnTx/>
                <a:uFillTx/>
                <a:latin typeface="Calibri"/>
                <a:ea typeface="+mn-ea"/>
                <a:cs typeface="Arial" panose="020B0604020202020204" pitchFamily="34" charset="0"/>
              </a:rPr>
              <a:t>рВБП</a:t>
            </a:r>
            <a:r>
              <a:rPr kumimoji="0" lang="ru-RU" sz="1800" b="1" i="0" u="none" strike="noStrike" kern="1200" cap="none" spc="0" normalizeH="0" baseline="0" noProof="0" dirty="0">
                <a:ln>
                  <a:noFill/>
                </a:ln>
                <a:solidFill>
                  <a:srgbClr val="3F4444"/>
                </a:solidFill>
                <a:effectLst/>
                <a:uLnTx/>
                <a:uFillTx/>
                <a:latin typeface="Calibri"/>
                <a:ea typeface="+mn-ea"/>
                <a:cs typeface="Arial" panose="020B0604020202020204" pitchFamily="34" charset="0"/>
              </a:rPr>
              <a:t> в соответствии с независимой централизованной оценкой (BICR)</a:t>
            </a:r>
            <a:endParaRPr kumimoji="0" lang="en-GB" sz="1100" b="0" i="0" u="none" strike="noStrike" kern="1200" cap="none" spc="0" normalizeH="0" baseline="0" noProof="0" dirty="0">
              <a:ln>
                <a:noFill/>
              </a:ln>
              <a:solidFill>
                <a:srgbClr val="3F4444"/>
              </a:solidFill>
              <a:effectLst/>
              <a:uLnTx/>
              <a:uFillTx/>
              <a:latin typeface="Calibri"/>
              <a:ea typeface="+mn-ea"/>
              <a:cs typeface="Arial" panose="020B0604020202020204" pitchFamily="34" charset="0"/>
            </a:endParaRPr>
          </a:p>
        </p:txBody>
      </p:sp>
      <p:sp>
        <p:nvSpPr>
          <p:cNvPr id="606" name="Oval 192">
            <a:extLst>
              <a:ext uri="{FF2B5EF4-FFF2-40B4-BE49-F238E27FC236}">
                <a16:creationId xmlns:a16="http://schemas.microsoft.com/office/drawing/2014/main" id="{809E12E2-CB59-49C2-A2FC-B29D64E82C48}"/>
              </a:ext>
            </a:extLst>
          </p:cNvPr>
          <p:cNvSpPr>
            <a:spLocks noChangeArrowheads="1"/>
          </p:cNvSpPr>
          <p:nvPr/>
        </p:nvSpPr>
        <p:spPr bwMode="auto">
          <a:xfrm>
            <a:off x="6385866" y="3833730"/>
            <a:ext cx="66509"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07" name="Oval 193">
            <a:extLst>
              <a:ext uri="{FF2B5EF4-FFF2-40B4-BE49-F238E27FC236}">
                <a16:creationId xmlns:a16="http://schemas.microsoft.com/office/drawing/2014/main" id="{5D3D83A6-439D-40F2-9B57-170C1447898F}"/>
              </a:ext>
            </a:extLst>
          </p:cNvPr>
          <p:cNvSpPr>
            <a:spLocks noChangeArrowheads="1"/>
          </p:cNvSpPr>
          <p:nvPr/>
        </p:nvSpPr>
        <p:spPr bwMode="auto">
          <a:xfrm>
            <a:off x="6794032" y="4085563"/>
            <a:ext cx="67420"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08" name="Oval 194">
            <a:extLst>
              <a:ext uri="{FF2B5EF4-FFF2-40B4-BE49-F238E27FC236}">
                <a16:creationId xmlns:a16="http://schemas.microsoft.com/office/drawing/2014/main" id="{64E9C352-18F8-4FC8-ADB2-A0BFD7A2D2E5}"/>
              </a:ext>
            </a:extLst>
          </p:cNvPr>
          <p:cNvSpPr>
            <a:spLocks noChangeArrowheads="1"/>
          </p:cNvSpPr>
          <p:nvPr/>
        </p:nvSpPr>
        <p:spPr bwMode="auto">
          <a:xfrm>
            <a:off x="6844141" y="4085563"/>
            <a:ext cx="66509"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09" name="Oval 195">
            <a:extLst>
              <a:ext uri="{FF2B5EF4-FFF2-40B4-BE49-F238E27FC236}">
                <a16:creationId xmlns:a16="http://schemas.microsoft.com/office/drawing/2014/main" id="{6821D2AA-8168-4502-86E6-A3EA434D828F}"/>
              </a:ext>
            </a:extLst>
          </p:cNvPr>
          <p:cNvSpPr>
            <a:spLocks noChangeArrowheads="1"/>
          </p:cNvSpPr>
          <p:nvPr/>
        </p:nvSpPr>
        <p:spPr bwMode="auto">
          <a:xfrm>
            <a:off x="6759410" y="4085563"/>
            <a:ext cx="69242"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10" name="Oval 196">
            <a:extLst>
              <a:ext uri="{FF2B5EF4-FFF2-40B4-BE49-F238E27FC236}">
                <a16:creationId xmlns:a16="http://schemas.microsoft.com/office/drawing/2014/main" id="{4A5894A0-FCD6-40FF-9EFE-334F7C33E763}"/>
              </a:ext>
            </a:extLst>
          </p:cNvPr>
          <p:cNvSpPr>
            <a:spLocks noChangeArrowheads="1"/>
          </p:cNvSpPr>
          <p:nvPr/>
        </p:nvSpPr>
        <p:spPr bwMode="auto">
          <a:xfrm>
            <a:off x="6318446" y="3833730"/>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11" name="Oval 197">
            <a:extLst>
              <a:ext uri="{FF2B5EF4-FFF2-40B4-BE49-F238E27FC236}">
                <a16:creationId xmlns:a16="http://schemas.microsoft.com/office/drawing/2014/main" id="{17212CE2-E9CF-4C7A-916A-7FD33E42D4C1}"/>
              </a:ext>
            </a:extLst>
          </p:cNvPr>
          <p:cNvSpPr>
            <a:spLocks noChangeArrowheads="1"/>
          </p:cNvSpPr>
          <p:nvPr/>
        </p:nvSpPr>
        <p:spPr bwMode="auto">
          <a:xfrm>
            <a:off x="6365822" y="3833730"/>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12" name="Oval 198">
            <a:extLst>
              <a:ext uri="{FF2B5EF4-FFF2-40B4-BE49-F238E27FC236}">
                <a16:creationId xmlns:a16="http://schemas.microsoft.com/office/drawing/2014/main" id="{5DFC8887-C420-4B49-9678-BC3D512D35EC}"/>
              </a:ext>
            </a:extLst>
          </p:cNvPr>
          <p:cNvSpPr>
            <a:spLocks noChangeArrowheads="1"/>
          </p:cNvSpPr>
          <p:nvPr/>
        </p:nvSpPr>
        <p:spPr bwMode="auto">
          <a:xfrm>
            <a:off x="6318446" y="3740813"/>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13" name="Oval 199">
            <a:extLst>
              <a:ext uri="{FF2B5EF4-FFF2-40B4-BE49-F238E27FC236}">
                <a16:creationId xmlns:a16="http://schemas.microsoft.com/office/drawing/2014/main" id="{B4DFF4DB-5A2C-49BC-8DEE-19D15223C352}"/>
              </a:ext>
            </a:extLst>
          </p:cNvPr>
          <p:cNvSpPr>
            <a:spLocks noChangeArrowheads="1"/>
          </p:cNvSpPr>
          <p:nvPr/>
        </p:nvSpPr>
        <p:spPr bwMode="auto">
          <a:xfrm>
            <a:off x="6283825" y="3572345"/>
            <a:ext cx="67420"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14" name="Oval 200">
            <a:extLst>
              <a:ext uri="{FF2B5EF4-FFF2-40B4-BE49-F238E27FC236}">
                <a16:creationId xmlns:a16="http://schemas.microsoft.com/office/drawing/2014/main" id="{8E4CE709-193A-4DA9-B90D-497EE6828345}"/>
              </a:ext>
            </a:extLst>
          </p:cNvPr>
          <p:cNvSpPr>
            <a:spLocks noChangeArrowheads="1"/>
          </p:cNvSpPr>
          <p:nvPr/>
        </p:nvSpPr>
        <p:spPr bwMode="auto">
          <a:xfrm>
            <a:off x="6134408" y="3572345"/>
            <a:ext cx="69242"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15" name="Oval 201">
            <a:extLst>
              <a:ext uri="{FF2B5EF4-FFF2-40B4-BE49-F238E27FC236}">
                <a16:creationId xmlns:a16="http://schemas.microsoft.com/office/drawing/2014/main" id="{2B637610-D905-4AED-81AE-430AC0E489A6}"/>
              </a:ext>
            </a:extLst>
          </p:cNvPr>
          <p:cNvSpPr>
            <a:spLocks noChangeArrowheads="1"/>
          </p:cNvSpPr>
          <p:nvPr/>
        </p:nvSpPr>
        <p:spPr bwMode="auto">
          <a:xfrm>
            <a:off x="6061522" y="3572345"/>
            <a:ext cx="66509"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16" name="Oval 202">
            <a:extLst>
              <a:ext uri="{FF2B5EF4-FFF2-40B4-BE49-F238E27FC236}">
                <a16:creationId xmlns:a16="http://schemas.microsoft.com/office/drawing/2014/main" id="{B07C7A8D-ACBF-41CE-B02E-CAFCFCBA3E6B}"/>
              </a:ext>
            </a:extLst>
          </p:cNvPr>
          <p:cNvSpPr>
            <a:spLocks noChangeArrowheads="1"/>
          </p:cNvSpPr>
          <p:nvPr/>
        </p:nvSpPr>
        <p:spPr bwMode="auto">
          <a:xfrm>
            <a:off x="5985901" y="3572345"/>
            <a:ext cx="69242"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17" name="Oval 203">
            <a:extLst>
              <a:ext uri="{FF2B5EF4-FFF2-40B4-BE49-F238E27FC236}">
                <a16:creationId xmlns:a16="http://schemas.microsoft.com/office/drawing/2014/main" id="{621F346A-1BA0-4EA1-AB6D-C43830A0E940}"/>
              </a:ext>
            </a:extLst>
          </p:cNvPr>
          <p:cNvSpPr>
            <a:spLocks noChangeArrowheads="1"/>
          </p:cNvSpPr>
          <p:nvPr/>
        </p:nvSpPr>
        <p:spPr bwMode="auto">
          <a:xfrm>
            <a:off x="6292936" y="3572345"/>
            <a:ext cx="68331"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18" name="Oval 204">
            <a:extLst>
              <a:ext uri="{FF2B5EF4-FFF2-40B4-BE49-F238E27FC236}">
                <a16:creationId xmlns:a16="http://schemas.microsoft.com/office/drawing/2014/main" id="{6B2F5355-92D0-4185-9AFE-389A9929C76D}"/>
              </a:ext>
            </a:extLst>
          </p:cNvPr>
          <p:cNvSpPr>
            <a:spLocks noChangeArrowheads="1"/>
          </p:cNvSpPr>
          <p:nvPr/>
        </p:nvSpPr>
        <p:spPr bwMode="auto">
          <a:xfrm>
            <a:off x="5781818" y="3575819"/>
            <a:ext cx="69242"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19" name="Oval 205">
            <a:extLst>
              <a:ext uri="{FF2B5EF4-FFF2-40B4-BE49-F238E27FC236}">
                <a16:creationId xmlns:a16="http://schemas.microsoft.com/office/drawing/2014/main" id="{AC44203F-D8BD-41DF-BABE-E3DF3CB45995}"/>
              </a:ext>
            </a:extLst>
          </p:cNvPr>
          <p:cNvSpPr>
            <a:spLocks noChangeArrowheads="1"/>
          </p:cNvSpPr>
          <p:nvPr/>
        </p:nvSpPr>
        <p:spPr bwMode="auto">
          <a:xfrm>
            <a:off x="5810062" y="3575819"/>
            <a:ext cx="67420"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20" name="Oval 206">
            <a:extLst>
              <a:ext uri="{FF2B5EF4-FFF2-40B4-BE49-F238E27FC236}">
                <a16:creationId xmlns:a16="http://schemas.microsoft.com/office/drawing/2014/main" id="{28AE3F94-C987-4EF4-A590-2EA91FA82215}"/>
              </a:ext>
            </a:extLst>
          </p:cNvPr>
          <p:cNvSpPr>
            <a:spLocks noChangeArrowheads="1"/>
          </p:cNvSpPr>
          <p:nvPr/>
        </p:nvSpPr>
        <p:spPr bwMode="auto">
          <a:xfrm>
            <a:off x="5849239" y="3575819"/>
            <a:ext cx="67420"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21" name="Oval 207">
            <a:extLst>
              <a:ext uri="{FF2B5EF4-FFF2-40B4-BE49-F238E27FC236}">
                <a16:creationId xmlns:a16="http://schemas.microsoft.com/office/drawing/2014/main" id="{8CE7D9C6-BFC6-4CB4-A3FA-B2CCE531A608}"/>
              </a:ext>
            </a:extLst>
          </p:cNvPr>
          <p:cNvSpPr>
            <a:spLocks noChangeArrowheads="1"/>
          </p:cNvSpPr>
          <p:nvPr/>
        </p:nvSpPr>
        <p:spPr bwMode="auto">
          <a:xfrm>
            <a:off x="5620557" y="3572345"/>
            <a:ext cx="68331"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22" name="Oval 208">
            <a:extLst>
              <a:ext uri="{FF2B5EF4-FFF2-40B4-BE49-F238E27FC236}">
                <a16:creationId xmlns:a16="http://schemas.microsoft.com/office/drawing/2014/main" id="{165C3051-8A79-47A7-9756-1135C62F8C94}"/>
              </a:ext>
            </a:extLst>
          </p:cNvPr>
          <p:cNvSpPr>
            <a:spLocks noChangeArrowheads="1"/>
          </p:cNvSpPr>
          <p:nvPr/>
        </p:nvSpPr>
        <p:spPr bwMode="auto">
          <a:xfrm>
            <a:off x="5537648" y="3572345"/>
            <a:ext cx="69242"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23" name="Oval 209">
            <a:extLst>
              <a:ext uri="{FF2B5EF4-FFF2-40B4-BE49-F238E27FC236}">
                <a16:creationId xmlns:a16="http://schemas.microsoft.com/office/drawing/2014/main" id="{A3B51C37-AC46-433B-8543-682F44801E5B}"/>
              </a:ext>
            </a:extLst>
          </p:cNvPr>
          <p:cNvSpPr>
            <a:spLocks noChangeArrowheads="1"/>
          </p:cNvSpPr>
          <p:nvPr/>
        </p:nvSpPr>
        <p:spPr bwMode="auto">
          <a:xfrm>
            <a:off x="5441074" y="3572345"/>
            <a:ext cx="66509"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24" name="Oval 210">
            <a:extLst>
              <a:ext uri="{FF2B5EF4-FFF2-40B4-BE49-F238E27FC236}">
                <a16:creationId xmlns:a16="http://schemas.microsoft.com/office/drawing/2014/main" id="{68CFDD68-3C62-4937-81BE-8B402582D3F2}"/>
              </a:ext>
            </a:extLst>
          </p:cNvPr>
          <p:cNvSpPr>
            <a:spLocks noChangeArrowheads="1"/>
          </p:cNvSpPr>
          <p:nvPr/>
        </p:nvSpPr>
        <p:spPr bwMode="auto">
          <a:xfrm>
            <a:off x="5293479" y="3572345"/>
            <a:ext cx="67420"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25" name="Oval 211">
            <a:extLst>
              <a:ext uri="{FF2B5EF4-FFF2-40B4-BE49-F238E27FC236}">
                <a16:creationId xmlns:a16="http://schemas.microsoft.com/office/drawing/2014/main" id="{228014FF-A7FC-4CC4-B9EC-285A9C1409BF}"/>
              </a:ext>
            </a:extLst>
          </p:cNvPr>
          <p:cNvSpPr>
            <a:spLocks noChangeArrowheads="1"/>
          </p:cNvSpPr>
          <p:nvPr/>
        </p:nvSpPr>
        <p:spPr bwMode="auto">
          <a:xfrm>
            <a:off x="5310789" y="3572345"/>
            <a:ext cx="67420"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26" name="Oval 212">
            <a:extLst>
              <a:ext uri="{FF2B5EF4-FFF2-40B4-BE49-F238E27FC236}">
                <a16:creationId xmlns:a16="http://schemas.microsoft.com/office/drawing/2014/main" id="{8EF71411-8920-4956-8C9B-828F21109131}"/>
              </a:ext>
            </a:extLst>
          </p:cNvPr>
          <p:cNvSpPr>
            <a:spLocks noChangeArrowheads="1"/>
          </p:cNvSpPr>
          <p:nvPr/>
        </p:nvSpPr>
        <p:spPr bwMode="auto">
          <a:xfrm>
            <a:off x="5339032" y="3572345"/>
            <a:ext cx="69242"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27" name="Oval 213">
            <a:extLst>
              <a:ext uri="{FF2B5EF4-FFF2-40B4-BE49-F238E27FC236}">
                <a16:creationId xmlns:a16="http://schemas.microsoft.com/office/drawing/2014/main" id="{D0DD9649-4762-4BAC-9C86-03A12DCB98DB}"/>
              </a:ext>
            </a:extLst>
          </p:cNvPr>
          <p:cNvSpPr>
            <a:spLocks noChangeArrowheads="1"/>
          </p:cNvSpPr>
          <p:nvPr/>
        </p:nvSpPr>
        <p:spPr bwMode="auto">
          <a:xfrm>
            <a:off x="5367276" y="3572345"/>
            <a:ext cx="66509"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28" name="Oval 214">
            <a:extLst>
              <a:ext uri="{FF2B5EF4-FFF2-40B4-BE49-F238E27FC236}">
                <a16:creationId xmlns:a16="http://schemas.microsoft.com/office/drawing/2014/main" id="{E7EC9230-E443-4EA5-80C9-DA77A8500163}"/>
              </a:ext>
            </a:extLst>
          </p:cNvPr>
          <p:cNvSpPr>
            <a:spLocks noChangeArrowheads="1"/>
          </p:cNvSpPr>
          <p:nvPr/>
        </p:nvSpPr>
        <p:spPr bwMode="auto">
          <a:xfrm>
            <a:off x="5399164" y="3572345"/>
            <a:ext cx="69242" cy="63393"/>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29" name="Oval 215">
            <a:extLst>
              <a:ext uri="{FF2B5EF4-FFF2-40B4-BE49-F238E27FC236}">
                <a16:creationId xmlns:a16="http://schemas.microsoft.com/office/drawing/2014/main" id="{0CB2A004-650A-478B-AC91-7B2C674638CE}"/>
              </a:ext>
            </a:extLst>
          </p:cNvPr>
          <p:cNvSpPr>
            <a:spLocks noChangeArrowheads="1"/>
          </p:cNvSpPr>
          <p:nvPr/>
        </p:nvSpPr>
        <p:spPr bwMode="auto">
          <a:xfrm>
            <a:off x="5181415" y="3572345"/>
            <a:ext cx="66509" cy="63393"/>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30" name="Oval 216">
            <a:extLst>
              <a:ext uri="{FF2B5EF4-FFF2-40B4-BE49-F238E27FC236}">
                <a16:creationId xmlns:a16="http://schemas.microsoft.com/office/drawing/2014/main" id="{6F69C233-F7D0-4FDE-9160-0B75FE5CEB7F}"/>
              </a:ext>
            </a:extLst>
          </p:cNvPr>
          <p:cNvSpPr>
            <a:spLocks noChangeArrowheads="1"/>
          </p:cNvSpPr>
          <p:nvPr/>
        </p:nvSpPr>
        <p:spPr bwMode="auto">
          <a:xfrm>
            <a:off x="5140416" y="3553241"/>
            <a:ext cx="69242"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31" name="Oval 217">
            <a:extLst>
              <a:ext uri="{FF2B5EF4-FFF2-40B4-BE49-F238E27FC236}">
                <a16:creationId xmlns:a16="http://schemas.microsoft.com/office/drawing/2014/main" id="{43F4ADE4-BB45-4CCC-99D1-9DD81AC10E94}"/>
              </a:ext>
            </a:extLst>
          </p:cNvPr>
          <p:cNvSpPr>
            <a:spLocks noChangeArrowheads="1"/>
          </p:cNvSpPr>
          <p:nvPr/>
        </p:nvSpPr>
        <p:spPr bwMode="auto">
          <a:xfrm>
            <a:off x="5071174" y="3553241"/>
            <a:ext cx="66509"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32" name="Oval 218">
            <a:extLst>
              <a:ext uri="{FF2B5EF4-FFF2-40B4-BE49-F238E27FC236}">
                <a16:creationId xmlns:a16="http://schemas.microsoft.com/office/drawing/2014/main" id="{70BE590A-7183-4470-95EB-F8636A422043}"/>
              </a:ext>
            </a:extLst>
          </p:cNvPr>
          <p:cNvSpPr>
            <a:spLocks noChangeArrowheads="1"/>
          </p:cNvSpPr>
          <p:nvPr/>
        </p:nvSpPr>
        <p:spPr bwMode="auto">
          <a:xfrm>
            <a:off x="5023798" y="3536741"/>
            <a:ext cx="68331"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33" name="Oval 219">
            <a:extLst>
              <a:ext uri="{FF2B5EF4-FFF2-40B4-BE49-F238E27FC236}">
                <a16:creationId xmlns:a16="http://schemas.microsoft.com/office/drawing/2014/main" id="{7713925D-1DD8-471C-B939-5F3CD17CADCA}"/>
              </a:ext>
            </a:extLst>
          </p:cNvPr>
          <p:cNvSpPr>
            <a:spLocks noChangeArrowheads="1"/>
          </p:cNvSpPr>
          <p:nvPr/>
        </p:nvSpPr>
        <p:spPr bwMode="auto">
          <a:xfrm>
            <a:off x="4984622" y="3536741"/>
            <a:ext cx="66509"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34" name="Oval 220">
            <a:extLst>
              <a:ext uri="{FF2B5EF4-FFF2-40B4-BE49-F238E27FC236}">
                <a16:creationId xmlns:a16="http://schemas.microsoft.com/office/drawing/2014/main" id="{0F1034A3-911A-454A-B4CD-B5E9E87A5170}"/>
              </a:ext>
            </a:extLst>
          </p:cNvPr>
          <p:cNvSpPr>
            <a:spLocks noChangeArrowheads="1"/>
          </p:cNvSpPr>
          <p:nvPr/>
        </p:nvSpPr>
        <p:spPr bwMode="auto">
          <a:xfrm>
            <a:off x="4964578" y="3536741"/>
            <a:ext cx="67420"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35" name="Oval 221">
            <a:extLst>
              <a:ext uri="{FF2B5EF4-FFF2-40B4-BE49-F238E27FC236}">
                <a16:creationId xmlns:a16="http://schemas.microsoft.com/office/drawing/2014/main" id="{F0382A61-324D-4CFF-930C-2B1541BE6793}"/>
              </a:ext>
            </a:extLst>
          </p:cNvPr>
          <p:cNvSpPr>
            <a:spLocks noChangeArrowheads="1"/>
          </p:cNvSpPr>
          <p:nvPr/>
        </p:nvSpPr>
        <p:spPr bwMode="auto">
          <a:xfrm>
            <a:off x="4923579" y="3520242"/>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36" name="Oval 222">
            <a:extLst>
              <a:ext uri="{FF2B5EF4-FFF2-40B4-BE49-F238E27FC236}">
                <a16:creationId xmlns:a16="http://schemas.microsoft.com/office/drawing/2014/main" id="{AA050297-269F-401B-81C8-AB254E68C794}"/>
              </a:ext>
            </a:extLst>
          </p:cNvPr>
          <p:cNvSpPr>
            <a:spLocks noChangeArrowheads="1"/>
          </p:cNvSpPr>
          <p:nvPr/>
        </p:nvSpPr>
        <p:spPr bwMode="auto">
          <a:xfrm>
            <a:off x="4888958" y="3515899"/>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37" name="Oval 223">
            <a:extLst>
              <a:ext uri="{FF2B5EF4-FFF2-40B4-BE49-F238E27FC236}">
                <a16:creationId xmlns:a16="http://schemas.microsoft.com/office/drawing/2014/main" id="{4A7AF64C-9BDA-4948-9A58-E377AEC50D34}"/>
              </a:ext>
            </a:extLst>
          </p:cNvPr>
          <p:cNvSpPr>
            <a:spLocks noChangeArrowheads="1"/>
          </p:cNvSpPr>
          <p:nvPr/>
        </p:nvSpPr>
        <p:spPr bwMode="auto">
          <a:xfrm>
            <a:off x="4854336" y="3497664"/>
            <a:ext cx="69242"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38" name="Oval 224">
            <a:extLst>
              <a:ext uri="{FF2B5EF4-FFF2-40B4-BE49-F238E27FC236}">
                <a16:creationId xmlns:a16="http://schemas.microsoft.com/office/drawing/2014/main" id="{97043675-6AA3-463E-BB76-18CE74AE8F9D}"/>
              </a:ext>
            </a:extLst>
          </p:cNvPr>
          <p:cNvSpPr>
            <a:spLocks noChangeArrowheads="1"/>
          </p:cNvSpPr>
          <p:nvPr/>
        </p:nvSpPr>
        <p:spPr bwMode="auto">
          <a:xfrm>
            <a:off x="4844315" y="3472480"/>
            <a:ext cx="66509"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39" name="Oval 225">
            <a:extLst>
              <a:ext uri="{FF2B5EF4-FFF2-40B4-BE49-F238E27FC236}">
                <a16:creationId xmlns:a16="http://schemas.microsoft.com/office/drawing/2014/main" id="{31008AC4-D060-4822-9160-55009552D651}"/>
              </a:ext>
            </a:extLst>
          </p:cNvPr>
          <p:cNvSpPr>
            <a:spLocks noChangeArrowheads="1"/>
          </p:cNvSpPr>
          <p:nvPr/>
        </p:nvSpPr>
        <p:spPr bwMode="auto">
          <a:xfrm>
            <a:off x="4828826" y="3460322"/>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40" name="Oval 226">
            <a:extLst>
              <a:ext uri="{FF2B5EF4-FFF2-40B4-BE49-F238E27FC236}">
                <a16:creationId xmlns:a16="http://schemas.microsoft.com/office/drawing/2014/main" id="{09990D18-51EF-4B4D-A400-54DCA0B7A045}"/>
              </a:ext>
            </a:extLst>
          </p:cNvPr>
          <p:cNvSpPr>
            <a:spLocks noChangeArrowheads="1"/>
          </p:cNvSpPr>
          <p:nvPr/>
        </p:nvSpPr>
        <p:spPr bwMode="auto">
          <a:xfrm>
            <a:off x="4813338" y="3433403"/>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41" name="Oval 227">
            <a:extLst>
              <a:ext uri="{FF2B5EF4-FFF2-40B4-BE49-F238E27FC236}">
                <a16:creationId xmlns:a16="http://schemas.microsoft.com/office/drawing/2014/main" id="{2FA8BF3C-8560-4DF3-B88E-A286E8022816}"/>
              </a:ext>
            </a:extLst>
          </p:cNvPr>
          <p:cNvSpPr>
            <a:spLocks noChangeArrowheads="1"/>
          </p:cNvSpPr>
          <p:nvPr/>
        </p:nvSpPr>
        <p:spPr bwMode="auto">
          <a:xfrm>
            <a:off x="4794205" y="3416903"/>
            <a:ext cx="69242"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42" name="Oval 228">
            <a:extLst>
              <a:ext uri="{FF2B5EF4-FFF2-40B4-BE49-F238E27FC236}">
                <a16:creationId xmlns:a16="http://schemas.microsoft.com/office/drawing/2014/main" id="{EC6BD28E-7F73-48AA-94A5-B966000D102D}"/>
              </a:ext>
            </a:extLst>
          </p:cNvPr>
          <p:cNvSpPr>
            <a:spLocks noChangeArrowheads="1"/>
          </p:cNvSpPr>
          <p:nvPr/>
        </p:nvSpPr>
        <p:spPr bwMode="auto">
          <a:xfrm>
            <a:off x="4705830" y="3413430"/>
            <a:ext cx="69242" cy="63393"/>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43" name="Oval 229">
            <a:extLst>
              <a:ext uri="{FF2B5EF4-FFF2-40B4-BE49-F238E27FC236}">
                <a16:creationId xmlns:a16="http://schemas.microsoft.com/office/drawing/2014/main" id="{BC8D7EFA-FD37-4682-A7EC-1832409E079B}"/>
              </a:ext>
            </a:extLst>
          </p:cNvPr>
          <p:cNvSpPr>
            <a:spLocks noChangeArrowheads="1"/>
          </p:cNvSpPr>
          <p:nvPr/>
        </p:nvSpPr>
        <p:spPr bwMode="auto">
          <a:xfrm>
            <a:off x="4444349" y="3386510"/>
            <a:ext cx="66509" cy="63393"/>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44" name="Oval 230">
            <a:extLst>
              <a:ext uri="{FF2B5EF4-FFF2-40B4-BE49-F238E27FC236}">
                <a16:creationId xmlns:a16="http://schemas.microsoft.com/office/drawing/2014/main" id="{44D1C33D-6698-4A33-AD5C-372A23DF7038}"/>
              </a:ext>
            </a:extLst>
          </p:cNvPr>
          <p:cNvSpPr>
            <a:spLocks noChangeArrowheads="1"/>
          </p:cNvSpPr>
          <p:nvPr/>
        </p:nvSpPr>
        <p:spPr bwMode="auto">
          <a:xfrm>
            <a:off x="4268510" y="3241489"/>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45" name="Oval 231">
            <a:extLst>
              <a:ext uri="{FF2B5EF4-FFF2-40B4-BE49-F238E27FC236}">
                <a16:creationId xmlns:a16="http://schemas.microsoft.com/office/drawing/2014/main" id="{3C758F54-241D-47FE-B404-F37AB4E8907D}"/>
              </a:ext>
            </a:extLst>
          </p:cNvPr>
          <p:cNvSpPr>
            <a:spLocks noChangeArrowheads="1"/>
          </p:cNvSpPr>
          <p:nvPr/>
        </p:nvSpPr>
        <p:spPr bwMode="auto">
          <a:xfrm>
            <a:off x="4309509" y="3266672"/>
            <a:ext cx="69242"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46" name="Oval 232">
            <a:extLst>
              <a:ext uri="{FF2B5EF4-FFF2-40B4-BE49-F238E27FC236}">
                <a16:creationId xmlns:a16="http://schemas.microsoft.com/office/drawing/2014/main" id="{FF301F95-5763-444D-BE2C-B31163EA8AD9}"/>
              </a:ext>
            </a:extLst>
          </p:cNvPr>
          <p:cNvSpPr>
            <a:spLocks noChangeArrowheads="1"/>
          </p:cNvSpPr>
          <p:nvPr/>
        </p:nvSpPr>
        <p:spPr bwMode="auto">
          <a:xfrm>
            <a:off x="4326820" y="3293592"/>
            <a:ext cx="69242" cy="63393"/>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47" name="Oval 233">
            <a:extLst>
              <a:ext uri="{FF2B5EF4-FFF2-40B4-BE49-F238E27FC236}">
                <a16:creationId xmlns:a16="http://schemas.microsoft.com/office/drawing/2014/main" id="{45185424-712F-4AE3-87C1-F66D7F1954C2}"/>
              </a:ext>
            </a:extLst>
          </p:cNvPr>
          <p:cNvSpPr>
            <a:spLocks noChangeArrowheads="1"/>
          </p:cNvSpPr>
          <p:nvPr/>
        </p:nvSpPr>
        <p:spPr bwMode="auto">
          <a:xfrm>
            <a:off x="4344130" y="3326590"/>
            <a:ext cx="67420" cy="63393"/>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48" name="Oval 234">
            <a:extLst>
              <a:ext uri="{FF2B5EF4-FFF2-40B4-BE49-F238E27FC236}">
                <a16:creationId xmlns:a16="http://schemas.microsoft.com/office/drawing/2014/main" id="{D0B2E565-B915-4239-8ED7-A20D247F26CF}"/>
              </a:ext>
            </a:extLst>
          </p:cNvPr>
          <p:cNvSpPr>
            <a:spLocks noChangeArrowheads="1"/>
          </p:cNvSpPr>
          <p:nvPr/>
        </p:nvSpPr>
        <p:spPr bwMode="auto">
          <a:xfrm>
            <a:off x="4357797" y="3356984"/>
            <a:ext cx="66509"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49" name="Oval 235">
            <a:extLst>
              <a:ext uri="{FF2B5EF4-FFF2-40B4-BE49-F238E27FC236}">
                <a16:creationId xmlns:a16="http://schemas.microsoft.com/office/drawing/2014/main" id="{D7F394DA-E19C-4FFC-8FA6-79214BFFF233}"/>
              </a:ext>
            </a:extLst>
          </p:cNvPr>
          <p:cNvSpPr>
            <a:spLocks noChangeArrowheads="1"/>
          </p:cNvSpPr>
          <p:nvPr/>
        </p:nvSpPr>
        <p:spPr bwMode="auto">
          <a:xfrm>
            <a:off x="4370552" y="3382167"/>
            <a:ext cx="66509"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50" name="Oval 236">
            <a:extLst>
              <a:ext uri="{FF2B5EF4-FFF2-40B4-BE49-F238E27FC236}">
                <a16:creationId xmlns:a16="http://schemas.microsoft.com/office/drawing/2014/main" id="{F8A2E049-8280-474B-B32C-C43F1AB2FB89}"/>
              </a:ext>
            </a:extLst>
          </p:cNvPr>
          <p:cNvSpPr>
            <a:spLocks noChangeArrowheads="1"/>
          </p:cNvSpPr>
          <p:nvPr/>
        </p:nvSpPr>
        <p:spPr bwMode="auto">
          <a:xfrm>
            <a:off x="4409728" y="3386510"/>
            <a:ext cx="69242" cy="63393"/>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51" name="Oval 237">
            <a:extLst>
              <a:ext uri="{FF2B5EF4-FFF2-40B4-BE49-F238E27FC236}">
                <a16:creationId xmlns:a16="http://schemas.microsoft.com/office/drawing/2014/main" id="{D8C83719-9C9A-47EB-8D8E-F6D1ADF180F0}"/>
              </a:ext>
            </a:extLst>
          </p:cNvPr>
          <p:cNvSpPr>
            <a:spLocks noChangeArrowheads="1"/>
          </p:cNvSpPr>
          <p:nvPr/>
        </p:nvSpPr>
        <p:spPr bwMode="auto">
          <a:xfrm>
            <a:off x="3901344" y="3185912"/>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52" name="Oval 238">
            <a:extLst>
              <a:ext uri="{FF2B5EF4-FFF2-40B4-BE49-F238E27FC236}">
                <a16:creationId xmlns:a16="http://schemas.microsoft.com/office/drawing/2014/main" id="{544135E7-1B81-496A-8ACF-9A6C2232DE85}"/>
              </a:ext>
            </a:extLst>
          </p:cNvPr>
          <p:cNvSpPr>
            <a:spLocks noChangeArrowheads="1"/>
          </p:cNvSpPr>
          <p:nvPr/>
        </p:nvSpPr>
        <p:spPr bwMode="auto">
          <a:xfrm>
            <a:off x="3882211" y="3173754"/>
            <a:ext cx="66509"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53" name="Oval 239">
            <a:extLst>
              <a:ext uri="{FF2B5EF4-FFF2-40B4-BE49-F238E27FC236}">
                <a16:creationId xmlns:a16="http://schemas.microsoft.com/office/drawing/2014/main" id="{6A242A87-6699-4CE5-80AB-A5CC65A00AE7}"/>
              </a:ext>
            </a:extLst>
          </p:cNvPr>
          <p:cNvSpPr>
            <a:spLocks noChangeArrowheads="1"/>
          </p:cNvSpPr>
          <p:nvPr/>
        </p:nvSpPr>
        <p:spPr bwMode="auto">
          <a:xfrm>
            <a:off x="3853968" y="3158992"/>
            <a:ext cx="66509"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54" name="Oval 240">
            <a:extLst>
              <a:ext uri="{FF2B5EF4-FFF2-40B4-BE49-F238E27FC236}">
                <a16:creationId xmlns:a16="http://schemas.microsoft.com/office/drawing/2014/main" id="{91FC3C5C-11E5-4B91-A7CD-AC4BA9787493}"/>
              </a:ext>
            </a:extLst>
          </p:cNvPr>
          <p:cNvSpPr>
            <a:spLocks noChangeArrowheads="1"/>
          </p:cNvSpPr>
          <p:nvPr/>
        </p:nvSpPr>
        <p:spPr bwMode="auto">
          <a:xfrm>
            <a:off x="3745549" y="3058259"/>
            <a:ext cx="69242"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55" name="Oval 241">
            <a:extLst>
              <a:ext uri="{FF2B5EF4-FFF2-40B4-BE49-F238E27FC236}">
                <a16:creationId xmlns:a16="http://schemas.microsoft.com/office/drawing/2014/main" id="{A0E0C358-FAB9-45CD-8146-D38C8BD2421E}"/>
              </a:ext>
            </a:extLst>
          </p:cNvPr>
          <p:cNvSpPr>
            <a:spLocks noChangeArrowheads="1"/>
          </p:cNvSpPr>
          <p:nvPr/>
        </p:nvSpPr>
        <p:spPr bwMode="auto">
          <a:xfrm>
            <a:off x="3657174" y="3037417"/>
            <a:ext cx="66509"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56" name="Oval 242">
            <a:extLst>
              <a:ext uri="{FF2B5EF4-FFF2-40B4-BE49-F238E27FC236}">
                <a16:creationId xmlns:a16="http://schemas.microsoft.com/office/drawing/2014/main" id="{EFF89CDC-EF69-4BA3-B48E-6DAC5F8BD6DB}"/>
              </a:ext>
            </a:extLst>
          </p:cNvPr>
          <p:cNvSpPr>
            <a:spLocks noChangeArrowheads="1"/>
          </p:cNvSpPr>
          <p:nvPr/>
        </p:nvSpPr>
        <p:spPr bwMode="auto">
          <a:xfrm>
            <a:off x="3587932" y="3009336"/>
            <a:ext cx="66509" cy="63393"/>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57" name="Oval 243">
            <a:extLst>
              <a:ext uri="{FF2B5EF4-FFF2-40B4-BE49-F238E27FC236}">
                <a16:creationId xmlns:a16="http://schemas.microsoft.com/office/drawing/2014/main" id="{4EA6F707-A7F6-4194-9E59-47F61A22912B}"/>
              </a:ext>
            </a:extLst>
          </p:cNvPr>
          <p:cNvSpPr>
            <a:spLocks noChangeArrowheads="1"/>
          </p:cNvSpPr>
          <p:nvPr/>
        </p:nvSpPr>
        <p:spPr bwMode="auto">
          <a:xfrm>
            <a:off x="3464936" y="2977498"/>
            <a:ext cx="66509" cy="65998"/>
          </a:xfrm>
          <a:prstGeom prst="ellipse">
            <a:avLst/>
          </a:prstGeom>
          <a:noFill/>
          <a:ln>
            <a:solidFill>
              <a:schemeClr val="accent1"/>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58" name="Oval 244">
            <a:extLst>
              <a:ext uri="{FF2B5EF4-FFF2-40B4-BE49-F238E27FC236}">
                <a16:creationId xmlns:a16="http://schemas.microsoft.com/office/drawing/2014/main" id="{A5F2722D-6414-404C-8E9A-DD3881544A0E}"/>
              </a:ext>
            </a:extLst>
          </p:cNvPr>
          <p:cNvSpPr>
            <a:spLocks noChangeArrowheads="1"/>
          </p:cNvSpPr>
          <p:nvPr/>
        </p:nvSpPr>
        <p:spPr bwMode="auto">
          <a:xfrm>
            <a:off x="3423026" y="2969683"/>
            <a:ext cx="69242" cy="63393"/>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59" name="Oval 245">
            <a:extLst>
              <a:ext uri="{FF2B5EF4-FFF2-40B4-BE49-F238E27FC236}">
                <a16:creationId xmlns:a16="http://schemas.microsoft.com/office/drawing/2014/main" id="{6CDBD57E-529E-4BFD-9A42-7109DACCB963}"/>
              </a:ext>
            </a:extLst>
          </p:cNvPr>
          <p:cNvSpPr>
            <a:spLocks noChangeArrowheads="1"/>
          </p:cNvSpPr>
          <p:nvPr/>
        </p:nvSpPr>
        <p:spPr bwMode="auto">
          <a:xfrm>
            <a:off x="3391138" y="2947105"/>
            <a:ext cx="66509" cy="63393"/>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60" name="Oval 246">
            <a:extLst>
              <a:ext uri="{FF2B5EF4-FFF2-40B4-BE49-F238E27FC236}">
                <a16:creationId xmlns:a16="http://schemas.microsoft.com/office/drawing/2014/main" id="{4587801F-9DCE-4E2B-B825-F779FE6DBA23}"/>
              </a:ext>
            </a:extLst>
          </p:cNvPr>
          <p:cNvSpPr>
            <a:spLocks noChangeArrowheads="1"/>
          </p:cNvSpPr>
          <p:nvPr/>
        </p:nvSpPr>
        <p:spPr bwMode="auto">
          <a:xfrm>
            <a:off x="3364717" y="2897606"/>
            <a:ext cx="67420" cy="63393"/>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61" name="Oval 247">
            <a:extLst>
              <a:ext uri="{FF2B5EF4-FFF2-40B4-BE49-F238E27FC236}">
                <a16:creationId xmlns:a16="http://schemas.microsoft.com/office/drawing/2014/main" id="{A7D06DBF-C414-4E50-A945-F275F0CFBCFA}"/>
              </a:ext>
            </a:extLst>
          </p:cNvPr>
          <p:cNvSpPr>
            <a:spLocks noChangeArrowheads="1"/>
          </p:cNvSpPr>
          <p:nvPr/>
        </p:nvSpPr>
        <p:spPr bwMode="auto">
          <a:xfrm>
            <a:off x="3265408" y="2864608"/>
            <a:ext cx="67420"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62" name="Oval 248">
            <a:extLst>
              <a:ext uri="{FF2B5EF4-FFF2-40B4-BE49-F238E27FC236}">
                <a16:creationId xmlns:a16="http://schemas.microsoft.com/office/drawing/2014/main" id="{2A01F2F2-6A28-462C-A452-674433045C68}"/>
              </a:ext>
            </a:extLst>
          </p:cNvPr>
          <p:cNvSpPr>
            <a:spLocks noChangeArrowheads="1"/>
          </p:cNvSpPr>
          <p:nvPr/>
        </p:nvSpPr>
        <p:spPr bwMode="auto">
          <a:xfrm>
            <a:off x="3194344" y="2854187"/>
            <a:ext cx="67420" cy="63393"/>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63" name="Oval 249">
            <a:extLst>
              <a:ext uri="{FF2B5EF4-FFF2-40B4-BE49-F238E27FC236}">
                <a16:creationId xmlns:a16="http://schemas.microsoft.com/office/drawing/2014/main" id="{FF252A37-D70E-4321-A950-2B09EAA1970C}"/>
              </a:ext>
            </a:extLst>
          </p:cNvPr>
          <p:cNvSpPr>
            <a:spLocks noChangeArrowheads="1"/>
          </p:cNvSpPr>
          <p:nvPr/>
        </p:nvSpPr>
        <p:spPr bwMode="auto">
          <a:xfrm>
            <a:off x="3090480" y="2824661"/>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64" name="Oval 250">
            <a:extLst>
              <a:ext uri="{FF2B5EF4-FFF2-40B4-BE49-F238E27FC236}">
                <a16:creationId xmlns:a16="http://schemas.microsoft.com/office/drawing/2014/main" id="{CB224E4E-5736-4241-A537-768455CEDE3D}"/>
              </a:ext>
            </a:extLst>
          </p:cNvPr>
          <p:cNvSpPr>
            <a:spLocks noChangeArrowheads="1"/>
          </p:cNvSpPr>
          <p:nvPr/>
        </p:nvSpPr>
        <p:spPr bwMode="auto">
          <a:xfrm>
            <a:off x="3023061" y="2816846"/>
            <a:ext cx="67420"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65" name="Oval 251">
            <a:extLst>
              <a:ext uri="{FF2B5EF4-FFF2-40B4-BE49-F238E27FC236}">
                <a16:creationId xmlns:a16="http://schemas.microsoft.com/office/drawing/2014/main" id="{0B5CF67D-9912-4840-B663-12FE20303405}"/>
              </a:ext>
            </a:extLst>
          </p:cNvPr>
          <p:cNvSpPr>
            <a:spLocks noChangeArrowheads="1"/>
          </p:cNvSpPr>
          <p:nvPr/>
        </p:nvSpPr>
        <p:spPr bwMode="auto">
          <a:xfrm>
            <a:off x="2917375" y="2785584"/>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66" name="Oval 252">
            <a:extLst>
              <a:ext uri="{FF2B5EF4-FFF2-40B4-BE49-F238E27FC236}">
                <a16:creationId xmlns:a16="http://schemas.microsoft.com/office/drawing/2014/main" id="{9074D6A8-C9F7-4221-BA7F-B7B8FF252FD9}"/>
              </a:ext>
            </a:extLst>
          </p:cNvPr>
          <p:cNvSpPr>
            <a:spLocks noChangeArrowheads="1"/>
          </p:cNvSpPr>
          <p:nvPr/>
        </p:nvSpPr>
        <p:spPr bwMode="auto">
          <a:xfrm>
            <a:off x="2712679" y="2652877"/>
            <a:ext cx="66509"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67" name="Oval 253">
            <a:extLst>
              <a:ext uri="{FF2B5EF4-FFF2-40B4-BE49-F238E27FC236}">
                <a16:creationId xmlns:a16="http://schemas.microsoft.com/office/drawing/2014/main" id="{0257188E-B5B3-48F2-B613-06BC96FE2DC4}"/>
              </a:ext>
            </a:extLst>
          </p:cNvPr>
          <p:cNvSpPr>
            <a:spLocks noChangeArrowheads="1"/>
          </p:cNvSpPr>
          <p:nvPr/>
        </p:nvSpPr>
        <p:spPr bwMode="auto">
          <a:xfrm>
            <a:off x="2614896" y="2618853"/>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68" name="Oval 254">
            <a:extLst>
              <a:ext uri="{FF2B5EF4-FFF2-40B4-BE49-F238E27FC236}">
                <a16:creationId xmlns:a16="http://schemas.microsoft.com/office/drawing/2014/main" id="{B2D08FAB-1F88-400C-B794-AC2C0E19712F}"/>
              </a:ext>
            </a:extLst>
          </p:cNvPr>
          <p:cNvSpPr>
            <a:spLocks noChangeArrowheads="1"/>
          </p:cNvSpPr>
          <p:nvPr/>
        </p:nvSpPr>
        <p:spPr bwMode="auto">
          <a:xfrm>
            <a:off x="2465478" y="2596275"/>
            <a:ext cx="67420"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69" name="Oval 255">
            <a:extLst>
              <a:ext uri="{FF2B5EF4-FFF2-40B4-BE49-F238E27FC236}">
                <a16:creationId xmlns:a16="http://schemas.microsoft.com/office/drawing/2014/main" id="{17A5767E-4213-4C3E-A994-0B3D7F884814}"/>
              </a:ext>
            </a:extLst>
          </p:cNvPr>
          <p:cNvSpPr>
            <a:spLocks noChangeArrowheads="1"/>
          </p:cNvSpPr>
          <p:nvPr/>
        </p:nvSpPr>
        <p:spPr bwMode="auto">
          <a:xfrm>
            <a:off x="2430857" y="2596275"/>
            <a:ext cx="69242"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70" name="Oval 256">
            <a:extLst>
              <a:ext uri="{FF2B5EF4-FFF2-40B4-BE49-F238E27FC236}">
                <a16:creationId xmlns:a16="http://schemas.microsoft.com/office/drawing/2014/main" id="{C229AD25-68C6-4078-8289-788E03C1C5F6}"/>
              </a:ext>
            </a:extLst>
          </p:cNvPr>
          <p:cNvSpPr>
            <a:spLocks noChangeArrowheads="1"/>
          </p:cNvSpPr>
          <p:nvPr/>
        </p:nvSpPr>
        <p:spPr bwMode="auto">
          <a:xfrm>
            <a:off x="2405347" y="2579776"/>
            <a:ext cx="66509" cy="63393"/>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71" name="Oval 257">
            <a:extLst>
              <a:ext uri="{FF2B5EF4-FFF2-40B4-BE49-F238E27FC236}">
                <a16:creationId xmlns:a16="http://schemas.microsoft.com/office/drawing/2014/main" id="{B19810C0-707B-414F-80A1-DBCE1F440B41}"/>
              </a:ext>
            </a:extLst>
          </p:cNvPr>
          <p:cNvSpPr>
            <a:spLocks noChangeArrowheads="1"/>
          </p:cNvSpPr>
          <p:nvPr/>
        </p:nvSpPr>
        <p:spPr bwMode="auto">
          <a:xfrm>
            <a:off x="2377103" y="2550251"/>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72" name="Oval 258">
            <a:extLst>
              <a:ext uri="{FF2B5EF4-FFF2-40B4-BE49-F238E27FC236}">
                <a16:creationId xmlns:a16="http://schemas.microsoft.com/office/drawing/2014/main" id="{C832F9E7-707A-44BA-AC09-5E01BAF9F22D}"/>
              </a:ext>
            </a:extLst>
          </p:cNvPr>
          <p:cNvSpPr>
            <a:spLocks noChangeArrowheads="1"/>
          </p:cNvSpPr>
          <p:nvPr/>
        </p:nvSpPr>
        <p:spPr bwMode="auto">
          <a:xfrm>
            <a:off x="2347037" y="2536356"/>
            <a:ext cx="66509"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73" name="Oval 259">
            <a:extLst>
              <a:ext uri="{FF2B5EF4-FFF2-40B4-BE49-F238E27FC236}">
                <a16:creationId xmlns:a16="http://schemas.microsoft.com/office/drawing/2014/main" id="{4F75E5C8-C836-4E54-962C-2EF36ED79FA9}"/>
              </a:ext>
            </a:extLst>
          </p:cNvPr>
          <p:cNvSpPr>
            <a:spLocks noChangeArrowheads="1"/>
          </p:cNvSpPr>
          <p:nvPr/>
        </p:nvSpPr>
        <p:spPr bwMode="auto">
          <a:xfrm>
            <a:off x="2312416" y="2527673"/>
            <a:ext cx="66509"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74" name="Oval 260">
            <a:extLst>
              <a:ext uri="{FF2B5EF4-FFF2-40B4-BE49-F238E27FC236}">
                <a16:creationId xmlns:a16="http://schemas.microsoft.com/office/drawing/2014/main" id="{007E1795-081D-4C34-9EBA-80AFB37E0940}"/>
              </a:ext>
            </a:extLst>
          </p:cNvPr>
          <p:cNvSpPr>
            <a:spLocks noChangeArrowheads="1"/>
          </p:cNvSpPr>
          <p:nvPr/>
        </p:nvSpPr>
        <p:spPr bwMode="auto">
          <a:xfrm>
            <a:off x="2152065" y="2536356"/>
            <a:ext cx="69242" cy="65998"/>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75" name="Oval 261">
            <a:extLst>
              <a:ext uri="{FF2B5EF4-FFF2-40B4-BE49-F238E27FC236}">
                <a16:creationId xmlns:a16="http://schemas.microsoft.com/office/drawing/2014/main" id="{2A81016C-3661-4FA8-8BF0-C4239C118DF8}"/>
              </a:ext>
            </a:extLst>
          </p:cNvPr>
          <p:cNvSpPr>
            <a:spLocks noChangeArrowheads="1"/>
          </p:cNvSpPr>
          <p:nvPr/>
        </p:nvSpPr>
        <p:spPr bwMode="auto">
          <a:xfrm>
            <a:off x="2078268" y="2532015"/>
            <a:ext cx="69242"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76" name="Oval 262">
            <a:extLst>
              <a:ext uri="{FF2B5EF4-FFF2-40B4-BE49-F238E27FC236}">
                <a16:creationId xmlns:a16="http://schemas.microsoft.com/office/drawing/2014/main" id="{CA38AA19-A6C6-4ABF-AAAD-541C23F18872}"/>
              </a:ext>
            </a:extLst>
          </p:cNvPr>
          <p:cNvSpPr>
            <a:spLocks noChangeArrowheads="1"/>
          </p:cNvSpPr>
          <p:nvPr/>
        </p:nvSpPr>
        <p:spPr bwMode="auto">
          <a:xfrm>
            <a:off x="2050936" y="2511174"/>
            <a:ext cx="69242"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77" name="Oval 263">
            <a:extLst>
              <a:ext uri="{FF2B5EF4-FFF2-40B4-BE49-F238E27FC236}">
                <a16:creationId xmlns:a16="http://schemas.microsoft.com/office/drawing/2014/main" id="{AB2BBC20-8EF4-4E09-B325-0B041212E2CF}"/>
              </a:ext>
            </a:extLst>
          </p:cNvPr>
          <p:cNvSpPr>
            <a:spLocks noChangeArrowheads="1"/>
          </p:cNvSpPr>
          <p:nvPr/>
        </p:nvSpPr>
        <p:spPr bwMode="auto">
          <a:xfrm>
            <a:off x="2029070" y="2486858"/>
            <a:ext cx="66509" cy="63393"/>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78" name="Oval 264">
            <a:extLst>
              <a:ext uri="{FF2B5EF4-FFF2-40B4-BE49-F238E27FC236}">
                <a16:creationId xmlns:a16="http://schemas.microsoft.com/office/drawing/2014/main" id="{12BEA176-E3FD-4290-A3B0-8D7F606D6605}"/>
              </a:ext>
            </a:extLst>
          </p:cNvPr>
          <p:cNvSpPr>
            <a:spLocks noChangeArrowheads="1"/>
          </p:cNvSpPr>
          <p:nvPr/>
        </p:nvSpPr>
        <p:spPr bwMode="auto">
          <a:xfrm>
            <a:off x="1782462" y="2421651"/>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79" name="Oval 265">
            <a:extLst>
              <a:ext uri="{FF2B5EF4-FFF2-40B4-BE49-F238E27FC236}">
                <a16:creationId xmlns:a16="http://schemas.microsoft.com/office/drawing/2014/main" id="{E67E915C-8C8C-4C65-9FE3-C3379A24F113}"/>
              </a:ext>
            </a:extLst>
          </p:cNvPr>
          <p:cNvSpPr>
            <a:spLocks noChangeArrowheads="1"/>
          </p:cNvSpPr>
          <p:nvPr/>
        </p:nvSpPr>
        <p:spPr bwMode="auto">
          <a:xfrm>
            <a:off x="1763034" y="2383520"/>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80" name="Oval 266">
            <a:extLst>
              <a:ext uri="{FF2B5EF4-FFF2-40B4-BE49-F238E27FC236}">
                <a16:creationId xmlns:a16="http://schemas.microsoft.com/office/drawing/2014/main" id="{9E3EB5D5-2AD5-4B06-A75E-0637725AEBC4}"/>
              </a:ext>
            </a:extLst>
          </p:cNvPr>
          <p:cNvSpPr>
            <a:spLocks noChangeArrowheads="1"/>
          </p:cNvSpPr>
          <p:nvPr/>
        </p:nvSpPr>
        <p:spPr bwMode="auto">
          <a:xfrm>
            <a:off x="1747545" y="2359205"/>
            <a:ext cx="67420" cy="65998"/>
          </a:xfrm>
          <a:prstGeom prst="ellipse">
            <a:avLst/>
          </a:prstGeom>
          <a:noFill/>
          <a:ln>
            <a:solidFill>
              <a:schemeClr val="accent1"/>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81" name="Oval 267">
            <a:extLst>
              <a:ext uri="{FF2B5EF4-FFF2-40B4-BE49-F238E27FC236}">
                <a16:creationId xmlns:a16="http://schemas.microsoft.com/office/drawing/2014/main" id="{DA065F2E-74E4-4058-BCFA-ADDE300D8F82}"/>
              </a:ext>
            </a:extLst>
          </p:cNvPr>
          <p:cNvSpPr>
            <a:spLocks noChangeArrowheads="1"/>
          </p:cNvSpPr>
          <p:nvPr/>
        </p:nvSpPr>
        <p:spPr bwMode="auto">
          <a:xfrm>
            <a:off x="1758709" y="2331044"/>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82" name="Oval 268">
            <a:extLst>
              <a:ext uri="{FF2B5EF4-FFF2-40B4-BE49-F238E27FC236}">
                <a16:creationId xmlns:a16="http://schemas.microsoft.com/office/drawing/2014/main" id="{9CD09617-87ED-49B5-89FD-865E3347CF75}"/>
              </a:ext>
            </a:extLst>
          </p:cNvPr>
          <p:cNvSpPr>
            <a:spLocks noChangeArrowheads="1"/>
          </p:cNvSpPr>
          <p:nvPr/>
        </p:nvSpPr>
        <p:spPr bwMode="auto">
          <a:xfrm>
            <a:off x="1720213" y="2263682"/>
            <a:ext cx="66509"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83" name="Freeform 269">
            <a:extLst>
              <a:ext uri="{FF2B5EF4-FFF2-40B4-BE49-F238E27FC236}">
                <a16:creationId xmlns:a16="http://schemas.microsoft.com/office/drawing/2014/main" id="{15162F35-2AAC-442E-BB15-60026AAA0A97}"/>
              </a:ext>
            </a:extLst>
          </p:cNvPr>
          <p:cNvSpPr>
            <a:spLocks/>
          </p:cNvSpPr>
          <p:nvPr/>
        </p:nvSpPr>
        <p:spPr bwMode="auto">
          <a:xfrm>
            <a:off x="1454588" y="2295529"/>
            <a:ext cx="5422763" cy="1844459"/>
          </a:xfrm>
          <a:custGeom>
            <a:avLst/>
            <a:gdLst>
              <a:gd name="T0" fmla="*/ 5591 w 5952"/>
              <a:gd name="T1" fmla="*/ 1832 h 2124"/>
              <a:gd name="T2" fmla="*/ 5373 w 5952"/>
              <a:gd name="T3" fmla="*/ 1818 h 2124"/>
              <a:gd name="T4" fmla="*/ 4122 w 5952"/>
              <a:gd name="T5" fmla="*/ 1509 h 2124"/>
              <a:gd name="T6" fmla="*/ 3844 w 5952"/>
              <a:gd name="T7" fmla="*/ 1492 h 2124"/>
              <a:gd name="T8" fmla="*/ 3811 w 5952"/>
              <a:gd name="T9" fmla="*/ 1459 h 2124"/>
              <a:gd name="T10" fmla="*/ 3764 w 5952"/>
              <a:gd name="T11" fmla="*/ 1438 h 2124"/>
              <a:gd name="T12" fmla="*/ 3745 w 5952"/>
              <a:gd name="T13" fmla="*/ 1392 h 2124"/>
              <a:gd name="T14" fmla="*/ 3692 w 5952"/>
              <a:gd name="T15" fmla="*/ 1366 h 2124"/>
              <a:gd name="T16" fmla="*/ 3405 w 5952"/>
              <a:gd name="T17" fmla="*/ 1335 h 2124"/>
              <a:gd name="T18" fmla="*/ 3379 w 5952"/>
              <a:gd name="T19" fmla="*/ 1326 h 2124"/>
              <a:gd name="T20" fmla="*/ 3239 w 5952"/>
              <a:gd name="T21" fmla="*/ 1314 h 2124"/>
              <a:gd name="T22" fmla="*/ 3227 w 5952"/>
              <a:gd name="T23" fmla="*/ 1285 h 2124"/>
              <a:gd name="T24" fmla="*/ 3197 w 5952"/>
              <a:gd name="T25" fmla="*/ 1255 h 2124"/>
              <a:gd name="T26" fmla="*/ 3178 w 5952"/>
              <a:gd name="T27" fmla="*/ 1179 h 2124"/>
              <a:gd name="T28" fmla="*/ 3030 w 5952"/>
              <a:gd name="T29" fmla="*/ 1152 h 2124"/>
              <a:gd name="T30" fmla="*/ 2992 w 5952"/>
              <a:gd name="T31" fmla="*/ 1138 h 2124"/>
              <a:gd name="T32" fmla="*/ 2981 w 5952"/>
              <a:gd name="T33" fmla="*/ 1119 h 2124"/>
              <a:gd name="T34" fmla="*/ 2848 w 5952"/>
              <a:gd name="T35" fmla="*/ 1110 h 2124"/>
              <a:gd name="T36" fmla="*/ 2803 w 5952"/>
              <a:gd name="T37" fmla="*/ 1093 h 2124"/>
              <a:gd name="T38" fmla="*/ 2701 w 5952"/>
              <a:gd name="T39" fmla="*/ 1083 h 2124"/>
              <a:gd name="T40" fmla="*/ 2684 w 5952"/>
              <a:gd name="T41" fmla="*/ 1029 h 2124"/>
              <a:gd name="T42" fmla="*/ 2639 w 5952"/>
              <a:gd name="T43" fmla="*/ 981 h 2124"/>
              <a:gd name="T44" fmla="*/ 2511 w 5952"/>
              <a:gd name="T45" fmla="*/ 929 h 2124"/>
              <a:gd name="T46" fmla="*/ 2411 w 5952"/>
              <a:gd name="T47" fmla="*/ 920 h 2124"/>
              <a:gd name="T48" fmla="*/ 2380 w 5952"/>
              <a:gd name="T49" fmla="*/ 901 h 2124"/>
              <a:gd name="T50" fmla="*/ 2366 w 5952"/>
              <a:gd name="T51" fmla="*/ 872 h 2124"/>
              <a:gd name="T52" fmla="*/ 2300 w 5952"/>
              <a:gd name="T53" fmla="*/ 865 h 2124"/>
              <a:gd name="T54" fmla="*/ 2278 w 5952"/>
              <a:gd name="T55" fmla="*/ 844 h 2124"/>
              <a:gd name="T56" fmla="*/ 2164 w 5952"/>
              <a:gd name="T57" fmla="*/ 825 h 2124"/>
              <a:gd name="T58" fmla="*/ 2129 w 5952"/>
              <a:gd name="T59" fmla="*/ 746 h 2124"/>
              <a:gd name="T60" fmla="*/ 2107 w 5952"/>
              <a:gd name="T61" fmla="*/ 729 h 2124"/>
              <a:gd name="T62" fmla="*/ 1977 w 5952"/>
              <a:gd name="T63" fmla="*/ 706 h 2124"/>
              <a:gd name="T64" fmla="*/ 1860 w 5952"/>
              <a:gd name="T65" fmla="*/ 694 h 2124"/>
              <a:gd name="T66" fmla="*/ 1834 w 5952"/>
              <a:gd name="T67" fmla="*/ 670 h 2124"/>
              <a:gd name="T68" fmla="*/ 1720 w 5952"/>
              <a:gd name="T69" fmla="*/ 661 h 2124"/>
              <a:gd name="T70" fmla="*/ 1671 w 5952"/>
              <a:gd name="T71" fmla="*/ 632 h 2124"/>
              <a:gd name="T72" fmla="*/ 1640 w 5952"/>
              <a:gd name="T73" fmla="*/ 620 h 2124"/>
              <a:gd name="T74" fmla="*/ 1616 w 5952"/>
              <a:gd name="T75" fmla="*/ 613 h 2124"/>
              <a:gd name="T76" fmla="*/ 1604 w 5952"/>
              <a:gd name="T77" fmla="*/ 535 h 2124"/>
              <a:gd name="T78" fmla="*/ 1578 w 5952"/>
              <a:gd name="T79" fmla="*/ 525 h 2124"/>
              <a:gd name="T80" fmla="*/ 1564 w 5952"/>
              <a:gd name="T81" fmla="*/ 480 h 2124"/>
              <a:gd name="T82" fmla="*/ 1440 w 5952"/>
              <a:gd name="T83" fmla="*/ 473 h 2124"/>
              <a:gd name="T84" fmla="*/ 1407 w 5952"/>
              <a:gd name="T85" fmla="*/ 447 h 2124"/>
              <a:gd name="T86" fmla="*/ 1305 w 5952"/>
              <a:gd name="T87" fmla="*/ 437 h 2124"/>
              <a:gd name="T88" fmla="*/ 1293 w 5952"/>
              <a:gd name="T89" fmla="*/ 411 h 2124"/>
              <a:gd name="T90" fmla="*/ 1085 w 5952"/>
              <a:gd name="T91" fmla="*/ 397 h 2124"/>
              <a:gd name="T92" fmla="*/ 1058 w 5952"/>
              <a:gd name="T93" fmla="*/ 366 h 2124"/>
              <a:gd name="T94" fmla="*/ 726 w 5952"/>
              <a:gd name="T95" fmla="*/ 337 h 2124"/>
              <a:gd name="T96" fmla="*/ 707 w 5952"/>
              <a:gd name="T97" fmla="*/ 311 h 2124"/>
              <a:gd name="T98" fmla="*/ 653 w 5952"/>
              <a:gd name="T99" fmla="*/ 278 h 2124"/>
              <a:gd name="T100" fmla="*/ 577 w 5952"/>
              <a:gd name="T101" fmla="*/ 250 h 2124"/>
              <a:gd name="T102" fmla="*/ 501 w 5952"/>
              <a:gd name="T103" fmla="*/ 240 h 2124"/>
              <a:gd name="T104" fmla="*/ 446 w 5952"/>
              <a:gd name="T105" fmla="*/ 223 h 2124"/>
              <a:gd name="T106" fmla="*/ 384 w 5952"/>
              <a:gd name="T107" fmla="*/ 197 h 2124"/>
              <a:gd name="T108" fmla="*/ 373 w 5952"/>
              <a:gd name="T109" fmla="*/ 124 h 2124"/>
              <a:gd name="T110" fmla="*/ 344 w 5952"/>
              <a:gd name="T111" fmla="*/ 74 h 2124"/>
              <a:gd name="T112" fmla="*/ 325 w 5952"/>
              <a:gd name="T113" fmla="*/ 0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52" h="2124">
                <a:moveTo>
                  <a:pt x="5952" y="2124"/>
                </a:moveTo>
                <a:lnTo>
                  <a:pt x="5591" y="2124"/>
                </a:lnTo>
                <a:lnTo>
                  <a:pt x="5591" y="1832"/>
                </a:lnTo>
                <a:lnTo>
                  <a:pt x="5399" y="1832"/>
                </a:lnTo>
                <a:lnTo>
                  <a:pt x="5399" y="1818"/>
                </a:lnTo>
                <a:lnTo>
                  <a:pt x="5373" y="1818"/>
                </a:lnTo>
                <a:lnTo>
                  <a:pt x="5373" y="1533"/>
                </a:lnTo>
                <a:lnTo>
                  <a:pt x="4122" y="1533"/>
                </a:lnTo>
                <a:lnTo>
                  <a:pt x="4122" y="1509"/>
                </a:lnTo>
                <a:lnTo>
                  <a:pt x="3961" y="1509"/>
                </a:lnTo>
                <a:lnTo>
                  <a:pt x="3961" y="1492"/>
                </a:lnTo>
                <a:lnTo>
                  <a:pt x="3844" y="1492"/>
                </a:lnTo>
                <a:lnTo>
                  <a:pt x="3844" y="1473"/>
                </a:lnTo>
                <a:lnTo>
                  <a:pt x="3811" y="1473"/>
                </a:lnTo>
                <a:lnTo>
                  <a:pt x="3811" y="1459"/>
                </a:lnTo>
                <a:lnTo>
                  <a:pt x="3780" y="1459"/>
                </a:lnTo>
                <a:lnTo>
                  <a:pt x="3780" y="1438"/>
                </a:lnTo>
                <a:lnTo>
                  <a:pt x="3764" y="1438"/>
                </a:lnTo>
                <a:lnTo>
                  <a:pt x="3764" y="1416"/>
                </a:lnTo>
                <a:lnTo>
                  <a:pt x="3745" y="1416"/>
                </a:lnTo>
                <a:lnTo>
                  <a:pt x="3745" y="1392"/>
                </a:lnTo>
                <a:lnTo>
                  <a:pt x="3723" y="1392"/>
                </a:lnTo>
                <a:lnTo>
                  <a:pt x="3723" y="1366"/>
                </a:lnTo>
                <a:lnTo>
                  <a:pt x="3692" y="1366"/>
                </a:lnTo>
                <a:lnTo>
                  <a:pt x="3692" y="1347"/>
                </a:lnTo>
                <a:lnTo>
                  <a:pt x="3405" y="1347"/>
                </a:lnTo>
                <a:lnTo>
                  <a:pt x="3405" y="1335"/>
                </a:lnTo>
                <a:lnTo>
                  <a:pt x="3393" y="1335"/>
                </a:lnTo>
                <a:lnTo>
                  <a:pt x="3393" y="1326"/>
                </a:lnTo>
                <a:lnTo>
                  <a:pt x="3379" y="1326"/>
                </a:lnTo>
                <a:lnTo>
                  <a:pt x="3379" y="1314"/>
                </a:lnTo>
                <a:lnTo>
                  <a:pt x="3356" y="1314"/>
                </a:lnTo>
                <a:lnTo>
                  <a:pt x="3239" y="1314"/>
                </a:lnTo>
                <a:lnTo>
                  <a:pt x="3239" y="1300"/>
                </a:lnTo>
                <a:lnTo>
                  <a:pt x="3227" y="1300"/>
                </a:lnTo>
                <a:lnTo>
                  <a:pt x="3227" y="1285"/>
                </a:lnTo>
                <a:lnTo>
                  <a:pt x="3216" y="1285"/>
                </a:lnTo>
                <a:lnTo>
                  <a:pt x="3216" y="1255"/>
                </a:lnTo>
                <a:lnTo>
                  <a:pt x="3197" y="1255"/>
                </a:lnTo>
                <a:lnTo>
                  <a:pt x="3197" y="1209"/>
                </a:lnTo>
                <a:lnTo>
                  <a:pt x="3178" y="1209"/>
                </a:lnTo>
                <a:lnTo>
                  <a:pt x="3178" y="1179"/>
                </a:lnTo>
                <a:lnTo>
                  <a:pt x="3161" y="1179"/>
                </a:lnTo>
                <a:lnTo>
                  <a:pt x="3161" y="1152"/>
                </a:lnTo>
                <a:lnTo>
                  <a:pt x="3030" y="1152"/>
                </a:lnTo>
                <a:lnTo>
                  <a:pt x="3016" y="1152"/>
                </a:lnTo>
                <a:lnTo>
                  <a:pt x="3016" y="1138"/>
                </a:lnTo>
                <a:lnTo>
                  <a:pt x="2992" y="1138"/>
                </a:lnTo>
                <a:lnTo>
                  <a:pt x="2992" y="1129"/>
                </a:lnTo>
                <a:lnTo>
                  <a:pt x="2981" y="1129"/>
                </a:lnTo>
                <a:lnTo>
                  <a:pt x="2981" y="1119"/>
                </a:lnTo>
                <a:lnTo>
                  <a:pt x="2917" y="1119"/>
                </a:lnTo>
                <a:lnTo>
                  <a:pt x="2917" y="1110"/>
                </a:lnTo>
                <a:lnTo>
                  <a:pt x="2848" y="1110"/>
                </a:lnTo>
                <a:lnTo>
                  <a:pt x="2848" y="1103"/>
                </a:lnTo>
                <a:lnTo>
                  <a:pt x="2803" y="1103"/>
                </a:lnTo>
                <a:lnTo>
                  <a:pt x="2803" y="1093"/>
                </a:lnTo>
                <a:lnTo>
                  <a:pt x="2734" y="1093"/>
                </a:lnTo>
                <a:lnTo>
                  <a:pt x="2734" y="1083"/>
                </a:lnTo>
                <a:lnTo>
                  <a:pt x="2701" y="1083"/>
                </a:lnTo>
                <a:lnTo>
                  <a:pt x="2701" y="1072"/>
                </a:lnTo>
                <a:lnTo>
                  <a:pt x="2684" y="1072"/>
                </a:lnTo>
                <a:lnTo>
                  <a:pt x="2684" y="1029"/>
                </a:lnTo>
                <a:lnTo>
                  <a:pt x="2658" y="1029"/>
                </a:lnTo>
                <a:lnTo>
                  <a:pt x="2658" y="981"/>
                </a:lnTo>
                <a:lnTo>
                  <a:pt x="2639" y="981"/>
                </a:lnTo>
                <a:lnTo>
                  <a:pt x="2639" y="939"/>
                </a:lnTo>
                <a:lnTo>
                  <a:pt x="2511" y="939"/>
                </a:lnTo>
                <a:lnTo>
                  <a:pt x="2511" y="929"/>
                </a:lnTo>
                <a:lnTo>
                  <a:pt x="2473" y="929"/>
                </a:lnTo>
                <a:lnTo>
                  <a:pt x="2473" y="920"/>
                </a:lnTo>
                <a:lnTo>
                  <a:pt x="2411" y="920"/>
                </a:lnTo>
                <a:lnTo>
                  <a:pt x="2411" y="901"/>
                </a:lnTo>
                <a:lnTo>
                  <a:pt x="2390" y="901"/>
                </a:lnTo>
                <a:lnTo>
                  <a:pt x="2380" y="901"/>
                </a:lnTo>
                <a:lnTo>
                  <a:pt x="2380" y="879"/>
                </a:lnTo>
                <a:lnTo>
                  <a:pt x="2366" y="879"/>
                </a:lnTo>
                <a:lnTo>
                  <a:pt x="2366" y="872"/>
                </a:lnTo>
                <a:lnTo>
                  <a:pt x="2318" y="872"/>
                </a:lnTo>
                <a:lnTo>
                  <a:pt x="2318" y="865"/>
                </a:lnTo>
                <a:lnTo>
                  <a:pt x="2300" y="865"/>
                </a:lnTo>
                <a:lnTo>
                  <a:pt x="2300" y="855"/>
                </a:lnTo>
                <a:lnTo>
                  <a:pt x="2278" y="855"/>
                </a:lnTo>
                <a:lnTo>
                  <a:pt x="2278" y="844"/>
                </a:lnTo>
                <a:lnTo>
                  <a:pt x="2209" y="844"/>
                </a:lnTo>
                <a:lnTo>
                  <a:pt x="2209" y="825"/>
                </a:lnTo>
                <a:lnTo>
                  <a:pt x="2164" y="825"/>
                </a:lnTo>
                <a:lnTo>
                  <a:pt x="2164" y="791"/>
                </a:lnTo>
                <a:lnTo>
                  <a:pt x="2129" y="791"/>
                </a:lnTo>
                <a:lnTo>
                  <a:pt x="2129" y="746"/>
                </a:lnTo>
                <a:lnTo>
                  <a:pt x="2119" y="746"/>
                </a:lnTo>
                <a:lnTo>
                  <a:pt x="2119" y="729"/>
                </a:lnTo>
                <a:lnTo>
                  <a:pt x="2107" y="729"/>
                </a:lnTo>
                <a:lnTo>
                  <a:pt x="2107" y="715"/>
                </a:lnTo>
                <a:lnTo>
                  <a:pt x="1977" y="715"/>
                </a:lnTo>
                <a:lnTo>
                  <a:pt x="1977" y="706"/>
                </a:lnTo>
                <a:lnTo>
                  <a:pt x="1906" y="706"/>
                </a:lnTo>
                <a:lnTo>
                  <a:pt x="1906" y="694"/>
                </a:lnTo>
                <a:lnTo>
                  <a:pt x="1860" y="694"/>
                </a:lnTo>
                <a:lnTo>
                  <a:pt x="1860" y="682"/>
                </a:lnTo>
                <a:lnTo>
                  <a:pt x="1834" y="682"/>
                </a:lnTo>
                <a:lnTo>
                  <a:pt x="1834" y="670"/>
                </a:lnTo>
                <a:lnTo>
                  <a:pt x="1782" y="670"/>
                </a:lnTo>
                <a:lnTo>
                  <a:pt x="1782" y="661"/>
                </a:lnTo>
                <a:lnTo>
                  <a:pt x="1720" y="661"/>
                </a:lnTo>
                <a:lnTo>
                  <a:pt x="1720" y="651"/>
                </a:lnTo>
                <a:lnTo>
                  <a:pt x="1671" y="651"/>
                </a:lnTo>
                <a:lnTo>
                  <a:pt x="1671" y="632"/>
                </a:lnTo>
                <a:lnTo>
                  <a:pt x="1654" y="632"/>
                </a:lnTo>
                <a:lnTo>
                  <a:pt x="1654" y="620"/>
                </a:lnTo>
                <a:lnTo>
                  <a:pt x="1640" y="620"/>
                </a:lnTo>
                <a:lnTo>
                  <a:pt x="1628" y="620"/>
                </a:lnTo>
                <a:lnTo>
                  <a:pt x="1628" y="613"/>
                </a:lnTo>
                <a:lnTo>
                  <a:pt x="1616" y="613"/>
                </a:lnTo>
                <a:lnTo>
                  <a:pt x="1616" y="577"/>
                </a:lnTo>
                <a:lnTo>
                  <a:pt x="1604" y="577"/>
                </a:lnTo>
                <a:lnTo>
                  <a:pt x="1604" y="535"/>
                </a:lnTo>
                <a:lnTo>
                  <a:pt x="1588" y="535"/>
                </a:lnTo>
                <a:lnTo>
                  <a:pt x="1588" y="525"/>
                </a:lnTo>
                <a:lnTo>
                  <a:pt x="1578" y="525"/>
                </a:lnTo>
                <a:lnTo>
                  <a:pt x="1578" y="504"/>
                </a:lnTo>
                <a:lnTo>
                  <a:pt x="1564" y="504"/>
                </a:lnTo>
                <a:lnTo>
                  <a:pt x="1564" y="480"/>
                </a:lnTo>
                <a:lnTo>
                  <a:pt x="1524" y="480"/>
                </a:lnTo>
                <a:lnTo>
                  <a:pt x="1524" y="473"/>
                </a:lnTo>
                <a:lnTo>
                  <a:pt x="1440" y="473"/>
                </a:lnTo>
                <a:lnTo>
                  <a:pt x="1440" y="463"/>
                </a:lnTo>
                <a:lnTo>
                  <a:pt x="1407" y="463"/>
                </a:lnTo>
                <a:lnTo>
                  <a:pt x="1407" y="447"/>
                </a:lnTo>
                <a:lnTo>
                  <a:pt x="1355" y="447"/>
                </a:lnTo>
                <a:lnTo>
                  <a:pt x="1355" y="437"/>
                </a:lnTo>
                <a:lnTo>
                  <a:pt x="1305" y="437"/>
                </a:lnTo>
                <a:lnTo>
                  <a:pt x="1305" y="428"/>
                </a:lnTo>
                <a:lnTo>
                  <a:pt x="1293" y="428"/>
                </a:lnTo>
                <a:lnTo>
                  <a:pt x="1293" y="411"/>
                </a:lnTo>
                <a:lnTo>
                  <a:pt x="1115" y="411"/>
                </a:lnTo>
                <a:lnTo>
                  <a:pt x="1115" y="397"/>
                </a:lnTo>
                <a:lnTo>
                  <a:pt x="1085" y="397"/>
                </a:lnTo>
                <a:lnTo>
                  <a:pt x="1085" y="378"/>
                </a:lnTo>
                <a:lnTo>
                  <a:pt x="1058" y="378"/>
                </a:lnTo>
                <a:lnTo>
                  <a:pt x="1058" y="366"/>
                </a:lnTo>
                <a:lnTo>
                  <a:pt x="1039" y="366"/>
                </a:lnTo>
                <a:lnTo>
                  <a:pt x="1039" y="337"/>
                </a:lnTo>
                <a:lnTo>
                  <a:pt x="726" y="337"/>
                </a:lnTo>
                <a:lnTo>
                  <a:pt x="726" y="330"/>
                </a:lnTo>
                <a:lnTo>
                  <a:pt x="707" y="330"/>
                </a:lnTo>
                <a:lnTo>
                  <a:pt x="707" y="311"/>
                </a:lnTo>
                <a:lnTo>
                  <a:pt x="686" y="311"/>
                </a:lnTo>
                <a:lnTo>
                  <a:pt x="686" y="278"/>
                </a:lnTo>
                <a:lnTo>
                  <a:pt x="653" y="278"/>
                </a:lnTo>
                <a:lnTo>
                  <a:pt x="653" y="259"/>
                </a:lnTo>
                <a:lnTo>
                  <a:pt x="577" y="259"/>
                </a:lnTo>
                <a:lnTo>
                  <a:pt x="577" y="250"/>
                </a:lnTo>
                <a:lnTo>
                  <a:pt x="565" y="250"/>
                </a:lnTo>
                <a:lnTo>
                  <a:pt x="565" y="240"/>
                </a:lnTo>
                <a:lnTo>
                  <a:pt x="501" y="240"/>
                </a:lnTo>
                <a:lnTo>
                  <a:pt x="501" y="231"/>
                </a:lnTo>
                <a:lnTo>
                  <a:pt x="446" y="231"/>
                </a:lnTo>
                <a:lnTo>
                  <a:pt x="446" y="223"/>
                </a:lnTo>
                <a:lnTo>
                  <a:pt x="420" y="223"/>
                </a:lnTo>
                <a:lnTo>
                  <a:pt x="420" y="197"/>
                </a:lnTo>
                <a:lnTo>
                  <a:pt x="384" y="197"/>
                </a:lnTo>
                <a:lnTo>
                  <a:pt x="384" y="171"/>
                </a:lnTo>
                <a:lnTo>
                  <a:pt x="373" y="171"/>
                </a:lnTo>
                <a:lnTo>
                  <a:pt x="373" y="124"/>
                </a:lnTo>
                <a:lnTo>
                  <a:pt x="358" y="124"/>
                </a:lnTo>
                <a:lnTo>
                  <a:pt x="358" y="74"/>
                </a:lnTo>
                <a:lnTo>
                  <a:pt x="344" y="74"/>
                </a:lnTo>
                <a:lnTo>
                  <a:pt x="344" y="43"/>
                </a:lnTo>
                <a:lnTo>
                  <a:pt x="325" y="43"/>
                </a:lnTo>
                <a:lnTo>
                  <a:pt x="325" y="0"/>
                </a:lnTo>
                <a:lnTo>
                  <a:pt x="0" y="0"/>
                </a:lnTo>
              </a:path>
            </a:pathLst>
          </a:custGeom>
          <a:noFill/>
          <a:ln w="19050" cap="flat" cmpd="sng" algn="ctr">
            <a:solidFill>
              <a:schemeClr val="accent3"/>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684" name="Freeform 274">
            <a:extLst>
              <a:ext uri="{FF2B5EF4-FFF2-40B4-BE49-F238E27FC236}">
                <a16:creationId xmlns:a16="http://schemas.microsoft.com/office/drawing/2014/main" id="{1F9C6FAD-580B-44E5-82FF-1E0D25E59F89}"/>
              </a:ext>
            </a:extLst>
          </p:cNvPr>
          <p:cNvSpPr>
            <a:spLocks/>
          </p:cNvSpPr>
          <p:nvPr/>
        </p:nvSpPr>
        <p:spPr bwMode="auto">
          <a:xfrm>
            <a:off x="1455999" y="2274103"/>
            <a:ext cx="5338033" cy="1946061"/>
          </a:xfrm>
          <a:custGeom>
            <a:avLst/>
            <a:gdLst>
              <a:gd name="T0" fmla="*/ 4896 w 5859"/>
              <a:gd name="T1" fmla="*/ 2174 h 2241"/>
              <a:gd name="T2" fmla="*/ 4324 w 5859"/>
              <a:gd name="T3" fmla="*/ 2131 h 2241"/>
              <a:gd name="T4" fmla="*/ 4305 w 5859"/>
              <a:gd name="T5" fmla="*/ 2069 h 2241"/>
              <a:gd name="T6" fmla="*/ 4262 w 5859"/>
              <a:gd name="T7" fmla="*/ 2046 h 2241"/>
              <a:gd name="T8" fmla="*/ 4072 w 5859"/>
              <a:gd name="T9" fmla="*/ 2010 h 2241"/>
              <a:gd name="T10" fmla="*/ 3854 w 5859"/>
              <a:gd name="T11" fmla="*/ 1993 h 2241"/>
              <a:gd name="T12" fmla="*/ 3771 w 5859"/>
              <a:gd name="T13" fmla="*/ 1936 h 2241"/>
              <a:gd name="T14" fmla="*/ 3721 w 5859"/>
              <a:gd name="T15" fmla="*/ 1844 h 2241"/>
              <a:gd name="T16" fmla="*/ 3666 w 5859"/>
              <a:gd name="T17" fmla="*/ 1768 h 2241"/>
              <a:gd name="T18" fmla="*/ 3441 w 5859"/>
              <a:gd name="T19" fmla="*/ 1758 h 2241"/>
              <a:gd name="T20" fmla="*/ 3398 w 5859"/>
              <a:gd name="T21" fmla="*/ 1730 h 2241"/>
              <a:gd name="T22" fmla="*/ 3220 w 5859"/>
              <a:gd name="T23" fmla="*/ 1708 h 2241"/>
              <a:gd name="T24" fmla="*/ 3206 w 5859"/>
              <a:gd name="T25" fmla="*/ 1661 h 2241"/>
              <a:gd name="T26" fmla="*/ 3173 w 5859"/>
              <a:gd name="T27" fmla="*/ 1639 h 2241"/>
              <a:gd name="T28" fmla="*/ 2814 w 5859"/>
              <a:gd name="T29" fmla="*/ 1580 h 2241"/>
              <a:gd name="T30" fmla="*/ 2693 w 5859"/>
              <a:gd name="T31" fmla="*/ 1568 h 2241"/>
              <a:gd name="T32" fmla="*/ 2674 w 5859"/>
              <a:gd name="T33" fmla="*/ 1464 h 2241"/>
              <a:gd name="T34" fmla="*/ 2634 w 5859"/>
              <a:gd name="T35" fmla="*/ 1388 h 2241"/>
              <a:gd name="T36" fmla="*/ 2546 w 5859"/>
              <a:gd name="T37" fmla="*/ 1335 h 2241"/>
              <a:gd name="T38" fmla="*/ 2309 w 5859"/>
              <a:gd name="T39" fmla="*/ 1304 h 2241"/>
              <a:gd name="T40" fmla="*/ 2162 w 5859"/>
              <a:gd name="T41" fmla="*/ 1250 h 2241"/>
              <a:gd name="T42" fmla="*/ 2138 w 5859"/>
              <a:gd name="T43" fmla="*/ 1160 h 2241"/>
              <a:gd name="T44" fmla="*/ 2036 w 5859"/>
              <a:gd name="T45" fmla="*/ 1129 h 2241"/>
              <a:gd name="T46" fmla="*/ 1944 w 5859"/>
              <a:gd name="T47" fmla="*/ 1055 h 2241"/>
              <a:gd name="T48" fmla="*/ 1830 w 5859"/>
              <a:gd name="T49" fmla="*/ 1050 h 2241"/>
              <a:gd name="T50" fmla="*/ 1785 w 5859"/>
              <a:gd name="T51" fmla="*/ 1017 h 2241"/>
              <a:gd name="T52" fmla="*/ 1685 w 5859"/>
              <a:gd name="T53" fmla="*/ 1003 h 2241"/>
              <a:gd name="T54" fmla="*/ 1640 w 5859"/>
              <a:gd name="T55" fmla="*/ 948 h 2241"/>
              <a:gd name="T56" fmla="*/ 1602 w 5859"/>
              <a:gd name="T57" fmla="*/ 901 h 2241"/>
              <a:gd name="T58" fmla="*/ 1576 w 5859"/>
              <a:gd name="T59" fmla="*/ 806 h 2241"/>
              <a:gd name="T60" fmla="*/ 1486 w 5859"/>
              <a:gd name="T61" fmla="*/ 770 h 2241"/>
              <a:gd name="T62" fmla="*/ 1386 w 5859"/>
              <a:gd name="T63" fmla="*/ 756 h 2241"/>
              <a:gd name="T64" fmla="*/ 1253 w 5859"/>
              <a:gd name="T65" fmla="*/ 739 h 2241"/>
              <a:gd name="T66" fmla="*/ 1175 w 5859"/>
              <a:gd name="T67" fmla="*/ 706 h 2241"/>
              <a:gd name="T68" fmla="*/ 1080 w 5859"/>
              <a:gd name="T69" fmla="*/ 651 h 2241"/>
              <a:gd name="T70" fmla="*/ 1066 w 5859"/>
              <a:gd name="T71" fmla="*/ 566 h 2241"/>
              <a:gd name="T72" fmla="*/ 904 w 5859"/>
              <a:gd name="T73" fmla="*/ 528 h 2241"/>
              <a:gd name="T74" fmla="*/ 847 w 5859"/>
              <a:gd name="T75" fmla="*/ 509 h 2241"/>
              <a:gd name="T76" fmla="*/ 759 w 5859"/>
              <a:gd name="T77" fmla="*/ 490 h 2241"/>
              <a:gd name="T78" fmla="*/ 714 w 5859"/>
              <a:gd name="T79" fmla="*/ 461 h 2241"/>
              <a:gd name="T80" fmla="*/ 688 w 5859"/>
              <a:gd name="T81" fmla="*/ 423 h 2241"/>
              <a:gd name="T82" fmla="*/ 560 w 5859"/>
              <a:gd name="T83" fmla="*/ 395 h 2241"/>
              <a:gd name="T84" fmla="*/ 505 w 5859"/>
              <a:gd name="T85" fmla="*/ 368 h 2241"/>
              <a:gd name="T86" fmla="*/ 368 w 5859"/>
              <a:gd name="T87" fmla="*/ 323 h 2241"/>
              <a:gd name="T88" fmla="*/ 356 w 5859"/>
              <a:gd name="T89" fmla="*/ 214 h 2241"/>
              <a:gd name="T90" fmla="*/ 330 w 5859"/>
              <a:gd name="T91" fmla="*/ 200 h 2241"/>
              <a:gd name="T92" fmla="*/ 306 w 5859"/>
              <a:gd name="T93" fmla="*/ 33 h 2241"/>
              <a:gd name="T94" fmla="*/ 154 w 5859"/>
              <a:gd name="T95" fmla="*/ 19 h 2241"/>
              <a:gd name="T96" fmla="*/ 76 w 5859"/>
              <a:gd name="T97" fmla="*/ 0 h 2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9" h="2241">
                <a:moveTo>
                  <a:pt x="5859" y="2241"/>
                </a:moveTo>
                <a:lnTo>
                  <a:pt x="4896" y="2241"/>
                </a:lnTo>
                <a:lnTo>
                  <a:pt x="4896" y="2174"/>
                </a:lnTo>
                <a:lnTo>
                  <a:pt x="4442" y="2174"/>
                </a:lnTo>
                <a:lnTo>
                  <a:pt x="4442" y="2131"/>
                </a:lnTo>
                <a:lnTo>
                  <a:pt x="4324" y="2131"/>
                </a:lnTo>
                <a:lnTo>
                  <a:pt x="4324" y="2105"/>
                </a:lnTo>
                <a:lnTo>
                  <a:pt x="4305" y="2105"/>
                </a:lnTo>
                <a:lnTo>
                  <a:pt x="4305" y="2069"/>
                </a:lnTo>
                <a:lnTo>
                  <a:pt x="4286" y="2069"/>
                </a:lnTo>
                <a:lnTo>
                  <a:pt x="4286" y="2046"/>
                </a:lnTo>
                <a:lnTo>
                  <a:pt x="4262" y="2046"/>
                </a:lnTo>
                <a:lnTo>
                  <a:pt x="4262" y="2027"/>
                </a:lnTo>
                <a:lnTo>
                  <a:pt x="4072" y="2027"/>
                </a:lnTo>
                <a:lnTo>
                  <a:pt x="4072" y="2010"/>
                </a:lnTo>
                <a:lnTo>
                  <a:pt x="3951" y="2010"/>
                </a:lnTo>
                <a:lnTo>
                  <a:pt x="3951" y="1993"/>
                </a:lnTo>
                <a:lnTo>
                  <a:pt x="3854" y="1993"/>
                </a:lnTo>
                <a:lnTo>
                  <a:pt x="3854" y="1977"/>
                </a:lnTo>
                <a:lnTo>
                  <a:pt x="3771" y="1977"/>
                </a:lnTo>
                <a:lnTo>
                  <a:pt x="3771" y="1936"/>
                </a:lnTo>
                <a:lnTo>
                  <a:pt x="3749" y="1936"/>
                </a:lnTo>
                <a:lnTo>
                  <a:pt x="3749" y="1844"/>
                </a:lnTo>
                <a:lnTo>
                  <a:pt x="3721" y="1844"/>
                </a:lnTo>
                <a:lnTo>
                  <a:pt x="3721" y="1777"/>
                </a:lnTo>
                <a:lnTo>
                  <a:pt x="3666" y="1777"/>
                </a:lnTo>
                <a:lnTo>
                  <a:pt x="3666" y="1768"/>
                </a:lnTo>
                <a:lnTo>
                  <a:pt x="3493" y="1768"/>
                </a:lnTo>
                <a:lnTo>
                  <a:pt x="3493" y="1758"/>
                </a:lnTo>
                <a:lnTo>
                  <a:pt x="3441" y="1758"/>
                </a:lnTo>
                <a:lnTo>
                  <a:pt x="3441" y="1746"/>
                </a:lnTo>
                <a:lnTo>
                  <a:pt x="3398" y="1746"/>
                </a:lnTo>
                <a:lnTo>
                  <a:pt x="3398" y="1730"/>
                </a:lnTo>
                <a:lnTo>
                  <a:pt x="3237" y="1730"/>
                </a:lnTo>
                <a:lnTo>
                  <a:pt x="3237" y="1708"/>
                </a:lnTo>
                <a:lnTo>
                  <a:pt x="3220" y="1708"/>
                </a:lnTo>
                <a:lnTo>
                  <a:pt x="3220" y="1687"/>
                </a:lnTo>
                <a:lnTo>
                  <a:pt x="3206" y="1687"/>
                </a:lnTo>
                <a:lnTo>
                  <a:pt x="3206" y="1661"/>
                </a:lnTo>
                <a:lnTo>
                  <a:pt x="3187" y="1661"/>
                </a:lnTo>
                <a:lnTo>
                  <a:pt x="3187" y="1639"/>
                </a:lnTo>
                <a:lnTo>
                  <a:pt x="3173" y="1639"/>
                </a:lnTo>
                <a:lnTo>
                  <a:pt x="3173" y="1592"/>
                </a:lnTo>
                <a:lnTo>
                  <a:pt x="2814" y="1592"/>
                </a:lnTo>
                <a:lnTo>
                  <a:pt x="2814" y="1580"/>
                </a:lnTo>
                <a:lnTo>
                  <a:pt x="2736" y="1580"/>
                </a:lnTo>
                <a:lnTo>
                  <a:pt x="2736" y="1568"/>
                </a:lnTo>
                <a:lnTo>
                  <a:pt x="2693" y="1568"/>
                </a:lnTo>
                <a:lnTo>
                  <a:pt x="2693" y="1511"/>
                </a:lnTo>
                <a:lnTo>
                  <a:pt x="2674" y="1511"/>
                </a:lnTo>
                <a:lnTo>
                  <a:pt x="2674" y="1464"/>
                </a:lnTo>
                <a:lnTo>
                  <a:pt x="2653" y="1464"/>
                </a:lnTo>
                <a:lnTo>
                  <a:pt x="2653" y="1388"/>
                </a:lnTo>
                <a:lnTo>
                  <a:pt x="2634" y="1388"/>
                </a:lnTo>
                <a:lnTo>
                  <a:pt x="2634" y="1361"/>
                </a:lnTo>
                <a:lnTo>
                  <a:pt x="2546" y="1361"/>
                </a:lnTo>
                <a:lnTo>
                  <a:pt x="2546" y="1335"/>
                </a:lnTo>
                <a:lnTo>
                  <a:pt x="2499" y="1335"/>
                </a:lnTo>
                <a:lnTo>
                  <a:pt x="2499" y="1304"/>
                </a:lnTo>
                <a:lnTo>
                  <a:pt x="2309" y="1304"/>
                </a:lnTo>
                <a:lnTo>
                  <a:pt x="2309" y="1283"/>
                </a:lnTo>
                <a:lnTo>
                  <a:pt x="2162" y="1283"/>
                </a:lnTo>
                <a:lnTo>
                  <a:pt x="2162" y="1250"/>
                </a:lnTo>
                <a:lnTo>
                  <a:pt x="2162" y="1228"/>
                </a:lnTo>
                <a:lnTo>
                  <a:pt x="2138" y="1228"/>
                </a:lnTo>
                <a:lnTo>
                  <a:pt x="2138" y="1160"/>
                </a:lnTo>
                <a:lnTo>
                  <a:pt x="2122" y="1160"/>
                </a:lnTo>
                <a:lnTo>
                  <a:pt x="2122" y="1129"/>
                </a:lnTo>
                <a:lnTo>
                  <a:pt x="2036" y="1129"/>
                </a:lnTo>
                <a:lnTo>
                  <a:pt x="2036" y="1079"/>
                </a:lnTo>
                <a:lnTo>
                  <a:pt x="1944" y="1079"/>
                </a:lnTo>
                <a:lnTo>
                  <a:pt x="1944" y="1055"/>
                </a:lnTo>
                <a:lnTo>
                  <a:pt x="1879" y="1055"/>
                </a:lnTo>
                <a:lnTo>
                  <a:pt x="1879" y="1050"/>
                </a:lnTo>
                <a:lnTo>
                  <a:pt x="1830" y="1050"/>
                </a:lnTo>
                <a:lnTo>
                  <a:pt x="1830" y="1036"/>
                </a:lnTo>
                <a:lnTo>
                  <a:pt x="1785" y="1036"/>
                </a:lnTo>
                <a:lnTo>
                  <a:pt x="1785" y="1017"/>
                </a:lnTo>
                <a:lnTo>
                  <a:pt x="1725" y="1017"/>
                </a:lnTo>
                <a:lnTo>
                  <a:pt x="1725" y="1003"/>
                </a:lnTo>
                <a:lnTo>
                  <a:pt x="1685" y="1003"/>
                </a:lnTo>
                <a:lnTo>
                  <a:pt x="1685" y="977"/>
                </a:lnTo>
                <a:lnTo>
                  <a:pt x="1640" y="977"/>
                </a:lnTo>
                <a:lnTo>
                  <a:pt x="1640" y="948"/>
                </a:lnTo>
                <a:lnTo>
                  <a:pt x="1614" y="948"/>
                </a:lnTo>
                <a:lnTo>
                  <a:pt x="1614" y="901"/>
                </a:lnTo>
                <a:lnTo>
                  <a:pt x="1602" y="901"/>
                </a:lnTo>
                <a:lnTo>
                  <a:pt x="1602" y="832"/>
                </a:lnTo>
                <a:lnTo>
                  <a:pt x="1576" y="832"/>
                </a:lnTo>
                <a:lnTo>
                  <a:pt x="1576" y="806"/>
                </a:lnTo>
                <a:lnTo>
                  <a:pt x="1566" y="806"/>
                </a:lnTo>
                <a:lnTo>
                  <a:pt x="1566" y="770"/>
                </a:lnTo>
                <a:lnTo>
                  <a:pt x="1486" y="770"/>
                </a:lnTo>
                <a:lnTo>
                  <a:pt x="1448" y="770"/>
                </a:lnTo>
                <a:lnTo>
                  <a:pt x="1448" y="756"/>
                </a:lnTo>
                <a:lnTo>
                  <a:pt x="1386" y="756"/>
                </a:lnTo>
                <a:lnTo>
                  <a:pt x="1386" y="739"/>
                </a:lnTo>
                <a:lnTo>
                  <a:pt x="1324" y="739"/>
                </a:lnTo>
                <a:lnTo>
                  <a:pt x="1253" y="739"/>
                </a:lnTo>
                <a:lnTo>
                  <a:pt x="1253" y="727"/>
                </a:lnTo>
                <a:lnTo>
                  <a:pt x="1175" y="727"/>
                </a:lnTo>
                <a:lnTo>
                  <a:pt x="1175" y="706"/>
                </a:lnTo>
                <a:lnTo>
                  <a:pt x="1130" y="706"/>
                </a:lnTo>
                <a:lnTo>
                  <a:pt x="1130" y="651"/>
                </a:lnTo>
                <a:lnTo>
                  <a:pt x="1080" y="651"/>
                </a:lnTo>
                <a:lnTo>
                  <a:pt x="1080" y="608"/>
                </a:lnTo>
                <a:lnTo>
                  <a:pt x="1066" y="608"/>
                </a:lnTo>
                <a:lnTo>
                  <a:pt x="1066" y="566"/>
                </a:lnTo>
                <a:lnTo>
                  <a:pt x="1049" y="566"/>
                </a:lnTo>
                <a:lnTo>
                  <a:pt x="1049" y="528"/>
                </a:lnTo>
                <a:lnTo>
                  <a:pt x="904" y="528"/>
                </a:lnTo>
                <a:lnTo>
                  <a:pt x="904" y="516"/>
                </a:lnTo>
                <a:lnTo>
                  <a:pt x="847" y="516"/>
                </a:lnTo>
                <a:lnTo>
                  <a:pt x="847" y="509"/>
                </a:lnTo>
                <a:lnTo>
                  <a:pt x="800" y="509"/>
                </a:lnTo>
                <a:lnTo>
                  <a:pt x="759" y="509"/>
                </a:lnTo>
                <a:lnTo>
                  <a:pt x="759" y="490"/>
                </a:lnTo>
                <a:lnTo>
                  <a:pt x="736" y="490"/>
                </a:lnTo>
                <a:lnTo>
                  <a:pt x="736" y="461"/>
                </a:lnTo>
                <a:lnTo>
                  <a:pt x="714" y="461"/>
                </a:lnTo>
                <a:lnTo>
                  <a:pt x="714" y="442"/>
                </a:lnTo>
                <a:lnTo>
                  <a:pt x="688" y="442"/>
                </a:lnTo>
                <a:lnTo>
                  <a:pt x="688" y="423"/>
                </a:lnTo>
                <a:lnTo>
                  <a:pt x="660" y="423"/>
                </a:lnTo>
                <a:lnTo>
                  <a:pt x="660" y="395"/>
                </a:lnTo>
                <a:lnTo>
                  <a:pt x="560" y="395"/>
                </a:lnTo>
                <a:lnTo>
                  <a:pt x="560" y="378"/>
                </a:lnTo>
                <a:lnTo>
                  <a:pt x="505" y="378"/>
                </a:lnTo>
                <a:lnTo>
                  <a:pt x="505" y="368"/>
                </a:lnTo>
                <a:lnTo>
                  <a:pt x="394" y="368"/>
                </a:lnTo>
                <a:lnTo>
                  <a:pt x="394" y="323"/>
                </a:lnTo>
                <a:lnTo>
                  <a:pt x="368" y="323"/>
                </a:lnTo>
                <a:lnTo>
                  <a:pt x="368" y="223"/>
                </a:lnTo>
                <a:lnTo>
                  <a:pt x="356" y="223"/>
                </a:lnTo>
                <a:lnTo>
                  <a:pt x="356" y="214"/>
                </a:lnTo>
                <a:lnTo>
                  <a:pt x="346" y="214"/>
                </a:lnTo>
                <a:lnTo>
                  <a:pt x="346" y="200"/>
                </a:lnTo>
                <a:lnTo>
                  <a:pt x="330" y="200"/>
                </a:lnTo>
                <a:lnTo>
                  <a:pt x="330" y="60"/>
                </a:lnTo>
                <a:lnTo>
                  <a:pt x="306" y="60"/>
                </a:lnTo>
                <a:lnTo>
                  <a:pt x="306" y="33"/>
                </a:lnTo>
                <a:lnTo>
                  <a:pt x="221" y="33"/>
                </a:lnTo>
                <a:lnTo>
                  <a:pt x="221" y="19"/>
                </a:lnTo>
                <a:lnTo>
                  <a:pt x="154" y="19"/>
                </a:lnTo>
                <a:lnTo>
                  <a:pt x="154" y="10"/>
                </a:lnTo>
                <a:lnTo>
                  <a:pt x="76" y="10"/>
                </a:lnTo>
                <a:lnTo>
                  <a:pt x="76" y="0"/>
                </a:lnTo>
                <a:lnTo>
                  <a:pt x="0" y="0"/>
                </a:lnTo>
              </a:path>
            </a:pathLst>
          </a:custGeom>
          <a:noFill/>
          <a:ln w="19050" cap="flat" cmpd="sng" algn="ctr">
            <a:solidFill>
              <a:srgbClr val="004D74"/>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85" name="Oval 275">
            <a:extLst>
              <a:ext uri="{FF2B5EF4-FFF2-40B4-BE49-F238E27FC236}">
                <a16:creationId xmlns:a16="http://schemas.microsoft.com/office/drawing/2014/main" id="{7E319600-7907-4A55-B648-2DE3D9068BD7}"/>
              </a:ext>
            </a:extLst>
          </p:cNvPr>
          <p:cNvSpPr>
            <a:spLocks noChangeArrowheads="1"/>
          </p:cNvSpPr>
          <p:nvPr/>
        </p:nvSpPr>
        <p:spPr bwMode="auto">
          <a:xfrm>
            <a:off x="6768521" y="4187165"/>
            <a:ext cx="69242"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86" name="Oval 276">
            <a:extLst>
              <a:ext uri="{FF2B5EF4-FFF2-40B4-BE49-F238E27FC236}">
                <a16:creationId xmlns:a16="http://schemas.microsoft.com/office/drawing/2014/main" id="{B872FD81-8DD3-4E43-8CC1-8D07F411CF18}"/>
              </a:ext>
            </a:extLst>
          </p:cNvPr>
          <p:cNvSpPr>
            <a:spLocks noChangeArrowheads="1"/>
          </p:cNvSpPr>
          <p:nvPr/>
        </p:nvSpPr>
        <p:spPr bwMode="auto">
          <a:xfrm>
            <a:off x="6671035" y="4187165"/>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87" name="Oval 277">
            <a:extLst>
              <a:ext uri="{FF2B5EF4-FFF2-40B4-BE49-F238E27FC236}">
                <a16:creationId xmlns:a16="http://schemas.microsoft.com/office/drawing/2014/main" id="{6180CE47-F863-435E-B1BC-E3166565BEA1}"/>
              </a:ext>
            </a:extLst>
          </p:cNvPr>
          <p:cNvSpPr>
            <a:spLocks noChangeArrowheads="1"/>
          </p:cNvSpPr>
          <p:nvPr/>
        </p:nvSpPr>
        <p:spPr bwMode="auto">
          <a:xfrm>
            <a:off x="6346689" y="4187165"/>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88" name="Oval 278">
            <a:extLst>
              <a:ext uri="{FF2B5EF4-FFF2-40B4-BE49-F238E27FC236}">
                <a16:creationId xmlns:a16="http://schemas.microsoft.com/office/drawing/2014/main" id="{3624221C-759F-4C95-8996-76FB4F51F277}"/>
              </a:ext>
            </a:extLst>
          </p:cNvPr>
          <p:cNvSpPr>
            <a:spLocks noChangeArrowheads="1"/>
          </p:cNvSpPr>
          <p:nvPr/>
        </p:nvSpPr>
        <p:spPr bwMode="auto">
          <a:xfrm>
            <a:off x="6331202" y="4187165"/>
            <a:ext cx="69242"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89" name="Oval 279">
            <a:extLst>
              <a:ext uri="{FF2B5EF4-FFF2-40B4-BE49-F238E27FC236}">
                <a16:creationId xmlns:a16="http://schemas.microsoft.com/office/drawing/2014/main" id="{4325A5BC-73CF-4790-8F29-74669A0BAFF8}"/>
              </a:ext>
            </a:extLst>
          </p:cNvPr>
          <p:cNvSpPr>
            <a:spLocks noChangeArrowheads="1"/>
          </p:cNvSpPr>
          <p:nvPr/>
        </p:nvSpPr>
        <p:spPr bwMode="auto">
          <a:xfrm>
            <a:off x="6313891" y="4187165"/>
            <a:ext cx="67420"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90" name="Oval 280">
            <a:extLst>
              <a:ext uri="{FF2B5EF4-FFF2-40B4-BE49-F238E27FC236}">
                <a16:creationId xmlns:a16="http://schemas.microsoft.com/office/drawing/2014/main" id="{0ACB527C-6578-432D-A0DA-7909F316E117}"/>
              </a:ext>
            </a:extLst>
          </p:cNvPr>
          <p:cNvSpPr>
            <a:spLocks noChangeArrowheads="1"/>
          </p:cNvSpPr>
          <p:nvPr/>
        </p:nvSpPr>
        <p:spPr bwMode="auto">
          <a:xfrm>
            <a:off x="6288380" y="4187165"/>
            <a:ext cx="69242"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91" name="Oval 281">
            <a:extLst>
              <a:ext uri="{FF2B5EF4-FFF2-40B4-BE49-F238E27FC236}">
                <a16:creationId xmlns:a16="http://schemas.microsoft.com/office/drawing/2014/main" id="{FFB82013-BD0B-4C6C-B1F0-9D4369513BD1}"/>
              </a:ext>
            </a:extLst>
          </p:cNvPr>
          <p:cNvSpPr>
            <a:spLocks noChangeArrowheads="1"/>
          </p:cNvSpPr>
          <p:nvPr/>
        </p:nvSpPr>
        <p:spPr bwMode="auto">
          <a:xfrm>
            <a:off x="6271070" y="4187165"/>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92" name="Oval 282">
            <a:extLst>
              <a:ext uri="{FF2B5EF4-FFF2-40B4-BE49-F238E27FC236}">
                <a16:creationId xmlns:a16="http://schemas.microsoft.com/office/drawing/2014/main" id="{7A52D60A-3D25-4844-8ACC-F702F8A452D5}"/>
              </a:ext>
            </a:extLst>
          </p:cNvPr>
          <p:cNvSpPr>
            <a:spLocks noChangeArrowheads="1"/>
          </p:cNvSpPr>
          <p:nvPr/>
        </p:nvSpPr>
        <p:spPr bwMode="auto">
          <a:xfrm>
            <a:off x="6035100" y="4187165"/>
            <a:ext cx="67420"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93" name="Oval 283">
            <a:extLst>
              <a:ext uri="{FF2B5EF4-FFF2-40B4-BE49-F238E27FC236}">
                <a16:creationId xmlns:a16="http://schemas.microsoft.com/office/drawing/2014/main" id="{0BBB3E57-D060-4FCB-AF92-B59D536ABA52}"/>
              </a:ext>
            </a:extLst>
          </p:cNvPr>
          <p:cNvSpPr>
            <a:spLocks noChangeArrowheads="1"/>
          </p:cNvSpPr>
          <p:nvPr/>
        </p:nvSpPr>
        <p:spPr bwMode="auto">
          <a:xfrm>
            <a:off x="5959480" y="4187165"/>
            <a:ext cx="67420"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94" name="Oval 284">
            <a:extLst>
              <a:ext uri="{FF2B5EF4-FFF2-40B4-BE49-F238E27FC236}">
                <a16:creationId xmlns:a16="http://schemas.microsoft.com/office/drawing/2014/main" id="{F0239845-40EE-4030-A479-193060E28BD1}"/>
              </a:ext>
            </a:extLst>
          </p:cNvPr>
          <p:cNvSpPr>
            <a:spLocks noChangeArrowheads="1"/>
          </p:cNvSpPr>
          <p:nvPr/>
        </p:nvSpPr>
        <p:spPr bwMode="auto">
          <a:xfrm>
            <a:off x="5872927" y="4128982"/>
            <a:ext cx="69242" cy="65998"/>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95" name="Oval 285">
            <a:extLst>
              <a:ext uri="{FF2B5EF4-FFF2-40B4-BE49-F238E27FC236}">
                <a16:creationId xmlns:a16="http://schemas.microsoft.com/office/drawing/2014/main" id="{A4FAC525-AF22-4AF0-A7BD-7C51E34F1654}"/>
              </a:ext>
            </a:extLst>
          </p:cNvPr>
          <p:cNvSpPr>
            <a:spLocks noChangeArrowheads="1"/>
          </p:cNvSpPr>
          <p:nvPr/>
        </p:nvSpPr>
        <p:spPr bwMode="auto">
          <a:xfrm>
            <a:off x="5858350" y="4128982"/>
            <a:ext cx="66509" cy="65998"/>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96" name="Oval 286">
            <a:extLst>
              <a:ext uri="{FF2B5EF4-FFF2-40B4-BE49-F238E27FC236}">
                <a16:creationId xmlns:a16="http://schemas.microsoft.com/office/drawing/2014/main" id="{AF5B6439-5E28-44A8-A92A-8A576DFCA3D1}"/>
              </a:ext>
            </a:extLst>
          </p:cNvPr>
          <p:cNvSpPr>
            <a:spLocks noChangeArrowheads="1"/>
          </p:cNvSpPr>
          <p:nvPr/>
        </p:nvSpPr>
        <p:spPr bwMode="auto">
          <a:xfrm>
            <a:off x="5830106" y="4128982"/>
            <a:ext cx="66509" cy="65998"/>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97" name="Oval 287">
            <a:extLst>
              <a:ext uri="{FF2B5EF4-FFF2-40B4-BE49-F238E27FC236}">
                <a16:creationId xmlns:a16="http://schemas.microsoft.com/office/drawing/2014/main" id="{19234E02-FB21-4DF5-8F52-EE3E335E6B31}"/>
              </a:ext>
            </a:extLst>
          </p:cNvPr>
          <p:cNvSpPr>
            <a:spLocks noChangeArrowheads="1"/>
          </p:cNvSpPr>
          <p:nvPr/>
        </p:nvSpPr>
        <p:spPr bwMode="auto">
          <a:xfrm>
            <a:off x="5797307" y="4128982"/>
            <a:ext cx="67420" cy="65998"/>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98" name="Oval 288">
            <a:extLst>
              <a:ext uri="{FF2B5EF4-FFF2-40B4-BE49-F238E27FC236}">
                <a16:creationId xmlns:a16="http://schemas.microsoft.com/office/drawing/2014/main" id="{3C240CA2-E4D1-422D-8CAA-D90ADD506998}"/>
              </a:ext>
            </a:extLst>
          </p:cNvPr>
          <p:cNvSpPr>
            <a:spLocks noChangeArrowheads="1"/>
          </p:cNvSpPr>
          <p:nvPr/>
        </p:nvSpPr>
        <p:spPr bwMode="auto">
          <a:xfrm>
            <a:off x="5810062" y="4128982"/>
            <a:ext cx="67420" cy="65998"/>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99" name="Oval 289">
            <a:extLst>
              <a:ext uri="{FF2B5EF4-FFF2-40B4-BE49-F238E27FC236}">
                <a16:creationId xmlns:a16="http://schemas.microsoft.com/office/drawing/2014/main" id="{F10142C4-92EA-49D2-A0CE-DF1DD68ABFA0}"/>
              </a:ext>
            </a:extLst>
          </p:cNvPr>
          <p:cNvSpPr>
            <a:spLocks noChangeArrowheads="1"/>
          </p:cNvSpPr>
          <p:nvPr/>
        </p:nvSpPr>
        <p:spPr bwMode="auto">
          <a:xfrm>
            <a:off x="5778174" y="4128982"/>
            <a:ext cx="66509" cy="65998"/>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00" name="Oval 290">
            <a:extLst>
              <a:ext uri="{FF2B5EF4-FFF2-40B4-BE49-F238E27FC236}">
                <a16:creationId xmlns:a16="http://schemas.microsoft.com/office/drawing/2014/main" id="{40852B75-C475-439C-9F90-AE1459A3DF89}"/>
              </a:ext>
            </a:extLst>
          </p:cNvPr>
          <p:cNvSpPr>
            <a:spLocks noChangeArrowheads="1"/>
          </p:cNvSpPr>
          <p:nvPr/>
        </p:nvSpPr>
        <p:spPr bwMode="auto">
          <a:xfrm>
            <a:off x="5688888" y="4128982"/>
            <a:ext cx="67420" cy="65998"/>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01" name="Oval 291">
            <a:extLst>
              <a:ext uri="{FF2B5EF4-FFF2-40B4-BE49-F238E27FC236}">
                <a16:creationId xmlns:a16="http://schemas.microsoft.com/office/drawing/2014/main" id="{1C971840-9249-43F0-9439-DCD826803F57}"/>
              </a:ext>
            </a:extLst>
          </p:cNvPr>
          <p:cNvSpPr>
            <a:spLocks noChangeArrowheads="1"/>
          </p:cNvSpPr>
          <p:nvPr/>
        </p:nvSpPr>
        <p:spPr bwMode="auto">
          <a:xfrm>
            <a:off x="5505761" y="4128982"/>
            <a:ext cx="66509" cy="65998"/>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02" name="Oval 292">
            <a:extLst>
              <a:ext uri="{FF2B5EF4-FFF2-40B4-BE49-F238E27FC236}">
                <a16:creationId xmlns:a16="http://schemas.microsoft.com/office/drawing/2014/main" id="{5E93D593-2575-4A6A-B4E7-AB2CE667EBFB}"/>
              </a:ext>
            </a:extLst>
          </p:cNvPr>
          <p:cNvSpPr>
            <a:spLocks noChangeArrowheads="1"/>
          </p:cNvSpPr>
          <p:nvPr/>
        </p:nvSpPr>
        <p:spPr bwMode="auto">
          <a:xfrm>
            <a:off x="5389142" y="4081221"/>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03" name="Oval 293">
            <a:extLst>
              <a:ext uri="{FF2B5EF4-FFF2-40B4-BE49-F238E27FC236}">
                <a16:creationId xmlns:a16="http://schemas.microsoft.com/office/drawing/2014/main" id="{8571716C-E3A6-4BAC-BDC3-4C3C8295182E}"/>
              </a:ext>
            </a:extLst>
          </p:cNvPr>
          <p:cNvSpPr>
            <a:spLocks noChangeArrowheads="1"/>
          </p:cNvSpPr>
          <p:nvPr/>
        </p:nvSpPr>
        <p:spPr bwMode="auto">
          <a:xfrm>
            <a:off x="5360898" y="4081221"/>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04" name="Oval 294">
            <a:extLst>
              <a:ext uri="{FF2B5EF4-FFF2-40B4-BE49-F238E27FC236}">
                <a16:creationId xmlns:a16="http://schemas.microsoft.com/office/drawing/2014/main" id="{C4FA66EA-6EB3-41D2-9139-33CCAD998A47}"/>
              </a:ext>
            </a:extLst>
          </p:cNvPr>
          <p:cNvSpPr>
            <a:spLocks noChangeArrowheads="1"/>
          </p:cNvSpPr>
          <p:nvPr/>
        </p:nvSpPr>
        <p:spPr bwMode="auto">
          <a:xfrm>
            <a:off x="5351788" y="4064721"/>
            <a:ext cx="67420"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05" name="Oval 295">
            <a:extLst>
              <a:ext uri="{FF2B5EF4-FFF2-40B4-BE49-F238E27FC236}">
                <a16:creationId xmlns:a16="http://schemas.microsoft.com/office/drawing/2014/main" id="{AAC40A80-683B-411C-A2BC-50A5004BB034}"/>
              </a:ext>
            </a:extLst>
          </p:cNvPr>
          <p:cNvSpPr>
            <a:spLocks noChangeArrowheads="1"/>
          </p:cNvSpPr>
          <p:nvPr/>
        </p:nvSpPr>
        <p:spPr bwMode="auto">
          <a:xfrm>
            <a:off x="5326277" y="4037802"/>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06" name="Oval 296">
            <a:extLst>
              <a:ext uri="{FF2B5EF4-FFF2-40B4-BE49-F238E27FC236}">
                <a16:creationId xmlns:a16="http://schemas.microsoft.com/office/drawing/2014/main" id="{D9E67918-95DB-4B44-B291-2A89716A7D9A}"/>
              </a:ext>
            </a:extLst>
          </p:cNvPr>
          <p:cNvSpPr>
            <a:spLocks noChangeArrowheads="1"/>
          </p:cNvSpPr>
          <p:nvPr/>
        </p:nvSpPr>
        <p:spPr bwMode="auto">
          <a:xfrm>
            <a:off x="5306234" y="4017828"/>
            <a:ext cx="67420"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07" name="Oval 297">
            <a:extLst>
              <a:ext uri="{FF2B5EF4-FFF2-40B4-BE49-F238E27FC236}">
                <a16:creationId xmlns:a16="http://schemas.microsoft.com/office/drawing/2014/main" id="{9B4346AE-96B5-4224-9713-347CC3B48EFF}"/>
              </a:ext>
            </a:extLst>
          </p:cNvPr>
          <p:cNvSpPr>
            <a:spLocks noChangeArrowheads="1"/>
          </p:cNvSpPr>
          <p:nvPr/>
        </p:nvSpPr>
        <p:spPr bwMode="auto">
          <a:xfrm>
            <a:off x="5276168" y="4007408"/>
            <a:ext cx="69242"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08" name="Oval 298">
            <a:extLst>
              <a:ext uri="{FF2B5EF4-FFF2-40B4-BE49-F238E27FC236}">
                <a16:creationId xmlns:a16="http://schemas.microsoft.com/office/drawing/2014/main" id="{B394085E-F17A-4C0C-824B-A1253935CAC5}"/>
              </a:ext>
            </a:extLst>
          </p:cNvPr>
          <p:cNvSpPr>
            <a:spLocks noChangeArrowheads="1"/>
          </p:cNvSpPr>
          <p:nvPr/>
        </p:nvSpPr>
        <p:spPr bwMode="auto">
          <a:xfrm>
            <a:off x="5058419" y="3984830"/>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09" name="Oval 299">
            <a:extLst>
              <a:ext uri="{FF2B5EF4-FFF2-40B4-BE49-F238E27FC236}">
                <a16:creationId xmlns:a16="http://schemas.microsoft.com/office/drawing/2014/main" id="{5217AB86-06AD-46F7-9137-2C42A212C098}"/>
              </a:ext>
            </a:extLst>
          </p:cNvPr>
          <p:cNvSpPr>
            <a:spLocks noChangeArrowheads="1"/>
          </p:cNvSpPr>
          <p:nvPr/>
        </p:nvSpPr>
        <p:spPr bwMode="auto">
          <a:xfrm>
            <a:off x="4937246" y="3957910"/>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10" name="Oval 300">
            <a:extLst>
              <a:ext uri="{FF2B5EF4-FFF2-40B4-BE49-F238E27FC236}">
                <a16:creationId xmlns:a16="http://schemas.microsoft.com/office/drawing/2014/main" id="{5ACE1151-8708-4BFF-A992-35E8C436E8D2}"/>
              </a:ext>
            </a:extLst>
          </p:cNvPr>
          <p:cNvSpPr>
            <a:spLocks noChangeArrowheads="1"/>
          </p:cNvSpPr>
          <p:nvPr/>
        </p:nvSpPr>
        <p:spPr bwMode="auto">
          <a:xfrm>
            <a:off x="4902624" y="3957910"/>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11" name="Oval 301">
            <a:extLst>
              <a:ext uri="{FF2B5EF4-FFF2-40B4-BE49-F238E27FC236}">
                <a16:creationId xmlns:a16="http://schemas.microsoft.com/office/drawing/2014/main" id="{F669E2BB-CAEA-421E-9D05-0386260EAD3B}"/>
              </a:ext>
            </a:extLst>
          </p:cNvPr>
          <p:cNvSpPr>
            <a:spLocks noChangeArrowheads="1"/>
          </p:cNvSpPr>
          <p:nvPr/>
        </p:nvSpPr>
        <p:spPr bwMode="auto">
          <a:xfrm>
            <a:off x="4880758" y="3957910"/>
            <a:ext cx="67420"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12" name="Oval 302">
            <a:extLst>
              <a:ext uri="{FF2B5EF4-FFF2-40B4-BE49-F238E27FC236}">
                <a16:creationId xmlns:a16="http://schemas.microsoft.com/office/drawing/2014/main" id="{25A7FB10-2DDF-4248-A106-EA8A74C94B75}"/>
              </a:ext>
            </a:extLst>
          </p:cNvPr>
          <p:cNvSpPr>
            <a:spLocks noChangeArrowheads="1"/>
          </p:cNvSpPr>
          <p:nvPr/>
        </p:nvSpPr>
        <p:spPr bwMode="auto">
          <a:xfrm>
            <a:off x="4863447" y="3953568"/>
            <a:ext cx="67420"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13" name="Oval 303">
            <a:extLst>
              <a:ext uri="{FF2B5EF4-FFF2-40B4-BE49-F238E27FC236}">
                <a16:creationId xmlns:a16="http://schemas.microsoft.com/office/drawing/2014/main" id="{CE2C677A-E9C1-4D34-A941-FB5F089BC642}"/>
              </a:ext>
            </a:extLst>
          </p:cNvPr>
          <p:cNvSpPr>
            <a:spLocks noChangeArrowheads="1"/>
          </p:cNvSpPr>
          <p:nvPr/>
        </p:nvSpPr>
        <p:spPr bwMode="auto">
          <a:xfrm>
            <a:off x="4852514" y="3930990"/>
            <a:ext cx="67420"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14" name="Oval 304">
            <a:extLst>
              <a:ext uri="{FF2B5EF4-FFF2-40B4-BE49-F238E27FC236}">
                <a16:creationId xmlns:a16="http://schemas.microsoft.com/office/drawing/2014/main" id="{DB5AA036-A2B5-43AA-8FB3-B05FDF3D5652}"/>
              </a:ext>
            </a:extLst>
          </p:cNvPr>
          <p:cNvSpPr>
            <a:spLocks noChangeArrowheads="1"/>
          </p:cNvSpPr>
          <p:nvPr/>
        </p:nvSpPr>
        <p:spPr bwMode="auto">
          <a:xfrm>
            <a:off x="4844315" y="3912754"/>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15" name="Oval 305">
            <a:extLst>
              <a:ext uri="{FF2B5EF4-FFF2-40B4-BE49-F238E27FC236}">
                <a16:creationId xmlns:a16="http://schemas.microsoft.com/office/drawing/2014/main" id="{96D5E6F2-98CF-44B2-BEDF-1CEAEA8C6695}"/>
              </a:ext>
            </a:extLst>
          </p:cNvPr>
          <p:cNvSpPr>
            <a:spLocks noChangeArrowheads="1"/>
          </p:cNvSpPr>
          <p:nvPr/>
        </p:nvSpPr>
        <p:spPr bwMode="auto">
          <a:xfrm>
            <a:off x="4844315" y="3887570"/>
            <a:ext cx="66509" cy="65998"/>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16" name="Oval 306">
            <a:extLst>
              <a:ext uri="{FF2B5EF4-FFF2-40B4-BE49-F238E27FC236}">
                <a16:creationId xmlns:a16="http://schemas.microsoft.com/office/drawing/2014/main" id="{88B88C65-2346-42B6-B011-DE48C912B245}"/>
              </a:ext>
            </a:extLst>
          </p:cNvPr>
          <p:cNvSpPr>
            <a:spLocks noChangeArrowheads="1"/>
          </p:cNvSpPr>
          <p:nvPr/>
        </p:nvSpPr>
        <p:spPr bwMode="auto">
          <a:xfrm>
            <a:off x="4835204" y="3856308"/>
            <a:ext cx="67420"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17" name="Oval 307">
            <a:extLst>
              <a:ext uri="{FF2B5EF4-FFF2-40B4-BE49-F238E27FC236}">
                <a16:creationId xmlns:a16="http://schemas.microsoft.com/office/drawing/2014/main" id="{1DF1838A-8AB4-4A37-877E-E9DBF9622A0A}"/>
              </a:ext>
            </a:extLst>
          </p:cNvPr>
          <p:cNvSpPr>
            <a:spLocks noChangeArrowheads="1"/>
          </p:cNvSpPr>
          <p:nvPr/>
        </p:nvSpPr>
        <p:spPr bwMode="auto">
          <a:xfrm>
            <a:off x="4809694" y="3831993"/>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18" name="Oval 308">
            <a:extLst>
              <a:ext uri="{FF2B5EF4-FFF2-40B4-BE49-F238E27FC236}">
                <a16:creationId xmlns:a16="http://schemas.microsoft.com/office/drawing/2014/main" id="{94B395BC-CA35-4318-B5B8-6FA424440768}"/>
              </a:ext>
            </a:extLst>
          </p:cNvPr>
          <p:cNvSpPr>
            <a:spLocks noChangeArrowheads="1"/>
          </p:cNvSpPr>
          <p:nvPr/>
        </p:nvSpPr>
        <p:spPr bwMode="auto">
          <a:xfrm>
            <a:off x="4809694" y="3792916"/>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19" name="Oval 309">
            <a:extLst>
              <a:ext uri="{FF2B5EF4-FFF2-40B4-BE49-F238E27FC236}">
                <a16:creationId xmlns:a16="http://schemas.microsoft.com/office/drawing/2014/main" id="{CB0DB276-CF8C-40FF-9547-F5AFEF49C1BE}"/>
              </a:ext>
            </a:extLst>
          </p:cNvPr>
          <p:cNvSpPr>
            <a:spLocks noChangeArrowheads="1"/>
          </p:cNvSpPr>
          <p:nvPr/>
        </p:nvSpPr>
        <p:spPr bwMode="auto">
          <a:xfrm>
            <a:off x="4740452" y="3778153"/>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20" name="Oval 310">
            <a:extLst>
              <a:ext uri="{FF2B5EF4-FFF2-40B4-BE49-F238E27FC236}">
                <a16:creationId xmlns:a16="http://schemas.microsoft.com/office/drawing/2014/main" id="{2D05F9AD-6217-4CE4-A481-2F8FBF0A088C}"/>
              </a:ext>
            </a:extLst>
          </p:cNvPr>
          <p:cNvSpPr>
            <a:spLocks noChangeArrowheads="1"/>
          </p:cNvSpPr>
          <p:nvPr/>
        </p:nvSpPr>
        <p:spPr bwMode="auto">
          <a:xfrm>
            <a:off x="4673031" y="3773812"/>
            <a:ext cx="67420"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21" name="Oval 311">
            <a:extLst>
              <a:ext uri="{FF2B5EF4-FFF2-40B4-BE49-F238E27FC236}">
                <a16:creationId xmlns:a16="http://schemas.microsoft.com/office/drawing/2014/main" id="{66952BBE-3FE4-45BC-B55B-B44540531FA3}"/>
              </a:ext>
            </a:extLst>
          </p:cNvPr>
          <p:cNvSpPr>
            <a:spLocks noChangeArrowheads="1"/>
          </p:cNvSpPr>
          <p:nvPr/>
        </p:nvSpPr>
        <p:spPr bwMode="auto">
          <a:xfrm>
            <a:off x="4571901" y="3759917"/>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22" name="Oval 312">
            <a:extLst>
              <a:ext uri="{FF2B5EF4-FFF2-40B4-BE49-F238E27FC236}">
                <a16:creationId xmlns:a16="http://schemas.microsoft.com/office/drawing/2014/main" id="{C8CBE211-8C3B-4366-8F45-0A96282CD552}"/>
              </a:ext>
            </a:extLst>
          </p:cNvPr>
          <p:cNvSpPr>
            <a:spLocks noChangeArrowheads="1"/>
          </p:cNvSpPr>
          <p:nvPr/>
        </p:nvSpPr>
        <p:spPr bwMode="auto">
          <a:xfrm>
            <a:off x="4417928" y="3740813"/>
            <a:ext cx="67420"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23" name="Oval 313">
            <a:extLst>
              <a:ext uri="{FF2B5EF4-FFF2-40B4-BE49-F238E27FC236}">
                <a16:creationId xmlns:a16="http://schemas.microsoft.com/office/drawing/2014/main" id="{0CBBA46B-8C03-488F-8548-8734EE293ED2}"/>
              </a:ext>
            </a:extLst>
          </p:cNvPr>
          <p:cNvSpPr>
            <a:spLocks noChangeArrowheads="1"/>
          </p:cNvSpPr>
          <p:nvPr/>
        </p:nvSpPr>
        <p:spPr bwMode="auto">
          <a:xfrm>
            <a:off x="4392418" y="3740813"/>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24" name="Oval 314">
            <a:extLst>
              <a:ext uri="{FF2B5EF4-FFF2-40B4-BE49-F238E27FC236}">
                <a16:creationId xmlns:a16="http://schemas.microsoft.com/office/drawing/2014/main" id="{2EA5CC62-6580-4EE2-8799-5D882B31D264}"/>
              </a:ext>
            </a:extLst>
          </p:cNvPr>
          <p:cNvSpPr>
            <a:spLocks noChangeArrowheads="1"/>
          </p:cNvSpPr>
          <p:nvPr/>
        </p:nvSpPr>
        <p:spPr bwMode="auto">
          <a:xfrm>
            <a:off x="4370552" y="3734734"/>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25" name="Oval 315">
            <a:extLst>
              <a:ext uri="{FF2B5EF4-FFF2-40B4-BE49-F238E27FC236}">
                <a16:creationId xmlns:a16="http://schemas.microsoft.com/office/drawing/2014/main" id="{4B882BCB-9232-4873-B27B-1CFABE58702B}"/>
              </a:ext>
            </a:extLst>
          </p:cNvPr>
          <p:cNvSpPr>
            <a:spLocks noChangeArrowheads="1"/>
          </p:cNvSpPr>
          <p:nvPr/>
        </p:nvSpPr>
        <p:spPr bwMode="auto">
          <a:xfrm>
            <a:off x="4351419" y="3713892"/>
            <a:ext cx="66509" cy="65998"/>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26" name="Oval 316">
            <a:extLst>
              <a:ext uri="{FF2B5EF4-FFF2-40B4-BE49-F238E27FC236}">
                <a16:creationId xmlns:a16="http://schemas.microsoft.com/office/drawing/2014/main" id="{0DC5B7A5-B8C7-4401-B7FF-F77D0547265D}"/>
              </a:ext>
            </a:extLst>
          </p:cNvPr>
          <p:cNvSpPr>
            <a:spLocks noChangeArrowheads="1"/>
          </p:cNvSpPr>
          <p:nvPr/>
        </p:nvSpPr>
        <p:spPr bwMode="auto">
          <a:xfrm>
            <a:off x="4335931" y="3689577"/>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27" name="Oval 317">
            <a:extLst>
              <a:ext uri="{FF2B5EF4-FFF2-40B4-BE49-F238E27FC236}">
                <a16:creationId xmlns:a16="http://schemas.microsoft.com/office/drawing/2014/main" id="{3E345AF2-0969-4D69-878F-B2C58FD7AAE7}"/>
              </a:ext>
            </a:extLst>
          </p:cNvPr>
          <p:cNvSpPr>
            <a:spLocks noChangeArrowheads="1"/>
          </p:cNvSpPr>
          <p:nvPr/>
        </p:nvSpPr>
        <p:spPr bwMode="auto">
          <a:xfrm>
            <a:off x="4323176" y="3677420"/>
            <a:ext cx="69242"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28" name="Oval 318">
            <a:extLst>
              <a:ext uri="{FF2B5EF4-FFF2-40B4-BE49-F238E27FC236}">
                <a16:creationId xmlns:a16="http://schemas.microsoft.com/office/drawing/2014/main" id="{D304A1CD-37CB-40B1-8DC0-EC919EC9D024}"/>
              </a:ext>
            </a:extLst>
          </p:cNvPr>
          <p:cNvSpPr>
            <a:spLocks noChangeArrowheads="1"/>
          </p:cNvSpPr>
          <p:nvPr/>
        </p:nvSpPr>
        <p:spPr bwMode="auto">
          <a:xfrm>
            <a:off x="4290376" y="3625317"/>
            <a:ext cx="67420"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29" name="Oval 319">
            <a:extLst>
              <a:ext uri="{FF2B5EF4-FFF2-40B4-BE49-F238E27FC236}">
                <a16:creationId xmlns:a16="http://schemas.microsoft.com/office/drawing/2014/main" id="{BCF1BD06-BCFF-4329-B9F8-8C7BBE980249}"/>
              </a:ext>
            </a:extLst>
          </p:cNvPr>
          <p:cNvSpPr>
            <a:spLocks noChangeArrowheads="1"/>
          </p:cNvSpPr>
          <p:nvPr/>
        </p:nvSpPr>
        <p:spPr bwMode="auto">
          <a:xfrm>
            <a:off x="4178313" y="3625317"/>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30" name="Oval 320">
            <a:extLst>
              <a:ext uri="{FF2B5EF4-FFF2-40B4-BE49-F238E27FC236}">
                <a16:creationId xmlns:a16="http://schemas.microsoft.com/office/drawing/2014/main" id="{B4B6D7D5-18F3-496F-BC4C-B53CBE929D77}"/>
              </a:ext>
            </a:extLst>
          </p:cNvPr>
          <p:cNvSpPr>
            <a:spLocks noChangeArrowheads="1"/>
          </p:cNvSpPr>
          <p:nvPr/>
        </p:nvSpPr>
        <p:spPr bwMode="auto">
          <a:xfrm>
            <a:off x="4091760" y="3625317"/>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31" name="Oval 321">
            <a:extLst>
              <a:ext uri="{FF2B5EF4-FFF2-40B4-BE49-F238E27FC236}">
                <a16:creationId xmlns:a16="http://schemas.microsoft.com/office/drawing/2014/main" id="{DB45DC5A-BB15-431C-A0D8-92296D3F271D}"/>
              </a:ext>
            </a:extLst>
          </p:cNvPr>
          <p:cNvSpPr>
            <a:spLocks noChangeArrowheads="1"/>
          </p:cNvSpPr>
          <p:nvPr/>
        </p:nvSpPr>
        <p:spPr bwMode="auto">
          <a:xfrm>
            <a:off x="4050761" y="3625317"/>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32" name="Oval 322">
            <a:extLst>
              <a:ext uri="{FF2B5EF4-FFF2-40B4-BE49-F238E27FC236}">
                <a16:creationId xmlns:a16="http://schemas.microsoft.com/office/drawing/2014/main" id="{EF49C8CA-5D47-4AE4-AFBD-83C35BB03874}"/>
              </a:ext>
            </a:extLst>
          </p:cNvPr>
          <p:cNvSpPr>
            <a:spLocks noChangeArrowheads="1"/>
          </p:cNvSpPr>
          <p:nvPr/>
        </p:nvSpPr>
        <p:spPr bwMode="auto">
          <a:xfrm>
            <a:off x="3920477" y="3613159"/>
            <a:ext cx="67420"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33" name="Oval 323">
            <a:extLst>
              <a:ext uri="{FF2B5EF4-FFF2-40B4-BE49-F238E27FC236}">
                <a16:creationId xmlns:a16="http://schemas.microsoft.com/office/drawing/2014/main" id="{0CB3B76A-CFB9-4776-BA25-B06B0C32915F}"/>
              </a:ext>
            </a:extLst>
          </p:cNvPr>
          <p:cNvSpPr>
            <a:spLocks noChangeArrowheads="1"/>
          </p:cNvSpPr>
          <p:nvPr/>
        </p:nvSpPr>
        <p:spPr bwMode="auto">
          <a:xfrm>
            <a:off x="3894967" y="3602738"/>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34" name="Oval 324">
            <a:extLst>
              <a:ext uri="{FF2B5EF4-FFF2-40B4-BE49-F238E27FC236}">
                <a16:creationId xmlns:a16="http://schemas.microsoft.com/office/drawing/2014/main" id="{2061C901-2981-44D1-8FA6-C7D4FFD5F38A}"/>
              </a:ext>
            </a:extLst>
          </p:cNvPr>
          <p:cNvSpPr>
            <a:spLocks noChangeArrowheads="1"/>
          </p:cNvSpPr>
          <p:nvPr/>
        </p:nvSpPr>
        <p:spPr bwMode="auto">
          <a:xfrm>
            <a:off x="3873101" y="3569740"/>
            <a:ext cx="67420"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35" name="Oval 325">
            <a:extLst>
              <a:ext uri="{FF2B5EF4-FFF2-40B4-BE49-F238E27FC236}">
                <a16:creationId xmlns:a16="http://schemas.microsoft.com/office/drawing/2014/main" id="{BCF0603A-D954-4287-94FA-5393B065ED88}"/>
              </a:ext>
            </a:extLst>
          </p:cNvPr>
          <p:cNvSpPr>
            <a:spLocks noChangeArrowheads="1"/>
          </p:cNvSpPr>
          <p:nvPr/>
        </p:nvSpPr>
        <p:spPr bwMode="auto">
          <a:xfrm>
            <a:off x="3860346" y="3530662"/>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36" name="Oval 326">
            <a:extLst>
              <a:ext uri="{FF2B5EF4-FFF2-40B4-BE49-F238E27FC236}">
                <a16:creationId xmlns:a16="http://schemas.microsoft.com/office/drawing/2014/main" id="{456062BE-3BF6-4AAA-A077-DEDB4968CE04}"/>
              </a:ext>
            </a:extLst>
          </p:cNvPr>
          <p:cNvSpPr>
            <a:spLocks noChangeArrowheads="1"/>
          </p:cNvSpPr>
          <p:nvPr/>
        </p:nvSpPr>
        <p:spPr bwMode="auto">
          <a:xfrm>
            <a:off x="3838480" y="3482901"/>
            <a:ext cx="67420"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37" name="Oval 327">
            <a:extLst>
              <a:ext uri="{FF2B5EF4-FFF2-40B4-BE49-F238E27FC236}">
                <a16:creationId xmlns:a16="http://schemas.microsoft.com/office/drawing/2014/main" id="{0F613DEA-7DC0-4E47-B118-43121E8D0CFC}"/>
              </a:ext>
            </a:extLst>
          </p:cNvPr>
          <p:cNvSpPr>
            <a:spLocks noChangeArrowheads="1"/>
          </p:cNvSpPr>
          <p:nvPr/>
        </p:nvSpPr>
        <p:spPr bwMode="auto">
          <a:xfrm>
            <a:off x="3657174" y="3376089"/>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38" name="Oval 328">
            <a:extLst>
              <a:ext uri="{FF2B5EF4-FFF2-40B4-BE49-F238E27FC236}">
                <a16:creationId xmlns:a16="http://schemas.microsoft.com/office/drawing/2014/main" id="{A1896FD4-5740-4C64-87C8-542E675FE190}"/>
              </a:ext>
            </a:extLst>
          </p:cNvPr>
          <p:cNvSpPr>
            <a:spLocks noChangeArrowheads="1"/>
          </p:cNvSpPr>
          <p:nvPr/>
        </p:nvSpPr>
        <p:spPr bwMode="auto">
          <a:xfrm>
            <a:off x="3505934" y="3356984"/>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39" name="Oval 329">
            <a:extLst>
              <a:ext uri="{FF2B5EF4-FFF2-40B4-BE49-F238E27FC236}">
                <a16:creationId xmlns:a16="http://schemas.microsoft.com/office/drawing/2014/main" id="{BDCEAE48-5112-41FE-A21C-A02AB9F8C9F9}"/>
              </a:ext>
            </a:extLst>
          </p:cNvPr>
          <p:cNvSpPr>
            <a:spLocks noChangeArrowheads="1"/>
          </p:cNvSpPr>
          <p:nvPr/>
        </p:nvSpPr>
        <p:spPr bwMode="auto">
          <a:xfrm>
            <a:off x="3391138" y="3326590"/>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40" name="Oval 330">
            <a:extLst>
              <a:ext uri="{FF2B5EF4-FFF2-40B4-BE49-F238E27FC236}">
                <a16:creationId xmlns:a16="http://schemas.microsoft.com/office/drawing/2014/main" id="{0BC287CD-ED29-400D-B680-4E97D682EEF5}"/>
              </a:ext>
            </a:extLst>
          </p:cNvPr>
          <p:cNvSpPr>
            <a:spLocks noChangeArrowheads="1"/>
          </p:cNvSpPr>
          <p:nvPr/>
        </p:nvSpPr>
        <p:spPr bwMode="auto">
          <a:xfrm>
            <a:off x="3369272" y="3284908"/>
            <a:ext cx="69242" cy="65998"/>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41" name="Oval 331">
            <a:extLst>
              <a:ext uri="{FF2B5EF4-FFF2-40B4-BE49-F238E27FC236}">
                <a16:creationId xmlns:a16="http://schemas.microsoft.com/office/drawing/2014/main" id="{4FEB93D1-513F-4599-B329-84E0AC1E75DB}"/>
              </a:ext>
            </a:extLst>
          </p:cNvPr>
          <p:cNvSpPr>
            <a:spLocks noChangeArrowheads="1"/>
          </p:cNvSpPr>
          <p:nvPr/>
        </p:nvSpPr>
        <p:spPr bwMode="auto">
          <a:xfrm>
            <a:off x="3347406" y="3233673"/>
            <a:ext cx="69242"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42" name="Oval 332">
            <a:extLst>
              <a:ext uri="{FF2B5EF4-FFF2-40B4-BE49-F238E27FC236}">
                <a16:creationId xmlns:a16="http://schemas.microsoft.com/office/drawing/2014/main" id="{522032FA-57E6-4E2C-A755-493C7BD58E8B}"/>
              </a:ext>
            </a:extLst>
          </p:cNvPr>
          <p:cNvSpPr>
            <a:spLocks noChangeArrowheads="1"/>
          </p:cNvSpPr>
          <p:nvPr/>
        </p:nvSpPr>
        <p:spPr bwMode="auto">
          <a:xfrm>
            <a:off x="3274519" y="3196332"/>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43" name="Oval 333">
            <a:extLst>
              <a:ext uri="{FF2B5EF4-FFF2-40B4-BE49-F238E27FC236}">
                <a16:creationId xmlns:a16="http://schemas.microsoft.com/office/drawing/2014/main" id="{435520EF-3EA4-428C-9C1B-683429ED614A}"/>
              </a:ext>
            </a:extLst>
          </p:cNvPr>
          <p:cNvSpPr>
            <a:spLocks noChangeArrowheads="1"/>
          </p:cNvSpPr>
          <p:nvPr/>
        </p:nvSpPr>
        <p:spPr bwMode="auto">
          <a:xfrm>
            <a:off x="3140590" y="3152913"/>
            <a:ext cx="69242" cy="65998"/>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44" name="Oval 334">
            <a:extLst>
              <a:ext uri="{FF2B5EF4-FFF2-40B4-BE49-F238E27FC236}">
                <a16:creationId xmlns:a16="http://schemas.microsoft.com/office/drawing/2014/main" id="{A6E241C3-8815-4CBF-A403-B13CBBF9708D}"/>
              </a:ext>
            </a:extLst>
          </p:cNvPr>
          <p:cNvSpPr>
            <a:spLocks noChangeArrowheads="1"/>
          </p:cNvSpPr>
          <p:nvPr/>
        </p:nvSpPr>
        <p:spPr bwMode="auto">
          <a:xfrm>
            <a:off x="2898242" y="3058259"/>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45" name="Oval 335">
            <a:extLst>
              <a:ext uri="{FF2B5EF4-FFF2-40B4-BE49-F238E27FC236}">
                <a16:creationId xmlns:a16="http://schemas.microsoft.com/office/drawing/2014/main" id="{D99D69B8-91B2-4AC7-A12D-0C202E9F73E6}"/>
              </a:ext>
            </a:extLst>
          </p:cNvPr>
          <p:cNvSpPr>
            <a:spLocks noChangeArrowheads="1"/>
          </p:cNvSpPr>
          <p:nvPr/>
        </p:nvSpPr>
        <p:spPr bwMode="auto">
          <a:xfrm>
            <a:off x="2882754" y="3004419"/>
            <a:ext cx="67420"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46" name="Oval 336">
            <a:extLst>
              <a:ext uri="{FF2B5EF4-FFF2-40B4-BE49-F238E27FC236}">
                <a16:creationId xmlns:a16="http://schemas.microsoft.com/office/drawing/2014/main" id="{A8E91E7E-3856-4DD1-B2AB-C4897A68ECFB}"/>
              </a:ext>
            </a:extLst>
          </p:cNvPr>
          <p:cNvSpPr>
            <a:spLocks noChangeArrowheads="1"/>
          </p:cNvSpPr>
          <p:nvPr/>
        </p:nvSpPr>
        <p:spPr bwMode="auto">
          <a:xfrm>
            <a:off x="2830823" y="2905422"/>
            <a:ext cx="67420"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47" name="Oval 337">
            <a:extLst>
              <a:ext uri="{FF2B5EF4-FFF2-40B4-BE49-F238E27FC236}">
                <a16:creationId xmlns:a16="http://schemas.microsoft.com/office/drawing/2014/main" id="{FDE79508-BCEA-4C78-8FB4-89D70861EAF2}"/>
              </a:ext>
            </a:extLst>
          </p:cNvPr>
          <p:cNvSpPr>
            <a:spLocks noChangeArrowheads="1"/>
          </p:cNvSpPr>
          <p:nvPr/>
        </p:nvSpPr>
        <p:spPr bwMode="auto">
          <a:xfrm>
            <a:off x="2731514" y="2897606"/>
            <a:ext cx="67420"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48" name="Oval 338">
            <a:extLst>
              <a:ext uri="{FF2B5EF4-FFF2-40B4-BE49-F238E27FC236}">
                <a16:creationId xmlns:a16="http://schemas.microsoft.com/office/drawing/2014/main" id="{0E335E64-8127-4C12-90DE-C5D026D5F55A}"/>
              </a:ext>
            </a:extLst>
          </p:cNvPr>
          <p:cNvSpPr>
            <a:spLocks noChangeArrowheads="1"/>
          </p:cNvSpPr>
          <p:nvPr/>
        </p:nvSpPr>
        <p:spPr bwMode="auto">
          <a:xfrm>
            <a:off x="2682316" y="2887186"/>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49" name="Oval 339">
            <a:extLst>
              <a:ext uri="{FF2B5EF4-FFF2-40B4-BE49-F238E27FC236}">
                <a16:creationId xmlns:a16="http://schemas.microsoft.com/office/drawing/2014/main" id="{91CF925D-2522-4614-8E77-2AC56BDDB0C9}"/>
              </a:ext>
            </a:extLst>
          </p:cNvPr>
          <p:cNvSpPr>
            <a:spLocks noChangeArrowheads="1"/>
          </p:cNvSpPr>
          <p:nvPr/>
        </p:nvSpPr>
        <p:spPr bwMode="auto">
          <a:xfrm>
            <a:off x="2474589" y="2849845"/>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50" name="Oval 340">
            <a:extLst>
              <a:ext uri="{FF2B5EF4-FFF2-40B4-BE49-F238E27FC236}">
                <a16:creationId xmlns:a16="http://schemas.microsoft.com/office/drawing/2014/main" id="{E04450F7-61D5-4D92-80D7-ECB875EC84F4}"/>
              </a:ext>
            </a:extLst>
          </p:cNvPr>
          <p:cNvSpPr>
            <a:spLocks noChangeArrowheads="1"/>
          </p:cNvSpPr>
          <p:nvPr/>
        </p:nvSpPr>
        <p:spPr bwMode="auto">
          <a:xfrm>
            <a:off x="2409902" y="2804689"/>
            <a:ext cx="68331"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51" name="Oval 341">
            <a:extLst>
              <a:ext uri="{FF2B5EF4-FFF2-40B4-BE49-F238E27FC236}">
                <a16:creationId xmlns:a16="http://schemas.microsoft.com/office/drawing/2014/main" id="{E60E66E8-CE14-447A-86FF-88B9E5B8567C}"/>
              </a:ext>
            </a:extLst>
          </p:cNvPr>
          <p:cNvSpPr>
            <a:spLocks noChangeArrowheads="1"/>
          </p:cNvSpPr>
          <p:nvPr/>
        </p:nvSpPr>
        <p:spPr bwMode="auto">
          <a:xfrm>
            <a:off x="2398969" y="2761269"/>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52" name="Oval 342">
            <a:extLst>
              <a:ext uri="{FF2B5EF4-FFF2-40B4-BE49-F238E27FC236}">
                <a16:creationId xmlns:a16="http://schemas.microsoft.com/office/drawing/2014/main" id="{1928AEC0-D0CA-4EEA-9A96-F2DDE6CAAC77}"/>
              </a:ext>
            </a:extLst>
          </p:cNvPr>
          <p:cNvSpPr>
            <a:spLocks noChangeArrowheads="1"/>
          </p:cNvSpPr>
          <p:nvPr/>
        </p:nvSpPr>
        <p:spPr bwMode="auto">
          <a:xfrm>
            <a:off x="2377103" y="2722192"/>
            <a:ext cx="67420"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53" name="Oval 343">
            <a:extLst>
              <a:ext uri="{FF2B5EF4-FFF2-40B4-BE49-F238E27FC236}">
                <a16:creationId xmlns:a16="http://schemas.microsoft.com/office/drawing/2014/main" id="{8FD49019-D533-43D4-978B-B8BCE7A419A4}"/>
              </a:ext>
            </a:extLst>
          </p:cNvPr>
          <p:cNvSpPr>
            <a:spLocks noChangeArrowheads="1"/>
          </p:cNvSpPr>
          <p:nvPr/>
        </p:nvSpPr>
        <p:spPr bwMode="auto">
          <a:xfrm>
            <a:off x="2112889" y="2676167"/>
            <a:ext cx="67420"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54" name="Oval 344">
            <a:extLst>
              <a:ext uri="{FF2B5EF4-FFF2-40B4-BE49-F238E27FC236}">
                <a16:creationId xmlns:a16="http://schemas.microsoft.com/office/drawing/2014/main" id="{FD8A217B-736F-41B1-AC20-CB694D21D17F}"/>
              </a:ext>
            </a:extLst>
          </p:cNvPr>
          <p:cNvSpPr>
            <a:spLocks noChangeArrowheads="1"/>
          </p:cNvSpPr>
          <p:nvPr/>
        </p:nvSpPr>
        <p:spPr bwMode="auto">
          <a:xfrm>
            <a:off x="2091934" y="2657931"/>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55" name="Oval 345">
            <a:extLst>
              <a:ext uri="{FF2B5EF4-FFF2-40B4-BE49-F238E27FC236}">
                <a16:creationId xmlns:a16="http://schemas.microsoft.com/office/drawing/2014/main" id="{65E7572B-9C01-449F-8E6F-DF60592C6F74}"/>
              </a:ext>
            </a:extLst>
          </p:cNvPr>
          <p:cNvSpPr>
            <a:spLocks noChangeArrowheads="1"/>
          </p:cNvSpPr>
          <p:nvPr/>
        </p:nvSpPr>
        <p:spPr bwMode="auto">
          <a:xfrm>
            <a:off x="2070068" y="2637090"/>
            <a:ext cx="67420"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56" name="Oval 346">
            <a:extLst>
              <a:ext uri="{FF2B5EF4-FFF2-40B4-BE49-F238E27FC236}">
                <a16:creationId xmlns:a16="http://schemas.microsoft.com/office/drawing/2014/main" id="{195FFF6F-1034-4B14-A709-AC0E8CF83E55}"/>
              </a:ext>
            </a:extLst>
          </p:cNvPr>
          <p:cNvSpPr>
            <a:spLocks noChangeArrowheads="1"/>
          </p:cNvSpPr>
          <p:nvPr/>
        </p:nvSpPr>
        <p:spPr bwMode="auto">
          <a:xfrm>
            <a:off x="2046380" y="2618853"/>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57" name="Oval 347">
            <a:extLst>
              <a:ext uri="{FF2B5EF4-FFF2-40B4-BE49-F238E27FC236}">
                <a16:creationId xmlns:a16="http://schemas.microsoft.com/office/drawing/2014/main" id="{D411539E-03EF-482A-8132-0F210D25CB21}"/>
              </a:ext>
            </a:extLst>
          </p:cNvPr>
          <p:cNvSpPr>
            <a:spLocks noChangeArrowheads="1"/>
          </p:cNvSpPr>
          <p:nvPr/>
        </p:nvSpPr>
        <p:spPr bwMode="auto">
          <a:xfrm>
            <a:off x="2024514" y="2602354"/>
            <a:ext cx="67420"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58" name="Oval 348">
            <a:extLst>
              <a:ext uri="{FF2B5EF4-FFF2-40B4-BE49-F238E27FC236}">
                <a16:creationId xmlns:a16="http://schemas.microsoft.com/office/drawing/2014/main" id="{63EE0372-C691-4837-933F-B86C0A444DE9}"/>
              </a:ext>
            </a:extLst>
          </p:cNvPr>
          <p:cNvSpPr>
            <a:spLocks noChangeArrowheads="1"/>
          </p:cNvSpPr>
          <p:nvPr/>
        </p:nvSpPr>
        <p:spPr bwMode="auto">
          <a:xfrm>
            <a:off x="1988071" y="2602354"/>
            <a:ext cx="66509"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59" name="Oval 349">
            <a:extLst>
              <a:ext uri="{FF2B5EF4-FFF2-40B4-BE49-F238E27FC236}">
                <a16:creationId xmlns:a16="http://schemas.microsoft.com/office/drawing/2014/main" id="{85A989F7-8D5C-4651-8823-37078A22C90F}"/>
              </a:ext>
            </a:extLst>
          </p:cNvPr>
          <p:cNvSpPr>
            <a:spLocks noChangeArrowheads="1"/>
          </p:cNvSpPr>
          <p:nvPr/>
        </p:nvSpPr>
        <p:spPr bwMode="auto">
          <a:xfrm>
            <a:off x="1756656" y="2519857"/>
            <a:ext cx="66509" cy="63393"/>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60" name="Oval 351">
            <a:extLst>
              <a:ext uri="{FF2B5EF4-FFF2-40B4-BE49-F238E27FC236}">
                <a16:creationId xmlns:a16="http://schemas.microsoft.com/office/drawing/2014/main" id="{40D9D88D-8FBB-4397-9F13-ACEE4524C631}"/>
              </a:ext>
            </a:extLst>
          </p:cNvPr>
          <p:cNvSpPr>
            <a:spLocks noChangeArrowheads="1"/>
          </p:cNvSpPr>
          <p:nvPr/>
        </p:nvSpPr>
        <p:spPr bwMode="auto">
          <a:xfrm>
            <a:off x="1747545" y="2434755"/>
            <a:ext cx="67420"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61" name="Oval 352">
            <a:extLst>
              <a:ext uri="{FF2B5EF4-FFF2-40B4-BE49-F238E27FC236}">
                <a16:creationId xmlns:a16="http://schemas.microsoft.com/office/drawing/2014/main" id="{0CFDF67B-901D-46C5-A2AD-B393CC945814}"/>
              </a:ext>
            </a:extLst>
          </p:cNvPr>
          <p:cNvSpPr>
            <a:spLocks noChangeArrowheads="1"/>
          </p:cNvSpPr>
          <p:nvPr/>
        </p:nvSpPr>
        <p:spPr bwMode="auto">
          <a:xfrm>
            <a:off x="1728413" y="2401756"/>
            <a:ext cx="69242" cy="64261"/>
          </a:xfrm>
          <a:prstGeom prst="ellipse">
            <a:avLst/>
          </a:prstGeom>
          <a:noFill/>
          <a:ln>
            <a:solidFill>
              <a:srgbClr val="004D74"/>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62" name="Oval 353">
            <a:extLst>
              <a:ext uri="{FF2B5EF4-FFF2-40B4-BE49-F238E27FC236}">
                <a16:creationId xmlns:a16="http://schemas.microsoft.com/office/drawing/2014/main" id="{9BA4BD81-7FAD-440C-9DB3-768EC4266B38}"/>
              </a:ext>
            </a:extLst>
          </p:cNvPr>
          <p:cNvSpPr>
            <a:spLocks noChangeArrowheads="1"/>
          </p:cNvSpPr>
          <p:nvPr/>
        </p:nvSpPr>
        <p:spPr bwMode="auto">
          <a:xfrm>
            <a:off x="1714066" y="2302387"/>
            <a:ext cx="66509"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763" name="Line 79">
            <a:extLst>
              <a:ext uri="{FF2B5EF4-FFF2-40B4-BE49-F238E27FC236}">
                <a16:creationId xmlns:a16="http://schemas.microsoft.com/office/drawing/2014/main" id="{791A994C-FF20-4824-B87E-68029F30A387}"/>
              </a:ext>
            </a:extLst>
          </p:cNvPr>
          <p:cNvSpPr>
            <a:spLocks noChangeShapeType="1"/>
          </p:cNvSpPr>
          <p:nvPr/>
        </p:nvSpPr>
        <p:spPr bwMode="auto">
          <a:xfrm flipV="1">
            <a:off x="1412057" y="2234428"/>
            <a:ext cx="0" cy="2867371"/>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64" name="Line 80">
            <a:extLst>
              <a:ext uri="{FF2B5EF4-FFF2-40B4-BE49-F238E27FC236}">
                <a16:creationId xmlns:a16="http://schemas.microsoft.com/office/drawing/2014/main" id="{92A85BB1-310A-400A-B193-97AA75EB4A05}"/>
              </a:ext>
            </a:extLst>
          </p:cNvPr>
          <p:cNvSpPr>
            <a:spLocks noChangeShapeType="1"/>
          </p:cNvSpPr>
          <p:nvPr/>
        </p:nvSpPr>
        <p:spPr bwMode="auto">
          <a:xfrm>
            <a:off x="1353712" y="5106144"/>
            <a:ext cx="5667585" cy="434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65" name="Line 81">
            <a:extLst>
              <a:ext uri="{FF2B5EF4-FFF2-40B4-BE49-F238E27FC236}">
                <a16:creationId xmlns:a16="http://schemas.microsoft.com/office/drawing/2014/main" id="{B31D4F9B-A327-48B4-B111-8D030B672CEE}"/>
              </a:ext>
            </a:extLst>
          </p:cNvPr>
          <p:cNvSpPr>
            <a:spLocks noChangeShapeType="1"/>
          </p:cNvSpPr>
          <p:nvPr/>
        </p:nvSpPr>
        <p:spPr bwMode="auto">
          <a:xfrm flipH="1">
            <a:off x="1396245" y="2268065"/>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66" name="Line 82">
            <a:extLst>
              <a:ext uri="{FF2B5EF4-FFF2-40B4-BE49-F238E27FC236}">
                <a16:creationId xmlns:a16="http://schemas.microsoft.com/office/drawing/2014/main" id="{47BFF70A-B6A4-40E9-BC2D-AF36CDCF07C1}"/>
              </a:ext>
            </a:extLst>
          </p:cNvPr>
          <p:cNvSpPr>
            <a:spLocks noChangeShapeType="1"/>
          </p:cNvSpPr>
          <p:nvPr/>
        </p:nvSpPr>
        <p:spPr bwMode="auto">
          <a:xfrm flipH="1">
            <a:off x="1396245" y="3415883"/>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67" name="Line 83">
            <a:extLst>
              <a:ext uri="{FF2B5EF4-FFF2-40B4-BE49-F238E27FC236}">
                <a16:creationId xmlns:a16="http://schemas.microsoft.com/office/drawing/2014/main" id="{104B7E74-3D6A-4CA2-A318-6477B3887C95}"/>
              </a:ext>
            </a:extLst>
          </p:cNvPr>
          <p:cNvSpPr>
            <a:spLocks noChangeShapeType="1"/>
          </p:cNvSpPr>
          <p:nvPr/>
        </p:nvSpPr>
        <p:spPr bwMode="auto">
          <a:xfrm flipH="1">
            <a:off x="1396245" y="3990226"/>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68" name="Line 84">
            <a:extLst>
              <a:ext uri="{FF2B5EF4-FFF2-40B4-BE49-F238E27FC236}">
                <a16:creationId xmlns:a16="http://schemas.microsoft.com/office/drawing/2014/main" id="{9BC2BEBD-A314-456D-A4CB-81F30EF786D5}"/>
              </a:ext>
            </a:extLst>
          </p:cNvPr>
          <p:cNvSpPr>
            <a:spLocks noChangeShapeType="1"/>
          </p:cNvSpPr>
          <p:nvPr/>
        </p:nvSpPr>
        <p:spPr bwMode="auto">
          <a:xfrm flipH="1">
            <a:off x="1396245" y="4563700"/>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69" name="Line 85">
            <a:extLst>
              <a:ext uri="{FF2B5EF4-FFF2-40B4-BE49-F238E27FC236}">
                <a16:creationId xmlns:a16="http://schemas.microsoft.com/office/drawing/2014/main" id="{E865F746-A91D-4F04-8824-95DC675D3830}"/>
              </a:ext>
            </a:extLst>
          </p:cNvPr>
          <p:cNvSpPr>
            <a:spLocks noChangeShapeType="1"/>
          </p:cNvSpPr>
          <p:nvPr/>
        </p:nvSpPr>
        <p:spPr bwMode="auto">
          <a:xfrm flipH="1">
            <a:off x="1396245" y="2554802"/>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70" name="Line 86">
            <a:extLst>
              <a:ext uri="{FF2B5EF4-FFF2-40B4-BE49-F238E27FC236}">
                <a16:creationId xmlns:a16="http://schemas.microsoft.com/office/drawing/2014/main" id="{8EACEFBE-B70F-4736-9DDD-663109961059}"/>
              </a:ext>
            </a:extLst>
          </p:cNvPr>
          <p:cNvSpPr>
            <a:spLocks noChangeShapeType="1"/>
          </p:cNvSpPr>
          <p:nvPr/>
        </p:nvSpPr>
        <p:spPr bwMode="auto">
          <a:xfrm flipH="1">
            <a:off x="1396245" y="2842409"/>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71" name="Line 87">
            <a:extLst>
              <a:ext uri="{FF2B5EF4-FFF2-40B4-BE49-F238E27FC236}">
                <a16:creationId xmlns:a16="http://schemas.microsoft.com/office/drawing/2014/main" id="{B8AAB1AE-D12C-4729-9230-B007A7F71FCB}"/>
              </a:ext>
            </a:extLst>
          </p:cNvPr>
          <p:cNvSpPr>
            <a:spLocks noChangeShapeType="1"/>
          </p:cNvSpPr>
          <p:nvPr/>
        </p:nvSpPr>
        <p:spPr bwMode="auto">
          <a:xfrm flipH="1">
            <a:off x="1396245" y="3129146"/>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72" name="Line 88">
            <a:extLst>
              <a:ext uri="{FF2B5EF4-FFF2-40B4-BE49-F238E27FC236}">
                <a16:creationId xmlns:a16="http://schemas.microsoft.com/office/drawing/2014/main" id="{9265024D-364F-4AA5-A5F1-D477AFF70CCC}"/>
              </a:ext>
            </a:extLst>
          </p:cNvPr>
          <p:cNvSpPr>
            <a:spLocks noChangeShapeType="1"/>
          </p:cNvSpPr>
          <p:nvPr/>
        </p:nvSpPr>
        <p:spPr bwMode="auto">
          <a:xfrm flipH="1">
            <a:off x="1396245" y="3702620"/>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73" name="Line 89">
            <a:extLst>
              <a:ext uri="{FF2B5EF4-FFF2-40B4-BE49-F238E27FC236}">
                <a16:creationId xmlns:a16="http://schemas.microsoft.com/office/drawing/2014/main" id="{6DCE829A-10E0-4D9A-B2EC-A8AA6CB7EEA8}"/>
              </a:ext>
            </a:extLst>
          </p:cNvPr>
          <p:cNvSpPr>
            <a:spLocks noChangeShapeType="1"/>
          </p:cNvSpPr>
          <p:nvPr/>
        </p:nvSpPr>
        <p:spPr bwMode="auto">
          <a:xfrm flipH="1">
            <a:off x="1396245" y="4276963"/>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74" name="Line 90">
            <a:extLst>
              <a:ext uri="{FF2B5EF4-FFF2-40B4-BE49-F238E27FC236}">
                <a16:creationId xmlns:a16="http://schemas.microsoft.com/office/drawing/2014/main" id="{AE3DBD26-9DBF-446D-A71E-8F2113FA99BC}"/>
              </a:ext>
            </a:extLst>
          </p:cNvPr>
          <p:cNvSpPr>
            <a:spLocks noChangeShapeType="1"/>
          </p:cNvSpPr>
          <p:nvPr/>
        </p:nvSpPr>
        <p:spPr bwMode="auto">
          <a:xfrm flipH="1">
            <a:off x="1353713" y="4818537"/>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75" name="TextBox 774">
            <a:extLst>
              <a:ext uri="{FF2B5EF4-FFF2-40B4-BE49-F238E27FC236}">
                <a16:creationId xmlns:a16="http://schemas.microsoft.com/office/drawing/2014/main" id="{F787C1A0-2938-44BE-A242-1B002E410F20}"/>
              </a:ext>
            </a:extLst>
          </p:cNvPr>
          <p:cNvSpPr txBox="1"/>
          <p:nvPr/>
        </p:nvSpPr>
        <p:spPr>
          <a:xfrm>
            <a:off x="369655" y="5680014"/>
            <a:ext cx="1380748"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1" i="0" u="none" strike="noStrike" kern="1200" cap="none" spc="0" normalizeH="0" baseline="0" noProof="0" dirty="0">
                <a:ln>
                  <a:noFill/>
                </a:ln>
                <a:solidFill>
                  <a:schemeClr val="accent5"/>
                </a:solidFill>
                <a:effectLst/>
                <a:uLnTx/>
                <a:uFillTx/>
                <a:latin typeface="Calibri"/>
                <a:ea typeface="+mn-ea"/>
                <a:cs typeface="+mn-cs"/>
              </a:rPr>
              <a:t>Олапариб + абиратерон</a:t>
            </a:r>
          </a:p>
        </p:txBody>
      </p:sp>
      <p:sp>
        <p:nvSpPr>
          <p:cNvPr id="776" name="TextBox 775">
            <a:extLst>
              <a:ext uri="{FF2B5EF4-FFF2-40B4-BE49-F238E27FC236}">
                <a16:creationId xmlns:a16="http://schemas.microsoft.com/office/drawing/2014/main" id="{027F0E30-ED7E-4BF2-8C19-7863FB7B2C91}"/>
              </a:ext>
            </a:extLst>
          </p:cNvPr>
          <p:cNvSpPr txBox="1"/>
          <p:nvPr/>
        </p:nvSpPr>
        <p:spPr>
          <a:xfrm>
            <a:off x="369655" y="5790050"/>
            <a:ext cx="1380748"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1" i="0" u="none" strike="noStrike" kern="1200" cap="none" spc="0" normalizeH="0" baseline="0" noProof="0" dirty="0">
                <a:ln>
                  <a:noFill/>
                </a:ln>
                <a:effectLst/>
                <a:uLnTx/>
                <a:uFillTx/>
                <a:latin typeface="Calibri"/>
                <a:ea typeface="+mn-ea"/>
                <a:cs typeface="+mn-cs"/>
              </a:rPr>
              <a:t>Плацебо + абиратерон</a:t>
            </a:r>
          </a:p>
        </p:txBody>
      </p:sp>
      <p:sp>
        <p:nvSpPr>
          <p:cNvPr id="777" name="TextBox 776">
            <a:extLst>
              <a:ext uri="{FF2B5EF4-FFF2-40B4-BE49-F238E27FC236}">
                <a16:creationId xmlns:a16="http://schemas.microsoft.com/office/drawing/2014/main" id="{4A4A6AE0-8E91-4559-98CB-BE122297CBA7}"/>
              </a:ext>
            </a:extLst>
          </p:cNvPr>
          <p:cNvSpPr txBox="1"/>
          <p:nvPr/>
        </p:nvSpPr>
        <p:spPr>
          <a:xfrm>
            <a:off x="369655" y="5575824"/>
            <a:ext cx="2041378"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700" b="1" i="0" u="none" strike="noStrike" kern="1200" cap="none" spc="0" normalizeH="0" baseline="0" noProof="0" dirty="0">
                <a:ln>
                  <a:noFill/>
                </a:ln>
                <a:solidFill>
                  <a:srgbClr val="3F4444"/>
                </a:solidFill>
                <a:effectLst/>
                <a:uLnTx/>
                <a:uFillTx/>
                <a:latin typeface="Calibri"/>
                <a:ea typeface="+mn-ea"/>
                <a:cs typeface="+mn-cs"/>
              </a:rPr>
              <a:t>Количество пациентов в группе риска</a:t>
            </a:r>
          </a:p>
        </p:txBody>
      </p:sp>
      <p:sp>
        <p:nvSpPr>
          <p:cNvPr id="778" name="TextBox 777">
            <a:extLst>
              <a:ext uri="{FF2B5EF4-FFF2-40B4-BE49-F238E27FC236}">
                <a16:creationId xmlns:a16="http://schemas.microsoft.com/office/drawing/2014/main" id="{BBC1D8A0-1124-4F93-80F5-26307D45AF85}"/>
              </a:ext>
            </a:extLst>
          </p:cNvPr>
          <p:cNvSpPr txBox="1"/>
          <p:nvPr/>
        </p:nvSpPr>
        <p:spPr>
          <a:xfrm>
            <a:off x="1305966" y="5171369"/>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0</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79" name="TextBox 778">
            <a:extLst>
              <a:ext uri="{FF2B5EF4-FFF2-40B4-BE49-F238E27FC236}">
                <a16:creationId xmlns:a16="http://schemas.microsoft.com/office/drawing/2014/main" id="{D72E32F4-C6D7-4277-A672-66A97DAF18F4}"/>
              </a:ext>
            </a:extLst>
          </p:cNvPr>
          <p:cNvSpPr txBox="1"/>
          <p:nvPr/>
        </p:nvSpPr>
        <p:spPr>
          <a:xfrm>
            <a:off x="1660643" y="5171369"/>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2</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80" name="TextBox 779">
            <a:extLst>
              <a:ext uri="{FF2B5EF4-FFF2-40B4-BE49-F238E27FC236}">
                <a16:creationId xmlns:a16="http://schemas.microsoft.com/office/drawing/2014/main" id="{CFE16029-3D15-4FF5-B439-6981FE23673C}"/>
              </a:ext>
            </a:extLst>
          </p:cNvPr>
          <p:cNvSpPr txBox="1"/>
          <p:nvPr/>
        </p:nvSpPr>
        <p:spPr>
          <a:xfrm>
            <a:off x="2015321" y="5171369"/>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4</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81" name="TextBox 780">
            <a:extLst>
              <a:ext uri="{FF2B5EF4-FFF2-40B4-BE49-F238E27FC236}">
                <a16:creationId xmlns:a16="http://schemas.microsoft.com/office/drawing/2014/main" id="{CA74FE24-A9A0-4383-BDB3-10C6A5C81557}"/>
              </a:ext>
            </a:extLst>
          </p:cNvPr>
          <p:cNvSpPr txBox="1"/>
          <p:nvPr/>
        </p:nvSpPr>
        <p:spPr>
          <a:xfrm>
            <a:off x="2369998" y="5171369"/>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6</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82" name="TextBox 781">
            <a:extLst>
              <a:ext uri="{FF2B5EF4-FFF2-40B4-BE49-F238E27FC236}">
                <a16:creationId xmlns:a16="http://schemas.microsoft.com/office/drawing/2014/main" id="{0DCE3569-0B39-49B9-98EE-705B182B8889}"/>
              </a:ext>
            </a:extLst>
          </p:cNvPr>
          <p:cNvSpPr txBox="1"/>
          <p:nvPr/>
        </p:nvSpPr>
        <p:spPr>
          <a:xfrm>
            <a:off x="2724676" y="5171369"/>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8</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83" name="TextBox 782">
            <a:extLst>
              <a:ext uri="{FF2B5EF4-FFF2-40B4-BE49-F238E27FC236}">
                <a16:creationId xmlns:a16="http://schemas.microsoft.com/office/drawing/2014/main" id="{DD02CFBE-6BF8-4344-9C0B-0BF0331C780A}"/>
              </a:ext>
            </a:extLst>
          </p:cNvPr>
          <p:cNvSpPr txBox="1"/>
          <p:nvPr/>
        </p:nvSpPr>
        <p:spPr>
          <a:xfrm>
            <a:off x="3079353" y="5171369"/>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10</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84" name="TextBox 783">
            <a:extLst>
              <a:ext uri="{FF2B5EF4-FFF2-40B4-BE49-F238E27FC236}">
                <a16:creationId xmlns:a16="http://schemas.microsoft.com/office/drawing/2014/main" id="{3E3D6165-C75E-4A1A-8A58-6ADD8F9C8D4D}"/>
              </a:ext>
            </a:extLst>
          </p:cNvPr>
          <p:cNvSpPr txBox="1"/>
          <p:nvPr/>
        </p:nvSpPr>
        <p:spPr>
          <a:xfrm>
            <a:off x="3434030" y="5171369"/>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12</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85" name="TextBox 784">
            <a:extLst>
              <a:ext uri="{FF2B5EF4-FFF2-40B4-BE49-F238E27FC236}">
                <a16:creationId xmlns:a16="http://schemas.microsoft.com/office/drawing/2014/main" id="{80056F57-6417-4CCD-89F4-85C6C01992F4}"/>
              </a:ext>
            </a:extLst>
          </p:cNvPr>
          <p:cNvSpPr txBox="1"/>
          <p:nvPr/>
        </p:nvSpPr>
        <p:spPr>
          <a:xfrm>
            <a:off x="3788709" y="5171369"/>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14</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86" name="TextBox 785">
            <a:extLst>
              <a:ext uri="{FF2B5EF4-FFF2-40B4-BE49-F238E27FC236}">
                <a16:creationId xmlns:a16="http://schemas.microsoft.com/office/drawing/2014/main" id="{EB107022-E1CE-4B9E-9383-9E2A5194982B}"/>
              </a:ext>
            </a:extLst>
          </p:cNvPr>
          <p:cNvSpPr txBox="1"/>
          <p:nvPr/>
        </p:nvSpPr>
        <p:spPr>
          <a:xfrm>
            <a:off x="4143385" y="5171369"/>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16</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87" name="TextBox 786">
            <a:extLst>
              <a:ext uri="{FF2B5EF4-FFF2-40B4-BE49-F238E27FC236}">
                <a16:creationId xmlns:a16="http://schemas.microsoft.com/office/drawing/2014/main" id="{9B37F616-4164-4BAE-B88F-5240DEAA41ED}"/>
              </a:ext>
            </a:extLst>
          </p:cNvPr>
          <p:cNvSpPr txBox="1"/>
          <p:nvPr/>
        </p:nvSpPr>
        <p:spPr>
          <a:xfrm>
            <a:off x="4498063" y="5171369"/>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18</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88" name="TextBox 787">
            <a:extLst>
              <a:ext uri="{FF2B5EF4-FFF2-40B4-BE49-F238E27FC236}">
                <a16:creationId xmlns:a16="http://schemas.microsoft.com/office/drawing/2014/main" id="{87D810B7-A19D-4F87-A995-31A1D624F0BE}"/>
              </a:ext>
            </a:extLst>
          </p:cNvPr>
          <p:cNvSpPr txBox="1"/>
          <p:nvPr/>
        </p:nvSpPr>
        <p:spPr>
          <a:xfrm>
            <a:off x="4852740" y="5171369"/>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20</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89" name="TextBox 788">
            <a:extLst>
              <a:ext uri="{FF2B5EF4-FFF2-40B4-BE49-F238E27FC236}">
                <a16:creationId xmlns:a16="http://schemas.microsoft.com/office/drawing/2014/main" id="{83FC0C0C-6A5B-4529-8460-D98069CDBAF6}"/>
              </a:ext>
            </a:extLst>
          </p:cNvPr>
          <p:cNvSpPr txBox="1"/>
          <p:nvPr/>
        </p:nvSpPr>
        <p:spPr>
          <a:xfrm>
            <a:off x="5207417" y="5171369"/>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22</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90" name="TextBox 789">
            <a:extLst>
              <a:ext uri="{FF2B5EF4-FFF2-40B4-BE49-F238E27FC236}">
                <a16:creationId xmlns:a16="http://schemas.microsoft.com/office/drawing/2014/main" id="{F3C69CD8-9694-4BF2-BBD2-10B8C2FC38E7}"/>
              </a:ext>
            </a:extLst>
          </p:cNvPr>
          <p:cNvSpPr txBox="1"/>
          <p:nvPr/>
        </p:nvSpPr>
        <p:spPr>
          <a:xfrm>
            <a:off x="5562096" y="5171369"/>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24</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91" name="TextBox 790">
            <a:extLst>
              <a:ext uri="{FF2B5EF4-FFF2-40B4-BE49-F238E27FC236}">
                <a16:creationId xmlns:a16="http://schemas.microsoft.com/office/drawing/2014/main" id="{8FE9AB89-1981-4FAF-AD99-6F50DC52C160}"/>
              </a:ext>
            </a:extLst>
          </p:cNvPr>
          <p:cNvSpPr txBox="1"/>
          <p:nvPr/>
        </p:nvSpPr>
        <p:spPr>
          <a:xfrm>
            <a:off x="5916773" y="5171369"/>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26</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92" name="TextBox 791">
            <a:extLst>
              <a:ext uri="{FF2B5EF4-FFF2-40B4-BE49-F238E27FC236}">
                <a16:creationId xmlns:a16="http://schemas.microsoft.com/office/drawing/2014/main" id="{BE7F3AF1-003A-4D84-8D8C-CB6E969020E3}"/>
              </a:ext>
            </a:extLst>
          </p:cNvPr>
          <p:cNvSpPr txBox="1"/>
          <p:nvPr/>
        </p:nvSpPr>
        <p:spPr>
          <a:xfrm>
            <a:off x="6271450" y="5171369"/>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28</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93" name="TextBox 792">
            <a:extLst>
              <a:ext uri="{FF2B5EF4-FFF2-40B4-BE49-F238E27FC236}">
                <a16:creationId xmlns:a16="http://schemas.microsoft.com/office/drawing/2014/main" id="{AA10AD53-147C-4048-906C-1E82A787A290}"/>
              </a:ext>
            </a:extLst>
          </p:cNvPr>
          <p:cNvSpPr txBox="1"/>
          <p:nvPr/>
        </p:nvSpPr>
        <p:spPr>
          <a:xfrm>
            <a:off x="6626128" y="5171369"/>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30</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94" name="TextBox 793">
            <a:extLst>
              <a:ext uri="{FF2B5EF4-FFF2-40B4-BE49-F238E27FC236}">
                <a16:creationId xmlns:a16="http://schemas.microsoft.com/office/drawing/2014/main" id="{F360A007-DE7D-4D93-A7A4-374510CA8C44}"/>
              </a:ext>
            </a:extLst>
          </p:cNvPr>
          <p:cNvSpPr txBox="1"/>
          <p:nvPr/>
        </p:nvSpPr>
        <p:spPr>
          <a:xfrm>
            <a:off x="1305966"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99</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95" name="TextBox 794">
            <a:extLst>
              <a:ext uri="{FF2B5EF4-FFF2-40B4-BE49-F238E27FC236}">
                <a16:creationId xmlns:a16="http://schemas.microsoft.com/office/drawing/2014/main" id="{313B737F-9F42-481C-9FF3-CD2515A78075}"/>
              </a:ext>
            </a:extLst>
          </p:cNvPr>
          <p:cNvSpPr txBox="1"/>
          <p:nvPr/>
        </p:nvSpPr>
        <p:spPr>
          <a:xfrm>
            <a:off x="6803476"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0</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96" name="TextBox 795">
            <a:extLst>
              <a:ext uri="{FF2B5EF4-FFF2-40B4-BE49-F238E27FC236}">
                <a16:creationId xmlns:a16="http://schemas.microsoft.com/office/drawing/2014/main" id="{CB725731-4ED6-4DEA-B8AF-181582E3F385}"/>
              </a:ext>
            </a:extLst>
          </p:cNvPr>
          <p:cNvSpPr txBox="1"/>
          <p:nvPr/>
        </p:nvSpPr>
        <p:spPr>
          <a:xfrm>
            <a:off x="1483305"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89</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97" name="TextBox 796">
            <a:extLst>
              <a:ext uri="{FF2B5EF4-FFF2-40B4-BE49-F238E27FC236}">
                <a16:creationId xmlns:a16="http://schemas.microsoft.com/office/drawing/2014/main" id="{FA95B24D-56FF-44F6-9D88-87762CB84D29}"/>
              </a:ext>
            </a:extLst>
          </p:cNvPr>
          <p:cNvSpPr txBox="1"/>
          <p:nvPr/>
        </p:nvSpPr>
        <p:spPr>
          <a:xfrm>
            <a:off x="1660643"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53</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98" name="TextBox 797">
            <a:extLst>
              <a:ext uri="{FF2B5EF4-FFF2-40B4-BE49-F238E27FC236}">
                <a16:creationId xmlns:a16="http://schemas.microsoft.com/office/drawing/2014/main" id="{6475C0FC-73F9-4B11-8CB7-4C28B59B545D}"/>
              </a:ext>
            </a:extLst>
          </p:cNvPr>
          <p:cNvSpPr txBox="1"/>
          <p:nvPr/>
        </p:nvSpPr>
        <p:spPr>
          <a:xfrm>
            <a:off x="1837981"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47</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99" name="TextBox 798">
            <a:extLst>
              <a:ext uri="{FF2B5EF4-FFF2-40B4-BE49-F238E27FC236}">
                <a16:creationId xmlns:a16="http://schemas.microsoft.com/office/drawing/2014/main" id="{6D8C8355-ACE7-4D49-B034-72C179EB142D}"/>
              </a:ext>
            </a:extLst>
          </p:cNvPr>
          <p:cNvSpPr txBox="1"/>
          <p:nvPr/>
        </p:nvSpPr>
        <p:spPr>
          <a:xfrm>
            <a:off x="2015321"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32</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00" name="TextBox 799">
            <a:extLst>
              <a:ext uri="{FF2B5EF4-FFF2-40B4-BE49-F238E27FC236}">
                <a16:creationId xmlns:a16="http://schemas.microsoft.com/office/drawing/2014/main" id="{9115C36A-416B-41CA-B799-FD9B8C31267D}"/>
              </a:ext>
            </a:extLst>
          </p:cNvPr>
          <p:cNvSpPr txBox="1"/>
          <p:nvPr/>
        </p:nvSpPr>
        <p:spPr>
          <a:xfrm>
            <a:off x="2192660"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31</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01" name="TextBox 800">
            <a:extLst>
              <a:ext uri="{FF2B5EF4-FFF2-40B4-BE49-F238E27FC236}">
                <a16:creationId xmlns:a16="http://schemas.microsoft.com/office/drawing/2014/main" id="{FDD46753-D17F-4C00-82AB-34D44BA6C68C}"/>
              </a:ext>
            </a:extLst>
          </p:cNvPr>
          <p:cNvSpPr txBox="1"/>
          <p:nvPr/>
        </p:nvSpPr>
        <p:spPr>
          <a:xfrm>
            <a:off x="2369998"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14</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02" name="TextBox 801">
            <a:extLst>
              <a:ext uri="{FF2B5EF4-FFF2-40B4-BE49-F238E27FC236}">
                <a16:creationId xmlns:a16="http://schemas.microsoft.com/office/drawing/2014/main" id="{AA40A2FE-1191-49C8-A680-B62A309D1FB0}"/>
              </a:ext>
            </a:extLst>
          </p:cNvPr>
          <p:cNvSpPr txBox="1"/>
          <p:nvPr/>
        </p:nvSpPr>
        <p:spPr>
          <a:xfrm>
            <a:off x="2547337"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09</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03" name="TextBox 802">
            <a:extLst>
              <a:ext uri="{FF2B5EF4-FFF2-40B4-BE49-F238E27FC236}">
                <a16:creationId xmlns:a16="http://schemas.microsoft.com/office/drawing/2014/main" id="{43D49CB2-55D1-4D5A-9E03-94F76E605751}"/>
              </a:ext>
            </a:extLst>
          </p:cNvPr>
          <p:cNvSpPr txBox="1"/>
          <p:nvPr/>
        </p:nvSpPr>
        <p:spPr>
          <a:xfrm>
            <a:off x="2724676"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03</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04" name="TextBox 803">
            <a:extLst>
              <a:ext uri="{FF2B5EF4-FFF2-40B4-BE49-F238E27FC236}">
                <a16:creationId xmlns:a16="http://schemas.microsoft.com/office/drawing/2014/main" id="{C602A322-3B0F-4C1B-95CA-5712F0BC294B}"/>
              </a:ext>
            </a:extLst>
          </p:cNvPr>
          <p:cNvSpPr txBox="1"/>
          <p:nvPr/>
        </p:nvSpPr>
        <p:spPr>
          <a:xfrm>
            <a:off x="2902014"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83</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05" name="TextBox 804">
            <a:extLst>
              <a:ext uri="{FF2B5EF4-FFF2-40B4-BE49-F238E27FC236}">
                <a16:creationId xmlns:a16="http://schemas.microsoft.com/office/drawing/2014/main" id="{FBD2BFFF-C35E-4CBB-A53D-6E60238D486D}"/>
              </a:ext>
            </a:extLst>
          </p:cNvPr>
          <p:cNvSpPr txBox="1"/>
          <p:nvPr/>
        </p:nvSpPr>
        <p:spPr>
          <a:xfrm>
            <a:off x="3079353"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75</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06" name="TextBox 805">
            <a:extLst>
              <a:ext uri="{FF2B5EF4-FFF2-40B4-BE49-F238E27FC236}">
                <a16:creationId xmlns:a16="http://schemas.microsoft.com/office/drawing/2014/main" id="{40C0C3AA-6F2A-4AE7-99AC-5B4DCAEA1809}"/>
              </a:ext>
            </a:extLst>
          </p:cNvPr>
          <p:cNvSpPr txBox="1"/>
          <p:nvPr/>
        </p:nvSpPr>
        <p:spPr>
          <a:xfrm>
            <a:off x="3256692"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67</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07" name="TextBox 806">
            <a:extLst>
              <a:ext uri="{FF2B5EF4-FFF2-40B4-BE49-F238E27FC236}">
                <a16:creationId xmlns:a16="http://schemas.microsoft.com/office/drawing/2014/main" id="{8D12EF3E-5BD9-4347-936E-5403FC2FD616}"/>
              </a:ext>
            </a:extLst>
          </p:cNvPr>
          <p:cNvSpPr txBox="1"/>
          <p:nvPr/>
        </p:nvSpPr>
        <p:spPr>
          <a:xfrm>
            <a:off x="3434030"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49</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08" name="TextBox 807">
            <a:extLst>
              <a:ext uri="{FF2B5EF4-FFF2-40B4-BE49-F238E27FC236}">
                <a16:creationId xmlns:a16="http://schemas.microsoft.com/office/drawing/2014/main" id="{27D8526B-6952-4F83-A364-D15EEE3D6A03}"/>
              </a:ext>
            </a:extLst>
          </p:cNvPr>
          <p:cNvSpPr txBox="1"/>
          <p:nvPr/>
        </p:nvSpPr>
        <p:spPr>
          <a:xfrm>
            <a:off x="3611369"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40</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09" name="TextBox 808">
            <a:extLst>
              <a:ext uri="{FF2B5EF4-FFF2-40B4-BE49-F238E27FC236}">
                <a16:creationId xmlns:a16="http://schemas.microsoft.com/office/drawing/2014/main" id="{6269B065-3043-4206-BDD3-ABF146738560}"/>
              </a:ext>
            </a:extLst>
          </p:cNvPr>
          <p:cNvSpPr txBox="1"/>
          <p:nvPr/>
        </p:nvSpPr>
        <p:spPr>
          <a:xfrm>
            <a:off x="3788709"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21</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10" name="TextBox 809">
            <a:extLst>
              <a:ext uri="{FF2B5EF4-FFF2-40B4-BE49-F238E27FC236}">
                <a16:creationId xmlns:a16="http://schemas.microsoft.com/office/drawing/2014/main" id="{085912E9-C127-4893-AE19-85B44EDD8BC6}"/>
              </a:ext>
            </a:extLst>
          </p:cNvPr>
          <p:cNvSpPr txBox="1"/>
          <p:nvPr/>
        </p:nvSpPr>
        <p:spPr>
          <a:xfrm>
            <a:off x="3966047"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17</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11" name="TextBox 810">
            <a:extLst>
              <a:ext uri="{FF2B5EF4-FFF2-40B4-BE49-F238E27FC236}">
                <a16:creationId xmlns:a16="http://schemas.microsoft.com/office/drawing/2014/main" id="{41178941-1272-40CE-8597-C28EFD722839}"/>
              </a:ext>
            </a:extLst>
          </p:cNvPr>
          <p:cNvSpPr txBox="1"/>
          <p:nvPr/>
        </p:nvSpPr>
        <p:spPr>
          <a:xfrm>
            <a:off x="4143385"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15</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12" name="TextBox 811">
            <a:extLst>
              <a:ext uri="{FF2B5EF4-FFF2-40B4-BE49-F238E27FC236}">
                <a16:creationId xmlns:a16="http://schemas.microsoft.com/office/drawing/2014/main" id="{EF8EF1ED-614A-47B8-8C34-2FBBF1AA3760}"/>
              </a:ext>
            </a:extLst>
          </p:cNvPr>
          <p:cNvSpPr txBox="1"/>
          <p:nvPr/>
        </p:nvSpPr>
        <p:spPr>
          <a:xfrm>
            <a:off x="4320724"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165</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13" name="TextBox 812">
            <a:extLst>
              <a:ext uri="{FF2B5EF4-FFF2-40B4-BE49-F238E27FC236}">
                <a16:creationId xmlns:a16="http://schemas.microsoft.com/office/drawing/2014/main" id="{20E1173C-C3F3-4F5C-9C68-BD5247CF5B60}"/>
              </a:ext>
            </a:extLst>
          </p:cNvPr>
          <p:cNvSpPr txBox="1"/>
          <p:nvPr/>
        </p:nvSpPr>
        <p:spPr>
          <a:xfrm>
            <a:off x="4498063"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161</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14" name="TextBox 813">
            <a:extLst>
              <a:ext uri="{FF2B5EF4-FFF2-40B4-BE49-F238E27FC236}">
                <a16:creationId xmlns:a16="http://schemas.microsoft.com/office/drawing/2014/main" id="{5577FA0B-6435-4873-ACA7-EF06977ECF36}"/>
              </a:ext>
            </a:extLst>
          </p:cNvPr>
          <p:cNvSpPr txBox="1"/>
          <p:nvPr/>
        </p:nvSpPr>
        <p:spPr>
          <a:xfrm>
            <a:off x="4675402"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159</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15" name="TextBox 814">
            <a:extLst>
              <a:ext uri="{FF2B5EF4-FFF2-40B4-BE49-F238E27FC236}">
                <a16:creationId xmlns:a16="http://schemas.microsoft.com/office/drawing/2014/main" id="{21D935C2-EA14-4A15-A3F7-CDB3F03CD99A}"/>
              </a:ext>
            </a:extLst>
          </p:cNvPr>
          <p:cNvSpPr txBox="1"/>
          <p:nvPr/>
        </p:nvSpPr>
        <p:spPr>
          <a:xfrm>
            <a:off x="4852740"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96</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16" name="TextBox 815">
            <a:extLst>
              <a:ext uri="{FF2B5EF4-FFF2-40B4-BE49-F238E27FC236}">
                <a16:creationId xmlns:a16="http://schemas.microsoft.com/office/drawing/2014/main" id="{26331572-9E60-4A74-ADFE-ABB5625D4F81}"/>
              </a:ext>
            </a:extLst>
          </p:cNvPr>
          <p:cNvSpPr txBox="1"/>
          <p:nvPr/>
        </p:nvSpPr>
        <p:spPr>
          <a:xfrm>
            <a:off x="5030078"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89</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17" name="TextBox 816">
            <a:extLst>
              <a:ext uri="{FF2B5EF4-FFF2-40B4-BE49-F238E27FC236}">
                <a16:creationId xmlns:a16="http://schemas.microsoft.com/office/drawing/2014/main" id="{A951ECCC-161C-4470-8251-9670A23DDDB4}"/>
              </a:ext>
            </a:extLst>
          </p:cNvPr>
          <p:cNvSpPr txBox="1"/>
          <p:nvPr/>
        </p:nvSpPr>
        <p:spPr>
          <a:xfrm>
            <a:off x="5207417"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80</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18" name="TextBox 817">
            <a:extLst>
              <a:ext uri="{FF2B5EF4-FFF2-40B4-BE49-F238E27FC236}">
                <a16:creationId xmlns:a16="http://schemas.microsoft.com/office/drawing/2014/main" id="{F4AA6832-2E8A-4A34-B4FB-974F129D9CE5}"/>
              </a:ext>
            </a:extLst>
          </p:cNvPr>
          <p:cNvSpPr txBox="1"/>
          <p:nvPr/>
        </p:nvSpPr>
        <p:spPr>
          <a:xfrm>
            <a:off x="5384757"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55</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19" name="TextBox 818">
            <a:extLst>
              <a:ext uri="{FF2B5EF4-FFF2-40B4-BE49-F238E27FC236}">
                <a16:creationId xmlns:a16="http://schemas.microsoft.com/office/drawing/2014/main" id="{F888F42F-0EDB-409C-80BF-FCDAB147D6A3}"/>
              </a:ext>
            </a:extLst>
          </p:cNvPr>
          <p:cNvSpPr txBox="1"/>
          <p:nvPr/>
        </p:nvSpPr>
        <p:spPr>
          <a:xfrm>
            <a:off x="5562096"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53</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20" name="TextBox 819">
            <a:extLst>
              <a:ext uri="{FF2B5EF4-FFF2-40B4-BE49-F238E27FC236}">
                <a16:creationId xmlns:a16="http://schemas.microsoft.com/office/drawing/2014/main" id="{00AFB9C0-F64A-4746-BAD3-1AC140A14CB3}"/>
              </a:ext>
            </a:extLst>
          </p:cNvPr>
          <p:cNvSpPr txBox="1"/>
          <p:nvPr/>
        </p:nvSpPr>
        <p:spPr>
          <a:xfrm>
            <a:off x="5739434"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0</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21" name="TextBox 820">
            <a:extLst>
              <a:ext uri="{FF2B5EF4-FFF2-40B4-BE49-F238E27FC236}">
                <a16:creationId xmlns:a16="http://schemas.microsoft.com/office/drawing/2014/main" id="{34ABC8D1-02C0-499A-A17E-4917072939DE}"/>
              </a:ext>
            </a:extLst>
          </p:cNvPr>
          <p:cNvSpPr txBox="1"/>
          <p:nvPr/>
        </p:nvSpPr>
        <p:spPr>
          <a:xfrm>
            <a:off x="5916773"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8</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22" name="TextBox 821">
            <a:extLst>
              <a:ext uri="{FF2B5EF4-FFF2-40B4-BE49-F238E27FC236}">
                <a16:creationId xmlns:a16="http://schemas.microsoft.com/office/drawing/2014/main" id="{D4E1956E-7984-48A2-83A3-4D90BEB4D70D}"/>
              </a:ext>
            </a:extLst>
          </p:cNvPr>
          <p:cNvSpPr txBox="1"/>
          <p:nvPr/>
        </p:nvSpPr>
        <p:spPr>
          <a:xfrm>
            <a:off x="6094111"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6</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23" name="TextBox 822">
            <a:extLst>
              <a:ext uri="{FF2B5EF4-FFF2-40B4-BE49-F238E27FC236}">
                <a16:creationId xmlns:a16="http://schemas.microsoft.com/office/drawing/2014/main" id="{F3209721-83A5-4887-B077-E2890DD9640C}"/>
              </a:ext>
            </a:extLst>
          </p:cNvPr>
          <p:cNvSpPr txBox="1"/>
          <p:nvPr/>
        </p:nvSpPr>
        <p:spPr>
          <a:xfrm>
            <a:off x="6271450"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5</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24" name="TextBox 823">
            <a:extLst>
              <a:ext uri="{FF2B5EF4-FFF2-40B4-BE49-F238E27FC236}">
                <a16:creationId xmlns:a16="http://schemas.microsoft.com/office/drawing/2014/main" id="{E3F56FDC-4B9B-48AD-8579-24DEC0088BB2}"/>
              </a:ext>
            </a:extLst>
          </p:cNvPr>
          <p:cNvSpPr txBox="1"/>
          <p:nvPr/>
        </p:nvSpPr>
        <p:spPr>
          <a:xfrm>
            <a:off x="6448789"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4</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25" name="TextBox 824">
            <a:extLst>
              <a:ext uri="{FF2B5EF4-FFF2-40B4-BE49-F238E27FC236}">
                <a16:creationId xmlns:a16="http://schemas.microsoft.com/office/drawing/2014/main" id="{FC1190D8-CF32-4060-86DD-3D065ACCBE0E}"/>
              </a:ext>
            </a:extLst>
          </p:cNvPr>
          <p:cNvSpPr txBox="1"/>
          <p:nvPr/>
        </p:nvSpPr>
        <p:spPr>
          <a:xfrm>
            <a:off x="6626128" y="5669910"/>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4</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26" name="TextBox 825">
            <a:extLst>
              <a:ext uri="{FF2B5EF4-FFF2-40B4-BE49-F238E27FC236}">
                <a16:creationId xmlns:a16="http://schemas.microsoft.com/office/drawing/2014/main" id="{EBA560C2-1E63-4F37-B409-67686F106802}"/>
              </a:ext>
            </a:extLst>
          </p:cNvPr>
          <p:cNvSpPr txBox="1"/>
          <p:nvPr/>
        </p:nvSpPr>
        <p:spPr>
          <a:xfrm>
            <a:off x="1305966"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97</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27" name="TextBox 826">
            <a:extLst>
              <a:ext uri="{FF2B5EF4-FFF2-40B4-BE49-F238E27FC236}">
                <a16:creationId xmlns:a16="http://schemas.microsoft.com/office/drawing/2014/main" id="{D2909366-ED20-4A15-987E-E7AFAAD6084D}"/>
              </a:ext>
            </a:extLst>
          </p:cNvPr>
          <p:cNvSpPr txBox="1"/>
          <p:nvPr/>
        </p:nvSpPr>
        <p:spPr>
          <a:xfrm>
            <a:off x="6803476"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0</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28" name="TextBox 827">
            <a:extLst>
              <a:ext uri="{FF2B5EF4-FFF2-40B4-BE49-F238E27FC236}">
                <a16:creationId xmlns:a16="http://schemas.microsoft.com/office/drawing/2014/main" id="{C538C442-591A-40FB-A879-4CDD92D13EF0}"/>
              </a:ext>
            </a:extLst>
          </p:cNvPr>
          <p:cNvSpPr txBox="1"/>
          <p:nvPr/>
        </p:nvSpPr>
        <p:spPr>
          <a:xfrm>
            <a:off x="1483305"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88</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29" name="TextBox 828">
            <a:extLst>
              <a:ext uri="{FF2B5EF4-FFF2-40B4-BE49-F238E27FC236}">
                <a16:creationId xmlns:a16="http://schemas.microsoft.com/office/drawing/2014/main" id="{4A260A1B-E6E8-4B26-AB31-87324947D958}"/>
              </a:ext>
            </a:extLst>
          </p:cNvPr>
          <p:cNvSpPr txBox="1"/>
          <p:nvPr/>
        </p:nvSpPr>
        <p:spPr>
          <a:xfrm>
            <a:off x="1660643"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45</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30" name="TextBox 829">
            <a:extLst>
              <a:ext uri="{FF2B5EF4-FFF2-40B4-BE49-F238E27FC236}">
                <a16:creationId xmlns:a16="http://schemas.microsoft.com/office/drawing/2014/main" id="{2C62A4BE-7EC0-4110-B80C-DCDB290208DB}"/>
              </a:ext>
            </a:extLst>
          </p:cNvPr>
          <p:cNvSpPr txBox="1"/>
          <p:nvPr/>
        </p:nvSpPr>
        <p:spPr>
          <a:xfrm>
            <a:off x="1837981"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40</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31" name="TextBox 830">
            <a:extLst>
              <a:ext uri="{FF2B5EF4-FFF2-40B4-BE49-F238E27FC236}">
                <a16:creationId xmlns:a16="http://schemas.microsoft.com/office/drawing/2014/main" id="{A458B8BD-A909-41D7-A64C-3CA73709B578}"/>
              </a:ext>
            </a:extLst>
          </p:cNvPr>
          <p:cNvSpPr txBox="1"/>
          <p:nvPr/>
        </p:nvSpPr>
        <p:spPr>
          <a:xfrm>
            <a:off x="2015321"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22</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32" name="TextBox 831">
            <a:extLst>
              <a:ext uri="{FF2B5EF4-FFF2-40B4-BE49-F238E27FC236}">
                <a16:creationId xmlns:a16="http://schemas.microsoft.com/office/drawing/2014/main" id="{05121A77-A0AC-4BE5-8BEB-8326E4C913A1}"/>
              </a:ext>
            </a:extLst>
          </p:cNvPr>
          <p:cNvSpPr txBox="1"/>
          <p:nvPr/>
        </p:nvSpPr>
        <p:spPr>
          <a:xfrm>
            <a:off x="2192660"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19</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33" name="TextBox 832">
            <a:extLst>
              <a:ext uri="{FF2B5EF4-FFF2-40B4-BE49-F238E27FC236}">
                <a16:creationId xmlns:a16="http://schemas.microsoft.com/office/drawing/2014/main" id="{B4A6D724-4083-4A44-B24B-8B5294951FDD}"/>
              </a:ext>
            </a:extLst>
          </p:cNvPr>
          <p:cNvSpPr txBox="1"/>
          <p:nvPr/>
        </p:nvSpPr>
        <p:spPr>
          <a:xfrm>
            <a:off x="2369998"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94</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34" name="TextBox 833">
            <a:extLst>
              <a:ext uri="{FF2B5EF4-FFF2-40B4-BE49-F238E27FC236}">
                <a16:creationId xmlns:a16="http://schemas.microsoft.com/office/drawing/2014/main" id="{1140F341-8779-4002-BB39-6F16CEEE3D2B}"/>
              </a:ext>
            </a:extLst>
          </p:cNvPr>
          <p:cNvSpPr txBox="1"/>
          <p:nvPr/>
        </p:nvSpPr>
        <p:spPr>
          <a:xfrm>
            <a:off x="2547337"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89</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35" name="TextBox 834">
            <a:extLst>
              <a:ext uri="{FF2B5EF4-FFF2-40B4-BE49-F238E27FC236}">
                <a16:creationId xmlns:a16="http://schemas.microsoft.com/office/drawing/2014/main" id="{590CEC86-04CA-466B-8C9D-62F9BF2DFE62}"/>
              </a:ext>
            </a:extLst>
          </p:cNvPr>
          <p:cNvSpPr txBox="1"/>
          <p:nvPr/>
        </p:nvSpPr>
        <p:spPr>
          <a:xfrm>
            <a:off x="2724676"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82</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36" name="TextBox 835">
            <a:extLst>
              <a:ext uri="{FF2B5EF4-FFF2-40B4-BE49-F238E27FC236}">
                <a16:creationId xmlns:a16="http://schemas.microsoft.com/office/drawing/2014/main" id="{CFABB614-E389-4C17-A32A-057F37627E14}"/>
              </a:ext>
            </a:extLst>
          </p:cNvPr>
          <p:cNvSpPr txBox="1"/>
          <p:nvPr/>
        </p:nvSpPr>
        <p:spPr>
          <a:xfrm>
            <a:off x="2902014"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51</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37" name="TextBox 836">
            <a:extLst>
              <a:ext uri="{FF2B5EF4-FFF2-40B4-BE49-F238E27FC236}">
                <a16:creationId xmlns:a16="http://schemas.microsoft.com/office/drawing/2014/main" id="{22EF5D07-3BC0-4960-B6D0-D5537E14043E}"/>
              </a:ext>
            </a:extLst>
          </p:cNvPr>
          <p:cNvSpPr txBox="1"/>
          <p:nvPr/>
        </p:nvSpPr>
        <p:spPr>
          <a:xfrm>
            <a:off x="3079353"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45</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38" name="TextBox 837">
            <a:extLst>
              <a:ext uri="{FF2B5EF4-FFF2-40B4-BE49-F238E27FC236}">
                <a16:creationId xmlns:a16="http://schemas.microsoft.com/office/drawing/2014/main" id="{75B1B524-0FBB-483E-BE23-BA3C5C0C3C7B}"/>
              </a:ext>
            </a:extLst>
          </p:cNvPr>
          <p:cNvSpPr txBox="1"/>
          <p:nvPr/>
        </p:nvSpPr>
        <p:spPr>
          <a:xfrm>
            <a:off x="3256692"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26</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39" name="TextBox 838">
            <a:extLst>
              <a:ext uri="{FF2B5EF4-FFF2-40B4-BE49-F238E27FC236}">
                <a16:creationId xmlns:a16="http://schemas.microsoft.com/office/drawing/2014/main" id="{97779893-82DE-46CD-8C99-4A02CF26BB87}"/>
              </a:ext>
            </a:extLst>
          </p:cNvPr>
          <p:cNvSpPr txBox="1"/>
          <p:nvPr/>
        </p:nvSpPr>
        <p:spPr>
          <a:xfrm>
            <a:off x="3434030"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09</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40" name="TextBox 839">
            <a:extLst>
              <a:ext uri="{FF2B5EF4-FFF2-40B4-BE49-F238E27FC236}">
                <a16:creationId xmlns:a16="http://schemas.microsoft.com/office/drawing/2014/main" id="{18AF813C-69BB-4EA6-B930-7429121C4726}"/>
              </a:ext>
            </a:extLst>
          </p:cNvPr>
          <p:cNvSpPr txBox="1"/>
          <p:nvPr/>
        </p:nvSpPr>
        <p:spPr>
          <a:xfrm>
            <a:off x="3611369"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04</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41" name="TextBox 840">
            <a:extLst>
              <a:ext uri="{FF2B5EF4-FFF2-40B4-BE49-F238E27FC236}">
                <a16:creationId xmlns:a16="http://schemas.microsoft.com/office/drawing/2014/main" id="{80F4824B-2EBE-4A2A-841F-700A5A47C11A}"/>
              </a:ext>
            </a:extLst>
          </p:cNvPr>
          <p:cNvSpPr txBox="1"/>
          <p:nvPr/>
        </p:nvSpPr>
        <p:spPr>
          <a:xfrm>
            <a:off x="3788709"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177</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42" name="TextBox 841">
            <a:extLst>
              <a:ext uri="{FF2B5EF4-FFF2-40B4-BE49-F238E27FC236}">
                <a16:creationId xmlns:a16="http://schemas.microsoft.com/office/drawing/2014/main" id="{839E7688-88FB-4DB7-96E3-00634B8642D6}"/>
              </a:ext>
            </a:extLst>
          </p:cNvPr>
          <p:cNvSpPr txBox="1"/>
          <p:nvPr/>
        </p:nvSpPr>
        <p:spPr>
          <a:xfrm>
            <a:off x="3966047"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172</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43" name="TextBox 842">
            <a:extLst>
              <a:ext uri="{FF2B5EF4-FFF2-40B4-BE49-F238E27FC236}">
                <a16:creationId xmlns:a16="http://schemas.microsoft.com/office/drawing/2014/main" id="{CCE90C72-A369-49F5-940D-A51630DDADDF}"/>
              </a:ext>
            </a:extLst>
          </p:cNvPr>
          <p:cNvSpPr txBox="1"/>
          <p:nvPr/>
        </p:nvSpPr>
        <p:spPr>
          <a:xfrm>
            <a:off x="4143385"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168</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44" name="TextBox 843">
            <a:extLst>
              <a:ext uri="{FF2B5EF4-FFF2-40B4-BE49-F238E27FC236}">
                <a16:creationId xmlns:a16="http://schemas.microsoft.com/office/drawing/2014/main" id="{980781A5-DB9B-4591-A73B-1A0CD84A39FF}"/>
              </a:ext>
            </a:extLst>
          </p:cNvPr>
          <p:cNvSpPr txBox="1"/>
          <p:nvPr/>
        </p:nvSpPr>
        <p:spPr>
          <a:xfrm>
            <a:off x="4320724"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131</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45" name="TextBox 844">
            <a:extLst>
              <a:ext uri="{FF2B5EF4-FFF2-40B4-BE49-F238E27FC236}">
                <a16:creationId xmlns:a16="http://schemas.microsoft.com/office/drawing/2014/main" id="{C9BAB7A0-259A-414E-8C07-959B920F4391}"/>
              </a:ext>
            </a:extLst>
          </p:cNvPr>
          <p:cNvSpPr txBox="1"/>
          <p:nvPr/>
        </p:nvSpPr>
        <p:spPr>
          <a:xfrm>
            <a:off x="4498063"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126</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46" name="TextBox 845">
            <a:extLst>
              <a:ext uri="{FF2B5EF4-FFF2-40B4-BE49-F238E27FC236}">
                <a16:creationId xmlns:a16="http://schemas.microsoft.com/office/drawing/2014/main" id="{2433437F-69A8-4D9D-A02F-02CD759377CC}"/>
              </a:ext>
            </a:extLst>
          </p:cNvPr>
          <p:cNvSpPr txBox="1"/>
          <p:nvPr/>
        </p:nvSpPr>
        <p:spPr>
          <a:xfrm>
            <a:off x="4675402"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124</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47" name="TextBox 846">
            <a:extLst>
              <a:ext uri="{FF2B5EF4-FFF2-40B4-BE49-F238E27FC236}">
                <a16:creationId xmlns:a16="http://schemas.microsoft.com/office/drawing/2014/main" id="{EBE9E643-26A0-4B6D-A037-F94017A4C9D6}"/>
              </a:ext>
            </a:extLst>
          </p:cNvPr>
          <p:cNvSpPr txBox="1"/>
          <p:nvPr/>
        </p:nvSpPr>
        <p:spPr>
          <a:xfrm>
            <a:off x="4852740"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73</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48" name="TextBox 847">
            <a:extLst>
              <a:ext uri="{FF2B5EF4-FFF2-40B4-BE49-F238E27FC236}">
                <a16:creationId xmlns:a16="http://schemas.microsoft.com/office/drawing/2014/main" id="{5A437A72-00F8-4229-803A-0E44AC4E6375}"/>
              </a:ext>
            </a:extLst>
          </p:cNvPr>
          <p:cNvSpPr txBox="1"/>
          <p:nvPr/>
        </p:nvSpPr>
        <p:spPr>
          <a:xfrm>
            <a:off x="5030078"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70</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49" name="TextBox 848">
            <a:extLst>
              <a:ext uri="{FF2B5EF4-FFF2-40B4-BE49-F238E27FC236}">
                <a16:creationId xmlns:a16="http://schemas.microsoft.com/office/drawing/2014/main" id="{2DA327C6-C2F2-4046-AEE2-1D28F6D8E51F}"/>
              </a:ext>
            </a:extLst>
          </p:cNvPr>
          <p:cNvSpPr txBox="1"/>
          <p:nvPr/>
        </p:nvSpPr>
        <p:spPr>
          <a:xfrm>
            <a:off x="5207417"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62</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50" name="TextBox 849">
            <a:extLst>
              <a:ext uri="{FF2B5EF4-FFF2-40B4-BE49-F238E27FC236}">
                <a16:creationId xmlns:a16="http://schemas.microsoft.com/office/drawing/2014/main" id="{5349B727-9F56-4DF9-BE5C-78D5FAE0F7B3}"/>
              </a:ext>
            </a:extLst>
          </p:cNvPr>
          <p:cNvSpPr txBox="1"/>
          <p:nvPr/>
        </p:nvSpPr>
        <p:spPr>
          <a:xfrm>
            <a:off x="5384757"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9</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51" name="TextBox 850">
            <a:extLst>
              <a:ext uri="{FF2B5EF4-FFF2-40B4-BE49-F238E27FC236}">
                <a16:creationId xmlns:a16="http://schemas.microsoft.com/office/drawing/2014/main" id="{B8C5B52C-EF28-4182-A9EC-79F5249C63C2}"/>
              </a:ext>
            </a:extLst>
          </p:cNvPr>
          <p:cNvSpPr txBox="1"/>
          <p:nvPr/>
        </p:nvSpPr>
        <p:spPr>
          <a:xfrm>
            <a:off x="5562096"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38</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52" name="TextBox 851">
            <a:extLst>
              <a:ext uri="{FF2B5EF4-FFF2-40B4-BE49-F238E27FC236}">
                <a16:creationId xmlns:a16="http://schemas.microsoft.com/office/drawing/2014/main" id="{6B3F1F2E-F06A-405D-ADD6-E4BA8E8FF3D7}"/>
              </a:ext>
            </a:extLst>
          </p:cNvPr>
          <p:cNvSpPr txBox="1"/>
          <p:nvPr/>
        </p:nvSpPr>
        <p:spPr>
          <a:xfrm>
            <a:off x="5739434"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1</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53" name="TextBox 852">
            <a:extLst>
              <a:ext uri="{FF2B5EF4-FFF2-40B4-BE49-F238E27FC236}">
                <a16:creationId xmlns:a16="http://schemas.microsoft.com/office/drawing/2014/main" id="{5E5650A1-841F-4876-93C4-230A3C07AAC9}"/>
              </a:ext>
            </a:extLst>
          </p:cNvPr>
          <p:cNvSpPr txBox="1"/>
          <p:nvPr/>
        </p:nvSpPr>
        <p:spPr>
          <a:xfrm>
            <a:off x="5916773"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16</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54" name="TextBox 853">
            <a:extLst>
              <a:ext uri="{FF2B5EF4-FFF2-40B4-BE49-F238E27FC236}">
                <a16:creationId xmlns:a16="http://schemas.microsoft.com/office/drawing/2014/main" id="{96A0BE14-FF48-47C8-A05C-4BD9E7F86011}"/>
              </a:ext>
            </a:extLst>
          </p:cNvPr>
          <p:cNvSpPr txBox="1"/>
          <p:nvPr/>
        </p:nvSpPr>
        <p:spPr>
          <a:xfrm>
            <a:off x="6094111"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15</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55" name="TextBox 854">
            <a:extLst>
              <a:ext uri="{FF2B5EF4-FFF2-40B4-BE49-F238E27FC236}">
                <a16:creationId xmlns:a16="http://schemas.microsoft.com/office/drawing/2014/main" id="{305F7D9B-32AF-4378-8E36-A2F06B5D8609}"/>
              </a:ext>
            </a:extLst>
          </p:cNvPr>
          <p:cNvSpPr txBox="1"/>
          <p:nvPr/>
        </p:nvSpPr>
        <p:spPr>
          <a:xfrm>
            <a:off x="6271450"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56" name="TextBox 855">
            <a:extLst>
              <a:ext uri="{FF2B5EF4-FFF2-40B4-BE49-F238E27FC236}">
                <a16:creationId xmlns:a16="http://schemas.microsoft.com/office/drawing/2014/main" id="{5AB86B0A-76F3-43F0-920C-F95FB62CBCE3}"/>
              </a:ext>
            </a:extLst>
          </p:cNvPr>
          <p:cNvSpPr txBox="1"/>
          <p:nvPr/>
        </p:nvSpPr>
        <p:spPr>
          <a:xfrm>
            <a:off x="6448789"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2</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57" name="TextBox 856">
            <a:extLst>
              <a:ext uri="{FF2B5EF4-FFF2-40B4-BE49-F238E27FC236}">
                <a16:creationId xmlns:a16="http://schemas.microsoft.com/office/drawing/2014/main" id="{B94AE807-48A6-4A74-91B0-8CAEB6494D2A}"/>
              </a:ext>
            </a:extLst>
          </p:cNvPr>
          <p:cNvSpPr txBox="1"/>
          <p:nvPr/>
        </p:nvSpPr>
        <p:spPr>
          <a:xfrm>
            <a:off x="6626128" y="577994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700" b="0" i="0" u="none" strike="noStrike" kern="1200" cap="none" spc="0" normalizeH="0" baseline="0" noProof="0">
                <a:ln>
                  <a:noFill/>
                </a:ln>
                <a:solidFill>
                  <a:srgbClr val="3F4444"/>
                </a:solidFill>
                <a:effectLst/>
                <a:uLnTx/>
                <a:uFillTx/>
                <a:latin typeface="Calibri"/>
                <a:ea typeface="+mn-ea"/>
                <a:cs typeface="+mn-cs"/>
              </a:rPr>
              <a:t>1</a:t>
            </a:r>
            <a:endParaRPr kumimoji="0" lang="en-GB" sz="7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58" name="Oval 350">
            <a:extLst>
              <a:ext uri="{FF2B5EF4-FFF2-40B4-BE49-F238E27FC236}">
                <a16:creationId xmlns:a16="http://schemas.microsoft.com/office/drawing/2014/main" id="{3E9F2B45-7C65-40F4-B39E-AC36AF8077AA}"/>
              </a:ext>
            </a:extLst>
          </p:cNvPr>
          <p:cNvSpPr>
            <a:spLocks noChangeArrowheads="1"/>
          </p:cNvSpPr>
          <p:nvPr/>
        </p:nvSpPr>
        <p:spPr bwMode="auto">
          <a:xfrm>
            <a:off x="1432541" y="2258967"/>
            <a:ext cx="67420" cy="64261"/>
          </a:xfrm>
          <a:prstGeom prst="ellipse">
            <a:avLst/>
          </a:prstGeom>
          <a:noFill/>
          <a:ln>
            <a:solidFill>
              <a:schemeClr val="accent3"/>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chemeClr val="accent3"/>
              </a:solidFill>
              <a:effectLst/>
              <a:uLnTx/>
              <a:uFillTx/>
              <a:latin typeface="Calibri"/>
              <a:ea typeface="+mn-ea"/>
              <a:cs typeface="+mn-cs"/>
            </a:endParaRPr>
          </a:p>
        </p:txBody>
      </p:sp>
      <p:sp>
        <p:nvSpPr>
          <p:cNvPr id="859" name="TextBox 858">
            <a:extLst>
              <a:ext uri="{FF2B5EF4-FFF2-40B4-BE49-F238E27FC236}">
                <a16:creationId xmlns:a16="http://schemas.microsoft.com/office/drawing/2014/main" id="{FCB3108F-163F-4913-A311-5251590D4F68}"/>
              </a:ext>
            </a:extLst>
          </p:cNvPr>
          <p:cNvSpPr txBox="1"/>
          <p:nvPr/>
        </p:nvSpPr>
        <p:spPr>
          <a:xfrm>
            <a:off x="1411754" y="5409209"/>
            <a:ext cx="5491586"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1" i="0" u="none" strike="noStrike" kern="1200" cap="none" spc="0" normalizeH="0" baseline="0" noProof="0" dirty="0">
                <a:ln>
                  <a:noFill/>
                </a:ln>
                <a:solidFill>
                  <a:srgbClr val="3F4444"/>
                </a:solidFill>
                <a:effectLst/>
                <a:uLnTx/>
                <a:uFillTx/>
                <a:latin typeface="Calibri"/>
                <a:ea typeface="+mn-ea"/>
                <a:cs typeface="+mn-cs"/>
              </a:rPr>
              <a:t>Время с момента рандомизации (мес.)</a:t>
            </a:r>
          </a:p>
        </p:txBody>
      </p:sp>
      <p:sp>
        <p:nvSpPr>
          <p:cNvPr id="860" name="TextBox 859">
            <a:extLst>
              <a:ext uri="{FF2B5EF4-FFF2-40B4-BE49-F238E27FC236}">
                <a16:creationId xmlns:a16="http://schemas.microsoft.com/office/drawing/2014/main" id="{3B7F85B9-4D2D-421D-828A-A67236FF5454}"/>
              </a:ext>
            </a:extLst>
          </p:cNvPr>
          <p:cNvSpPr txBox="1"/>
          <p:nvPr/>
        </p:nvSpPr>
        <p:spPr>
          <a:xfrm>
            <a:off x="1103441" y="5043446"/>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0,0</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61" name="TextBox 860">
            <a:extLst>
              <a:ext uri="{FF2B5EF4-FFF2-40B4-BE49-F238E27FC236}">
                <a16:creationId xmlns:a16="http://schemas.microsoft.com/office/drawing/2014/main" id="{FF5AC51A-D65F-47F4-9EB6-F8464BDC5B52}"/>
              </a:ext>
            </a:extLst>
          </p:cNvPr>
          <p:cNvSpPr txBox="1"/>
          <p:nvPr/>
        </p:nvSpPr>
        <p:spPr>
          <a:xfrm>
            <a:off x="1108752" y="2167940"/>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1,0</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62" name="TextBox 861">
            <a:extLst>
              <a:ext uri="{FF2B5EF4-FFF2-40B4-BE49-F238E27FC236}">
                <a16:creationId xmlns:a16="http://schemas.microsoft.com/office/drawing/2014/main" id="{8C47DAE8-5CB9-4137-86C3-E5B704C28951}"/>
              </a:ext>
            </a:extLst>
          </p:cNvPr>
          <p:cNvSpPr txBox="1"/>
          <p:nvPr/>
        </p:nvSpPr>
        <p:spPr>
          <a:xfrm>
            <a:off x="1103441" y="2455490"/>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0,9</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63" name="TextBox 862">
            <a:extLst>
              <a:ext uri="{FF2B5EF4-FFF2-40B4-BE49-F238E27FC236}">
                <a16:creationId xmlns:a16="http://schemas.microsoft.com/office/drawing/2014/main" id="{957F0F8E-D3DD-40ED-88E5-249A5939329C}"/>
              </a:ext>
            </a:extLst>
          </p:cNvPr>
          <p:cNvSpPr txBox="1"/>
          <p:nvPr/>
        </p:nvSpPr>
        <p:spPr>
          <a:xfrm>
            <a:off x="1103441" y="2743041"/>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0,8</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64" name="TextBox 863">
            <a:extLst>
              <a:ext uri="{FF2B5EF4-FFF2-40B4-BE49-F238E27FC236}">
                <a16:creationId xmlns:a16="http://schemas.microsoft.com/office/drawing/2014/main" id="{E5A65F80-2DC7-4084-8CB8-42C4776F4857}"/>
              </a:ext>
            </a:extLst>
          </p:cNvPr>
          <p:cNvSpPr txBox="1"/>
          <p:nvPr/>
        </p:nvSpPr>
        <p:spPr>
          <a:xfrm>
            <a:off x="1103441" y="3030591"/>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0,7</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65" name="TextBox 864">
            <a:extLst>
              <a:ext uri="{FF2B5EF4-FFF2-40B4-BE49-F238E27FC236}">
                <a16:creationId xmlns:a16="http://schemas.microsoft.com/office/drawing/2014/main" id="{F0BF0A75-E8CD-453A-9FF4-D198501D05BF}"/>
              </a:ext>
            </a:extLst>
          </p:cNvPr>
          <p:cNvSpPr txBox="1"/>
          <p:nvPr/>
        </p:nvSpPr>
        <p:spPr>
          <a:xfrm>
            <a:off x="1103441" y="3318142"/>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0,6</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66" name="TextBox 865">
            <a:extLst>
              <a:ext uri="{FF2B5EF4-FFF2-40B4-BE49-F238E27FC236}">
                <a16:creationId xmlns:a16="http://schemas.microsoft.com/office/drawing/2014/main" id="{1A2BEFF0-CDBE-40CF-95BD-518354B3459D}"/>
              </a:ext>
            </a:extLst>
          </p:cNvPr>
          <p:cNvSpPr txBox="1"/>
          <p:nvPr/>
        </p:nvSpPr>
        <p:spPr>
          <a:xfrm>
            <a:off x="1103441" y="3605692"/>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0,5</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67" name="TextBox 866">
            <a:extLst>
              <a:ext uri="{FF2B5EF4-FFF2-40B4-BE49-F238E27FC236}">
                <a16:creationId xmlns:a16="http://schemas.microsoft.com/office/drawing/2014/main" id="{B5782D93-6836-4939-ADFB-C6CCFB7F21AD}"/>
              </a:ext>
            </a:extLst>
          </p:cNvPr>
          <p:cNvSpPr txBox="1"/>
          <p:nvPr/>
        </p:nvSpPr>
        <p:spPr>
          <a:xfrm>
            <a:off x="1103441" y="3893243"/>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0,4</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68" name="TextBox 867">
            <a:extLst>
              <a:ext uri="{FF2B5EF4-FFF2-40B4-BE49-F238E27FC236}">
                <a16:creationId xmlns:a16="http://schemas.microsoft.com/office/drawing/2014/main" id="{537F7C54-BB40-4602-B58B-D25916BADDF4}"/>
              </a:ext>
            </a:extLst>
          </p:cNvPr>
          <p:cNvSpPr txBox="1"/>
          <p:nvPr/>
        </p:nvSpPr>
        <p:spPr>
          <a:xfrm>
            <a:off x="1103441" y="4180792"/>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0,3</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69" name="TextBox 868">
            <a:extLst>
              <a:ext uri="{FF2B5EF4-FFF2-40B4-BE49-F238E27FC236}">
                <a16:creationId xmlns:a16="http://schemas.microsoft.com/office/drawing/2014/main" id="{766CF916-B4DD-4CC6-8EDF-2F44C0839BF5}"/>
              </a:ext>
            </a:extLst>
          </p:cNvPr>
          <p:cNvSpPr txBox="1"/>
          <p:nvPr/>
        </p:nvSpPr>
        <p:spPr>
          <a:xfrm>
            <a:off x="1103441" y="4468343"/>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0,2</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70" name="TextBox 869">
            <a:extLst>
              <a:ext uri="{FF2B5EF4-FFF2-40B4-BE49-F238E27FC236}">
                <a16:creationId xmlns:a16="http://schemas.microsoft.com/office/drawing/2014/main" id="{417826E9-C9A7-4C13-93CB-0F2E86D4EE50}"/>
              </a:ext>
            </a:extLst>
          </p:cNvPr>
          <p:cNvSpPr txBox="1"/>
          <p:nvPr/>
        </p:nvSpPr>
        <p:spPr>
          <a:xfrm>
            <a:off x="1103441" y="4755894"/>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0" i="0" u="none" strike="noStrike" kern="1200" cap="none" spc="0" normalizeH="0" baseline="0" noProof="0">
                <a:ln>
                  <a:noFill/>
                </a:ln>
                <a:solidFill>
                  <a:srgbClr val="3F4444"/>
                </a:solidFill>
                <a:effectLst/>
                <a:uLnTx/>
                <a:uFillTx/>
                <a:latin typeface="Calibri"/>
                <a:ea typeface="+mn-ea"/>
                <a:cs typeface="+mn-cs"/>
              </a:rPr>
              <a:t>0,1</a:t>
            </a: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71" name="TextBox 870">
            <a:extLst>
              <a:ext uri="{FF2B5EF4-FFF2-40B4-BE49-F238E27FC236}">
                <a16:creationId xmlns:a16="http://schemas.microsoft.com/office/drawing/2014/main" id="{D72BD85E-AA34-46DE-92E5-BF65BBA033B3}"/>
              </a:ext>
            </a:extLst>
          </p:cNvPr>
          <p:cNvSpPr txBox="1"/>
          <p:nvPr/>
        </p:nvSpPr>
        <p:spPr>
          <a:xfrm rot="16200000">
            <a:off x="-773956" y="3651993"/>
            <a:ext cx="313761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400" b="1" i="0" u="none" strike="noStrike" kern="1200" cap="none" spc="0" normalizeH="0" baseline="0" noProof="0" dirty="0">
                <a:ln>
                  <a:noFill/>
                </a:ln>
                <a:solidFill>
                  <a:srgbClr val="3F4444"/>
                </a:solidFill>
                <a:effectLst/>
                <a:uLnTx/>
                <a:uFillTx/>
                <a:latin typeface="Calibri"/>
                <a:ea typeface="+mn-ea"/>
                <a:cs typeface="+mn-cs"/>
              </a:rPr>
              <a:t>Вероятность рВБП</a:t>
            </a:r>
          </a:p>
        </p:txBody>
      </p:sp>
      <p:sp>
        <p:nvSpPr>
          <p:cNvPr id="872" name="Line 116">
            <a:extLst>
              <a:ext uri="{FF2B5EF4-FFF2-40B4-BE49-F238E27FC236}">
                <a16:creationId xmlns:a16="http://schemas.microsoft.com/office/drawing/2014/main" id="{6B554FF4-2CB5-41BC-AC71-BD0398673363}"/>
              </a:ext>
            </a:extLst>
          </p:cNvPr>
          <p:cNvSpPr>
            <a:spLocks noChangeShapeType="1"/>
          </p:cNvSpPr>
          <p:nvPr/>
        </p:nvSpPr>
        <p:spPr bwMode="auto">
          <a:xfrm>
            <a:off x="5838922" y="5108688"/>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73" name="Line 117">
            <a:extLst>
              <a:ext uri="{FF2B5EF4-FFF2-40B4-BE49-F238E27FC236}">
                <a16:creationId xmlns:a16="http://schemas.microsoft.com/office/drawing/2014/main" id="{8A7A3E0E-CDEC-457A-9BDC-911A2AE4CC35}"/>
              </a:ext>
            </a:extLst>
          </p:cNvPr>
          <p:cNvSpPr>
            <a:spLocks noChangeShapeType="1"/>
          </p:cNvSpPr>
          <p:nvPr/>
        </p:nvSpPr>
        <p:spPr bwMode="auto">
          <a:xfrm>
            <a:off x="6018453" y="5105771"/>
            <a:ext cx="0" cy="5559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74" name="Line 118">
            <a:extLst>
              <a:ext uri="{FF2B5EF4-FFF2-40B4-BE49-F238E27FC236}">
                <a16:creationId xmlns:a16="http://schemas.microsoft.com/office/drawing/2014/main" id="{D806CE29-611E-4F40-96E0-7F740AB66BFE}"/>
              </a:ext>
            </a:extLst>
          </p:cNvPr>
          <p:cNvSpPr>
            <a:spLocks noChangeShapeType="1"/>
          </p:cNvSpPr>
          <p:nvPr/>
        </p:nvSpPr>
        <p:spPr bwMode="auto">
          <a:xfrm>
            <a:off x="6196159" y="5108688"/>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75" name="Line 119">
            <a:extLst>
              <a:ext uri="{FF2B5EF4-FFF2-40B4-BE49-F238E27FC236}">
                <a16:creationId xmlns:a16="http://schemas.microsoft.com/office/drawing/2014/main" id="{A74C568D-7375-4BB5-8217-B276F579AA82}"/>
              </a:ext>
            </a:extLst>
          </p:cNvPr>
          <p:cNvSpPr>
            <a:spLocks noChangeShapeType="1"/>
          </p:cNvSpPr>
          <p:nvPr/>
        </p:nvSpPr>
        <p:spPr bwMode="auto">
          <a:xfrm>
            <a:off x="6372953" y="5105771"/>
            <a:ext cx="0" cy="5559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76" name="Line 120">
            <a:extLst>
              <a:ext uri="{FF2B5EF4-FFF2-40B4-BE49-F238E27FC236}">
                <a16:creationId xmlns:a16="http://schemas.microsoft.com/office/drawing/2014/main" id="{B958C539-2373-4A72-AC5E-FE7569EEBA57}"/>
              </a:ext>
            </a:extLst>
          </p:cNvPr>
          <p:cNvSpPr>
            <a:spLocks noChangeShapeType="1"/>
          </p:cNvSpPr>
          <p:nvPr/>
        </p:nvSpPr>
        <p:spPr bwMode="auto">
          <a:xfrm>
            <a:off x="6550660" y="5108688"/>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77" name="Line 121">
            <a:extLst>
              <a:ext uri="{FF2B5EF4-FFF2-40B4-BE49-F238E27FC236}">
                <a16:creationId xmlns:a16="http://schemas.microsoft.com/office/drawing/2014/main" id="{9296959C-83BA-4B15-A348-3D60861099B8}"/>
              </a:ext>
            </a:extLst>
          </p:cNvPr>
          <p:cNvSpPr>
            <a:spLocks noChangeShapeType="1"/>
          </p:cNvSpPr>
          <p:nvPr/>
        </p:nvSpPr>
        <p:spPr bwMode="auto">
          <a:xfrm>
            <a:off x="6725633" y="5105771"/>
            <a:ext cx="0" cy="5559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78" name="Line 122">
            <a:extLst>
              <a:ext uri="{FF2B5EF4-FFF2-40B4-BE49-F238E27FC236}">
                <a16:creationId xmlns:a16="http://schemas.microsoft.com/office/drawing/2014/main" id="{571AA273-3BDF-4B7F-810B-9082A0427B9E}"/>
              </a:ext>
            </a:extLst>
          </p:cNvPr>
          <p:cNvSpPr>
            <a:spLocks noChangeShapeType="1"/>
          </p:cNvSpPr>
          <p:nvPr/>
        </p:nvSpPr>
        <p:spPr bwMode="auto">
          <a:xfrm>
            <a:off x="6903340" y="5108688"/>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79" name="Line 94">
            <a:extLst>
              <a:ext uri="{FF2B5EF4-FFF2-40B4-BE49-F238E27FC236}">
                <a16:creationId xmlns:a16="http://schemas.microsoft.com/office/drawing/2014/main" id="{EC7F3191-CFE2-4629-A28D-FAC709316DEF}"/>
              </a:ext>
            </a:extLst>
          </p:cNvPr>
          <p:cNvSpPr>
            <a:spLocks noChangeShapeType="1"/>
          </p:cNvSpPr>
          <p:nvPr/>
        </p:nvSpPr>
        <p:spPr bwMode="auto">
          <a:xfrm>
            <a:off x="4245032" y="5105771"/>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80" name="Line 107">
            <a:extLst>
              <a:ext uri="{FF2B5EF4-FFF2-40B4-BE49-F238E27FC236}">
                <a16:creationId xmlns:a16="http://schemas.microsoft.com/office/drawing/2014/main" id="{132BD9C9-0252-44EE-8DBD-9165BC23CC57}"/>
              </a:ext>
            </a:extLst>
          </p:cNvPr>
          <p:cNvSpPr>
            <a:spLocks noChangeShapeType="1"/>
          </p:cNvSpPr>
          <p:nvPr/>
        </p:nvSpPr>
        <p:spPr bwMode="auto">
          <a:xfrm>
            <a:off x="4068238" y="5108359"/>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81" name="Line 108">
            <a:extLst>
              <a:ext uri="{FF2B5EF4-FFF2-40B4-BE49-F238E27FC236}">
                <a16:creationId xmlns:a16="http://schemas.microsoft.com/office/drawing/2014/main" id="{F3ABCD51-6C0A-4EA9-9B64-9297E39F5435}"/>
              </a:ext>
            </a:extLst>
          </p:cNvPr>
          <p:cNvSpPr>
            <a:spLocks noChangeShapeType="1"/>
          </p:cNvSpPr>
          <p:nvPr/>
        </p:nvSpPr>
        <p:spPr bwMode="auto">
          <a:xfrm>
            <a:off x="4422739" y="5108688"/>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82" name="Line 109">
            <a:extLst>
              <a:ext uri="{FF2B5EF4-FFF2-40B4-BE49-F238E27FC236}">
                <a16:creationId xmlns:a16="http://schemas.microsoft.com/office/drawing/2014/main" id="{804DE9D4-2F99-4611-B676-40F9404FE9C0}"/>
              </a:ext>
            </a:extLst>
          </p:cNvPr>
          <p:cNvSpPr>
            <a:spLocks noChangeShapeType="1"/>
          </p:cNvSpPr>
          <p:nvPr/>
        </p:nvSpPr>
        <p:spPr bwMode="auto">
          <a:xfrm>
            <a:off x="4599534" y="5105771"/>
            <a:ext cx="0" cy="5559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83" name="Line 110">
            <a:extLst>
              <a:ext uri="{FF2B5EF4-FFF2-40B4-BE49-F238E27FC236}">
                <a16:creationId xmlns:a16="http://schemas.microsoft.com/office/drawing/2014/main" id="{C66C5A11-B620-4C27-A300-74EE300805F6}"/>
              </a:ext>
            </a:extLst>
          </p:cNvPr>
          <p:cNvSpPr>
            <a:spLocks noChangeShapeType="1"/>
          </p:cNvSpPr>
          <p:nvPr/>
        </p:nvSpPr>
        <p:spPr bwMode="auto">
          <a:xfrm>
            <a:off x="4777241" y="5108688"/>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84" name="Line 111">
            <a:extLst>
              <a:ext uri="{FF2B5EF4-FFF2-40B4-BE49-F238E27FC236}">
                <a16:creationId xmlns:a16="http://schemas.microsoft.com/office/drawing/2014/main" id="{D5CBDDE8-F1FF-4BA9-8F56-5593CFE1EDB1}"/>
              </a:ext>
            </a:extLst>
          </p:cNvPr>
          <p:cNvSpPr>
            <a:spLocks noChangeShapeType="1"/>
          </p:cNvSpPr>
          <p:nvPr/>
        </p:nvSpPr>
        <p:spPr bwMode="auto">
          <a:xfrm>
            <a:off x="4954036" y="5105771"/>
            <a:ext cx="0" cy="5559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85" name="Line 112">
            <a:extLst>
              <a:ext uri="{FF2B5EF4-FFF2-40B4-BE49-F238E27FC236}">
                <a16:creationId xmlns:a16="http://schemas.microsoft.com/office/drawing/2014/main" id="{B68D15B4-C76C-4B4E-83CA-3271B9AC96A8}"/>
              </a:ext>
            </a:extLst>
          </p:cNvPr>
          <p:cNvSpPr>
            <a:spLocks noChangeShapeType="1"/>
          </p:cNvSpPr>
          <p:nvPr/>
        </p:nvSpPr>
        <p:spPr bwMode="auto">
          <a:xfrm>
            <a:off x="5129920" y="5108688"/>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86" name="Line 113">
            <a:extLst>
              <a:ext uri="{FF2B5EF4-FFF2-40B4-BE49-F238E27FC236}">
                <a16:creationId xmlns:a16="http://schemas.microsoft.com/office/drawing/2014/main" id="{AE090E69-767A-410D-914B-9C6C7526FBD6}"/>
              </a:ext>
            </a:extLst>
          </p:cNvPr>
          <p:cNvSpPr>
            <a:spLocks noChangeShapeType="1"/>
          </p:cNvSpPr>
          <p:nvPr/>
        </p:nvSpPr>
        <p:spPr bwMode="auto">
          <a:xfrm>
            <a:off x="5306715" y="5105771"/>
            <a:ext cx="0" cy="5559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87" name="Line 114">
            <a:extLst>
              <a:ext uri="{FF2B5EF4-FFF2-40B4-BE49-F238E27FC236}">
                <a16:creationId xmlns:a16="http://schemas.microsoft.com/office/drawing/2014/main" id="{4B889E7B-70BD-4930-9218-2F74FB1E61F1}"/>
              </a:ext>
            </a:extLst>
          </p:cNvPr>
          <p:cNvSpPr>
            <a:spLocks noChangeShapeType="1"/>
          </p:cNvSpPr>
          <p:nvPr/>
        </p:nvSpPr>
        <p:spPr bwMode="auto">
          <a:xfrm>
            <a:off x="5484422" y="5108688"/>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88" name="Line 115">
            <a:extLst>
              <a:ext uri="{FF2B5EF4-FFF2-40B4-BE49-F238E27FC236}">
                <a16:creationId xmlns:a16="http://schemas.microsoft.com/office/drawing/2014/main" id="{07B54B3A-5B2A-403A-8D30-6F8323016F1F}"/>
              </a:ext>
            </a:extLst>
          </p:cNvPr>
          <p:cNvSpPr>
            <a:spLocks noChangeShapeType="1"/>
          </p:cNvSpPr>
          <p:nvPr/>
        </p:nvSpPr>
        <p:spPr bwMode="auto">
          <a:xfrm>
            <a:off x="5661216" y="5105771"/>
            <a:ext cx="0" cy="5559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89" name="Line 91">
            <a:extLst>
              <a:ext uri="{FF2B5EF4-FFF2-40B4-BE49-F238E27FC236}">
                <a16:creationId xmlns:a16="http://schemas.microsoft.com/office/drawing/2014/main" id="{8ACF7E98-F015-4D43-9D6E-6BAC67F66AAE}"/>
              </a:ext>
            </a:extLst>
          </p:cNvPr>
          <p:cNvSpPr>
            <a:spLocks noChangeShapeType="1"/>
          </p:cNvSpPr>
          <p:nvPr/>
        </p:nvSpPr>
        <p:spPr bwMode="auto">
          <a:xfrm>
            <a:off x="1411754" y="5105771"/>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3F4444"/>
              </a:solidFill>
              <a:effectLst/>
              <a:uLnTx/>
              <a:uFillTx/>
              <a:latin typeface="Calibri"/>
              <a:ea typeface="+mn-ea"/>
              <a:cs typeface="+mn-cs"/>
            </a:endParaRPr>
          </a:p>
        </p:txBody>
      </p:sp>
      <p:sp>
        <p:nvSpPr>
          <p:cNvPr id="890" name="Line 92">
            <a:extLst>
              <a:ext uri="{FF2B5EF4-FFF2-40B4-BE49-F238E27FC236}">
                <a16:creationId xmlns:a16="http://schemas.microsoft.com/office/drawing/2014/main" id="{2102B968-A556-4C2B-B115-5AC71FDA6B25}"/>
              </a:ext>
            </a:extLst>
          </p:cNvPr>
          <p:cNvSpPr>
            <a:spLocks noChangeShapeType="1"/>
          </p:cNvSpPr>
          <p:nvPr/>
        </p:nvSpPr>
        <p:spPr bwMode="auto">
          <a:xfrm>
            <a:off x="2474348" y="5105771"/>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91" name="Line 93">
            <a:extLst>
              <a:ext uri="{FF2B5EF4-FFF2-40B4-BE49-F238E27FC236}">
                <a16:creationId xmlns:a16="http://schemas.microsoft.com/office/drawing/2014/main" id="{7A170068-9916-442D-BF45-CE14E2B9AC8C}"/>
              </a:ext>
            </a:extLst>
          </p:cNvPr>
          <p:cNvSpPr>
            <a:spLocks noChangeShapeType="1"/>
          </p:cNvSpPr>
          <p:nvPr/>
        </p:nvSpPr>
        <p:spPr bwMode="auto">
          <a:xfrm>
            <a:off x="3361058" y="5108359"/>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92" name="Line 95">
            <a:extLst>
              <a:ext uri="{FF2B5EF4-FFF2-40B4-BE49-F238E27FC236}">
                <a16:creationId xmlns:a16="http://schemas.microsoft.com/office/drawing/2014/main" id="{F45171A4-D950-4866-9782-77B796BA8179}"/>
              </a:ext>
            </a:extLst>
          </p:cNvPr>
          <p:cNvSpPr>
            <a:spLocks noChangeShapeType="1"/>
          </p:cNvSpPr>
          <p:nvPr/>
        </p:nvSpPr>
        <p:spPr bwMode="auto">
          <a:xfrm>
            <a:off x="1589461" y="5108359"/>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93" name="Line 96">
            <a:extLst>
              <a:ext uri="{FF2B5EF4-FFF2-40B4-BE49-F238E27FC236}">
                <a16:creationId xmlns:a16="http://schemas.microsoft.com/office/drawing/2014/main" id="{63ED1D87-EB2B-4EFC-A491-F5833C374B9E}"/>
              </a:ext>
            </a:extLst>
          </p:cNvPr>
          <p:cNvSpPr>
            <a:spLocks noChangeShapeType="1"/>
          </p:cNvSpPr>
          <p:nvPr/>
        </p:nvSpPr>
        <p:spPr bwMode="auto">
          <a:xfrm>
            <a:off x="1767167" y="5105771"/>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94" name="Line 97">
            <a:extLst>
              <a:ext uri="{FF2B5EF4-FFF2-40B4-BE49-F238E27FC236}">
                <a16:creationId xmlns:a16="http://schemas.microsoft.com/office/drawing/2014/main" id="{7F7F03DA-B4B8-4F82-8755-73123DFABB67}"/>
              </a:ext>
            </a:extLst>
          </p:cNvPr>
          <p:cNvSpPr>
            <a:spLocks noChangeShapeType="1"/>
          </p:cNvSpPr>
          <p:nvPr/>
        </p:nvSpPr>
        <p:spPr bwMode="auto">
          <a:xfrm>
            <a:off x="1943961" y="5108359"/>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95" name="Line 98">
            <a:extLst>
              <a:ext uri="{FF2B5EF4-FFF2-40B4-BE49-F238E27FC236}">
                <a16:creationId xmlns:a16="http://schemas.microsoft.com/office/drawing/2014/main" id="{1572064E-B4F4-4EE7-9477-88CADC16DC00}"/>
              </a:ext>
            </a:extLst>
          </p:cNvPr>
          <p:cNvSpPr>
            <a:spLocks noChangeShapeType="1"/>
          </p:cNvSpPr>
          <p:nvPr/>
        </p:nvSpPr>
        <p:spPr bwMode="auto">
          <a:xfrm>
            <a:off x="2118935" y="5105771"/>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96" name="Line 99">
            <a:extLst>
              <a:ext uri="{FF2B5EF4-FFF2-40B4-BE49-F238E27FC236}">
                <a16:creationId xmlns:a16="http://schemas.microsoft.com/office/drawing/2014/main" id="{A0A2E96E-8097-4B1C-ACD0-E8060DEDE517}"/>
              </a:ext>
            </a:extLst>
          </p:cNvPr>
          <p:cNvSpPr>
            <a:spLocks noChangeShapeType="1"/>
          </p:cNvSpPr>
          <p:nvPr/>
        </p:nvSpPr>
        <p:spPr bwMode="auto">
          <a:xfrm>
            <a:off x="2296641" y="5108359"/>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97" name="Line 100">
            <a:extLst>
              <a:ext uri="{FF2B5EF4-FFF2-40B4-BE49-F238E27FC236}">
                <a16:creationId xmlns:a16="http://schemas.microsoft.com/office/drawing/2014/main" id="{A23CFB11-8C5F-4FF4-B310-4978A2B2FCF8}"/>
              </a:ext>
            </a:extLst>
          </p:cNvPr>
          <p:cNvSpPr>
            <a:spLocks noChangeShapeType="1"/>
          </p:cNvSpPr>
          <p:nvPr/>
        </p:nvSpPr>
        <p:spPr bwMode="auto">
          <a:xfrm>
            <a:off x="2651142" y="5108359"/>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98" name="Line 101">
            <a:extLst>
              <a:ext uri="{FF2B5EF4-FFF2-40B4-BE49-F238E27FC236}">
                <a16:creationId xmlns:a16="http://schemas.microsoft.com/office/drawing/2014/main" id="{8DD117FB-4FB7-4D00-87C1-8C56925D5337}"/>
              </a:ext>
            </a:extLst>
          </p:cNvPr>
          <p:cNvSpPr>
            <a:spLocks noChangeShapeType="1"/>
          </p:cNvSpPr>
          <p:nvPr/>
        </p:nvSpPr>
        <p:spPr bwMode="auto">
          <a:xfrm>
            <a:off x="2828849" y="5105771"/>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99" name="Line 102">
            <a:extLst>
              <a:ext uri="{FF2B5EF4-FFF2-40B4-BE49-F238E27FC236}">
                <a16:creationId xmlns:a16="http://schemas.microsoft.com/office/drawing/2014/main" id="{EE0B7251-9DEC-4D73-BF57-0CB9BB037659}"/>
              </a:ext>
            </a:extLst>
          </p:cNvPr>
          <p:cNvSpPr>
            <a:spLocks noChangeShapeType="1"/>
          </p:cNvSpPr>
          <p:nvPr/>
        </p:nvSpPr>
        <p:spPr bwMode="auto">
          <a:xfrm>
            <a:off x="3005644" y="5108359"/>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00" name="Line 103">
            <a:extLst>
              <a:ext uri="{FF2B5EF4-FFF2-40B4-BE49-F238E27FC236}">
                <a16:creationId xmlns:a16="http://schemas.microsoft.com/office/drawing/2014/main" id="{6895163F-A017-48DD-A2E2-77475666D670}"/>
              </a:ext>
            </a:extLst>
          </p:cNvPr>
          <p:cNvSpPr>
            <a:spLocks noChangeShapeType="1"/>
          </p:cNvSpPr>
          <p:nvPr/>
        </p:nvSpPr>
        <p:spPr bwMode="auto">
          <a:xfrm>
            <a:off x="3183351" y="5105771"/>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01" name="Line 104">
            <a:extLst>
              <a:ext uri="{FF2B5EF4-FFF2-40B4-BE49-F238E27FC236}">
                <a16:creationId xmlns:a16="http://schemas.microsoft.com/office/drawing/2014/main" id="{F3A4AB87-ADAB-4013-B1B9-E3E8ED992B31}"/>
              </a:ext>
            </a:extLst>
          </p:cNvPr>
          <p:cNvSpPr>
            <a:spLocks noChangeShapeType="1"/>
          </p:cNvSpPr>
          <p:nvPr/>
        </p:nvSpPr>
        <p:spPr bwMode="auto">
          <a:xfrm>
            <a:off x="3537852" y="5105771"/>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02" name="Line 105">
            <a:extLst>
              <a:ext uri="{FF2B5EF4-FFF2-40B4-BE49-F238E27FC236}">
                <a16:creationId xmlns:a16="http://schemas.microsoft.com/office/drawing/2014/main" id="{5ADBE1CC-58A5-4083-891D-CC1E7F3AD622}"/>
              </a:ext>
            </a:extLst>
          </p:cNvPr>
          <p:cNvSpPr>
            <a:spLocks noChangeShapeType="1"/>
          </p:cNvSpPr>
          <p:nvPr/>
        </p:nvSpPr>
        <p:spPr bwMode="auto">
          <a:xfrm>
            <a:off x="3712825" y="5108359"/>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03" name="Line 106">
            <a:extLst>
              <a:ext uri="{FF2B5EF4-FFF2-40B4-BE49-F238E27FC236}">
                <a16:creationId xmlns:a16="http://schemas.microsoft.com/office/drawing/2014/main" id="{92A1B8D8-DEF4-4805-A6E8-31F244AAA4A5}"/>
              </a:ext>
            </a:extLst>
          </p:cNvPr>
          <p:cNvSpPr>
            <a:spLocks noChangeShapeType="1"/>
          </p:cNvSpPr>
          <p:nvPr/>
        </p:nvSpPr>
        <p:spPr bwMode="auto">
          <a:xfrm>
            <a:off x="3890531" y="5105771"/>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Calibri"/>
              <a:ea typeface="+mn-ea"/>
              <a:cs typeface="+mn-cs"/>
            </a:endParaRPr>
          </a:p>
        </p:txBody>
      </p:sp>
      <p:cxnSp>
        <p:nvCxnSpPr>
          <p:cNvPr id="904" name="Straight Connector 903">
            <a:extLst>
              <a:ext uri="{FF2B5EF4-FFF2-40B4-BE49-F238E27FC236}">
                <a16:creationId xmlns:a16="http://schemas.microsoft.com/office/drawing/2014/main" id="{5C80F8B5-18DE-4AD8-8A63-A02D2C7852AC}"/>
              </a:ext>
            </a:extLst>
          </p:cNvPr>
          <p:cNvCxnSpPr>
            <a:cxnSpLocks/>
          </p:cNvCxnSpPr>
          <p:nvPr/>
        </p:nvCxnSpPr>
        <p:spPr>
          <a:xfrm flipH="1">
            <a:off x="3540144" y="2743041"/>
            <a:ext cx="5256" cy="2350243"/>
          </a:xfrm>
          <a:prstGeom prst="line">
            <a:avLst/>
          </a:prstGeom>
          <a:ln w="2857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05" name="Straight Connector 904">
            <a:extLst>
              <a:ext uri="{FF2B5EF4-FFF2-40B4-BE49-F238E27FC236}">
                <a16:creationId xmlns:a16="http://schemas.microsoft.com/office/drawing/2014/main" id="{CA50CEB2-668D-4741-AD85-A6264C92CE34}"/>
              </a:ext>
            </a:extLst>
          </p:cNvPr>
          <p:cNvCxnSpPr>
            <a:cxnSpLocks/>
          </p:cNvCxnSpPr>
          <p:nvPr/>
        </p:nvCxnSpPr>
        <p:spPr>
          <a:xfrm>
            <a:off x="1468564" y="3697080"/>
            <a:ext cx="5429922" cy="6925"/>
          </a:xfrm>
          <a:prstGeom prst="line">
            <a:avLst/>
          </a:prstGeom>
          <a:ln w="2857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06" name="TextBox 905">
            <a:extLst>
              <a:ext uri="{FF2B5EF4-FFF2-40B4-BE49-F238E27FC236}">
                <a16:creationId xmlns:a16="http://schemas.microsoft.com/office/drawing/2014/main" id="{2A8F581C-35A8-44A5-B064-F811089ECA2E}"/>
              </a:ext>
            </a:extLst>
          </p:cNvPr>
          <p:cNvSpPr txBox="1"/>
          <p:nvPr/>
        </p:nvSpPr>
        <p:spPr>
          <a:xfrm>
            <a:off x="5507583" y="2291523"/>
            <a:ext cx="1705014"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srgbClr val="3F4444"/>
                </a:solidFill>
                <a:effectLst/>
                <a:uLnTx/>
                <a:uFillTx/>
                <a:latin typeface="Calibri"/>
                <a:ea typeface="+mn-ea"/>
                <a:cs typeface="+mn-cs"/>
              </a:rPr>
              <a:t>Ч</a:t>
            </a:r>
            <a:r>
              <a:rPr kumimoji="0" sz="1800" b="1" i="0" u="none" strike="noStrike" kern="1200" cap="none" spc="0" normalizeH="0" baseline="0" noProof="0" dirty="0" err="1">
                <a:ln>
                  <a:noFill/>
                </a:ln>
                <a:solidFill>
                  <a:srgbClr val="3F4444"/>
                </a:solidFill>
                <a:effectLst/>
                <a:uLnTx/>
                <a:uFillTx/>
                <a:latin typeface="Calibri"/>
                <a:ea typeface="+mn-ea"/>
                <a:cs typeface="+mn-cs"/>
              </a:rPr>
              <a:t>ерез</a:t>
            </a:r>
            <a:r>
              <a:rPr kumimoji="0" sz="1800" b="1" i="0" u="none" strike="noStrike" kern="1200" cap="none" spc="0" normalizeH="0" baseline="0" noProof="0" dirty="0">
                <a:ln>
                  <a:noFill/>
                </a:ln>
                <a:solidFill>
                  <a:srgbClr val="3F4444"/>
                </a:solidFill>
                <a:effectLst/>
                <a:uLnTx/>
                <a:uFillTx/>
                <a:latin typeface="Calibri"/>
                <a:ea typeface="+mn-ea"/>
                <a:cs typeface="+mn-cs"/>
              </a:rPr>
              <a:t> 24 мес.</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ru" sz="1600" b="1" i="0" u="none" strike="noStrike" kern="1200" cap="none" spc="0" normalizeH="0" baseline="0" noProof="0" dirty="0">
                <a:ln>
                  <a:noFill/>
                </a:ln>
                <a:solidFill>
                  <a:schemeClr val="accent5"/>
                </a:solidFill>
                <a:effectLst/>
                <a:uLnTx/>
                <a:uFillTx/>
                <a:latin typeface="Calibri"/>
                <a:ea typeface="黑体" panose="02010609060101010101" pitchFamily="49" charset="-122"/>
                <a:cs typeface="+mn-cs"/>
              </a:rPr>
              <a:t>53,7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ru" sz="1600" b="1" i="0" u="none" strike="noStrike" kern="1200" cap="none" spc="0" normalizeH="0" baseline="0" noProof="0" dirty="0">
                <a:ln>
                  <a:noFill/>
                </a:ln>
                <a:solidFill>
                  <a:schemeClr val="tx2"/>
                </a:solidFill>
                <a:effectLst/>
                <a:uLnTx/>
                <a:uFillTx/>
                <a:latin typeface="Calibri"/>
                <a:ea typeface="黑体" panose="02010609060101010101" pitchFamily="49" charset="-122"/>
                <a:cs typeface="+mn-cs"/>
              </a:rPr>
              <a:t>34,1 %</a:t>
            </a:r>
            <a:endParaRPr kumimoji="0" lang="en-US" sz="1600" b="1" i="0" u="none" strike="noStrike" kern="1200" cap="none" spc="0" normalizeH="0" baseline="0" noProof="0" dirty="0">
              <a:ln>
                <a:noFill/>
              </a:ln>
              <a:solidFill>
                <a:schemeClr val="tx2"/>
              </a:solidFill>
              <a:effectLst/>
              <a:uLnTx/>
              <a:uFillTx/>
              <a:latin typeface="Calibri"/>
              <a:ea typeface="+mn-ea"/>
              <a:cs typeface="+mn-cs"/>
            </a:endParaRPr>
          </a:p>
        </p:txBody>
      </p:sp>
      <p:cxnSp>
        <p:nvCxnSpPr>
          <p:cNvPr id="907" name="Straight Connector 906">
            <a:extLst>
              <a:ext uri="{FF2B5EF4-FFF2-40B4-BE49-F238E27FC236}">
                <a16:creationId xmlns:a16="http://schemas.microsoft.com/office/drawing/2014/main" id="{171C0CB8-6E24-4313-946C-719917C6237C}"/>
              </a:ext>
            </a:extLst>
          </p:cNvPr>
          <p:cNvCxnSpPr>
            <a:cxnSpLocks/>
          </p:cNvCxnSpPr>
          <p:nvPr/>
        </p:nvCxnSpPr>
        <p:spPr>
          <a:xfrm flipH="1">
            <a:off x="5649882" y="3094157"/>
            <a:ext cx="2555" cy="1988049"/>
          </a:xfrm>
          <a:prstGeom prst="line">
            <a:avLst/>
          </a:prstGeom>
          <a:ln w="2857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08" name="TextBox 907">
            <a:extLst>
              <a:ext uri="{FF2B5EF4-FFF2-40B4-BE49-F238E27FC236}">
                <a16:creationId xmlns:a16="http://schemas.microsoft.com/office/drawing/2014/main" id="{93A48BD1-0E92-4937-A5AD-567E255C8C05}"/>
              </a:ext>
            </a:extLst>
          </p:cNvPr>
          <p:cNvSpPr txBox="1"/>
          <p:nvPr/>
        </p:nvSpPr>
        <p:spPr>
          <a:xfrm>
            <a:off x="3292403" y="1935638"/>
            <a:ext cx="1705014"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srgbClr val="3F4444"/>
                </a:solidFill>
                <a:effectLst/>
                <a:uLnTx/>
                <a:uFillTx/>
                <a:latin typeface="Calibri"/>
                <a:ea typeface="+mn-ea"/>
                <a:cs typeface="+mn-cs"/>
              </a:rPr>
              <a:t>Ч</a:t>
            </a:r>
            <a:r>
              <a:rPr kumimoji="0" sz="1800" b="1" i="0" u="none" strike="noStrike" kern="1200" cap="none" spc="0" normalizeH="0" baseline="0" noProof="0" dirty="0" err="1">
                <a:ln>
                  <a:noFill/>
                </a:ln>
                <a:solidFill>
                  <a:srgbClr val="3F4444"/>
                </a:solidFill>
                <a:effectLst/>
                <a:uLnTx/>
                <a:uFillTx/>
                <a:latin typeface="Calibri"/>
                <a:ea typeface="+mn-ea"/>
                <a:cs typeface="+mn-cs"/>
              </a:rPr>
              <a:t>ерез</a:t>
            </a:r>
            <a:r>
              <a:rPr kumimoji="0" sz="1800" b="1" i="0" u="none" strike="noStrike" kern="1200" cap="none" spc="0" normalizeH="0" baseline="0" noProof="0" dirty="0">
                <a:ln>
                  <a:noFill/>
                </a:ln>
                <a:solidFill>
                  <a:srgbClr val="3F4444"/>
                </a:solidFill>
                <a:effectLst/>
                <a:uLnTx/>
                <a:uFillTx/>
                <a:latin typeface="Calibri"/>
                <a:ea typeface="+mn-ea"/>
                <a:cs typeface="+mn-cs"/>
              </a:rPr>
              <a:t> 12 мес.</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ru" sz="1600" b="1" i="0" u="none" strike="noStrike" kern="1200" cap="none" spc="0" normalizeH="0" baseline="0" noProof="0" dirty="0">
                <a:ln>
                  <a:noFill/>
                </a:ln>
                <a:solidFill>
                  <a:schemeClr val="accent5"/>
                </a:solidFill>
                <a:effectLst/>
                <a:uLnTx/>
                <a:uFillTx/>
                <a:latin typeface="Calibri"/>
                <a:ea typeface="黑体" panose="02010609060101010101" pitchFamily="49" charset="-122"/>
                <a:cs typeface="+mn-cs"/>
              </a:rPr>
              <a:t>73,8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ru" sz="1600" b="1" i="0" u="none" strike="noStrike" kern="1200" cap="none" spc="0" normalizeH="0" baseline="0" noProof="0" dirty="0">
                <a:ln>
                  <a:noFill/>
                </a:ln>
                <a:solidFill>
                  <a:schemeClr val="tx2"/>
                </a:solidFill>
                <a:effectLst/>
                <a:uLnTx/>
                <a:uFillTx/>
                <a:latin typeface="Calibri"/>
                <a:ea typeface="黑体" panose="02010609060101010101" pitchFamily="49" charset="-122"/>
                <a:cs typeface="+mn-cs"/>
              </a:rPr>
              <a:t>60,6 %</a:t>
            </a:r>
            <a:endParaRPr kumimoji="0" lang="en-US" sz="1600" b="1" i="0" u="none" strike="noStrike" kern="1200" cap="none" spc="0" normalizeH="0" baseline="0" noProof="0" dirty="0">
              <a:ln>
                <a:noFill/>
              </a:ln>
              <a:solidFill>
                <a:schemeClr val="tx2"/>
              </a:solidFill>
              <a:effectLst/>
              <a:uLnTx/>
              <a:uFillTx/>
              <a:latin typeface="Calibri"/>
              <a:ea typeface="+mn-ea"/>
              <a:cs typeface="+mn-cs"/>
            </a:endParaRPr>
          </a:p>
        </p:txBody>
      </p:sp>
      <p:cxnSp>
        <p:nvCxnSpPr>
          <p:cNvPr id="311" name="Straight Arrow Connector 454">
            <a:extLst>
              <a:ext uri="{FF2B5EF4-FFF2-40B4-BE49-F238E27FC236}">
                <a16:creationId xmlns:a16="http://schemas.microsoft.com/office/drawing/2014/main" id="{7FA2903F-13AB-4537-A682-6C49EFAF2EF3}"/>
              </a:ext>
            </a:extLst>
          </p:cNvPr>
          <p:cNvCxnSpPr>
            <a:cxnSpLocks/>
            <a:stCxn id="726" idx="7"/>
          </p:cNvCxnSpPr>
          <p:nvPr/>
        </p:nvCxnSpPr>
        <p:spPr bwMode="auto">
          <a:xfrm flipV="1">
            <a:off x="4392700" y="3690355"/>
            <a:ext cx="1932122" cy="8633"/>
          </a:xfrm>
          <a:prstGeom prst="straightConnector1">
            <a:avLst/>
          </a:prstGeom>
          <a:solidFill>
            <a:schemeClr val="accent1"/>
          </a:solidFill>
          <a:ln w="38100" cap="flat" cmpd="sng" algn="ctr">
            <a:solidFill>
              <a:schemeClr val="accent5"/>
            </a:solidFill>
            <a:prstDash val="solid"/>
            <a:round/>
            <a:headEnd type="arrow" w="med" len="med"/>
            <a:tailEnd type="arrow" w="med" len="med"/>
          </a:ln>
          <a:effectLst/>
        </p:spPr>
      </p:cxnSp>
      <p:sp>
        <p:nvSpPr>
          <p:cNvPr id="314" name="TextBox 313">
            <a:extLst>
              <a:ext uri="{FF2B5EF4-FFF2-40B4-BE49-F238E27FC236}">
                <a16:creationId xmlns:a16="http://schemas.microsoft.com/office/drawing/2014/main" id="{DEB4A467-E740-4D36-BC78-0FBA5B784382}"/>
              </a:ext>
            </a:extLst>
          </p:cNvPr>
          <p:cNvSpPr txBox="1"/>
          <p:nvPr/>
        </p:nvSpPr>
        <p:spPr>
          <a:xfrm rot="10800000" flipV="1">
            <a:off x="4762282" y="4392931"/>
            <a:ext cx="1771357" cy="461665"/>
          </a:xfrm>
          <a:prstGeom prst="rect">
            <a:avLst/>
          </a:prstGeom>
          <a:solidFill>
            <a:schemeClr val="bg1"/>
          </a:solid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ru-RU" sz="2400" b="1" dirty="0">
                <a:solidFill>
                  <a:schemeClr val="accent5"/>
                </a:solidFill>
                <a:latin typeface="Arial"/>
              </a:rPr>
              <a:t>+</a:t>
            </a:r>
            <a:r>
              <a:rPr kumimoji="0" lang="ru-RU" sz="2400" b="1" i="0" u="none" strike="noStrike" kern="1200" cap="none" spc="0" normalizeH="0" baseline="0" noProof="0" dirty="0">
                <a:ln>
                  <a:noFill/>
                </a:ln>
                <a:solidFill>
                  <a:schemeClr val="accent5"/>
                </a:solidFill>
                <a:effectLst/>
                <a:uLnTx/>
                <a:uFillTx/>
                <a:latin typeface="Arial"/>
                <a:ea typeface="+mn-ea"/>
                <a:cs typeface="+mn-cs"/>
              </a:rPr>
              <a:t>11</a:t>
            </a:r>
            <a:r>
              <a:rPr kumimoji="0" lang="en-US" sz="2400" b="1" i="0" u="none" strike="noStrike" kern="1200" cap="none" spc="0" normalizeH="0" baseline="0" noProof="0" dirty="0">
                <a:ln>
                  <a:noFill/>
                </a:ln>
                <a:solidFill>
                  <a:schemeClr val="accent5"/>
                </a:solidFill>
                <a:effectLst/>
                <a:uLnTx/>
                <a:uFillTx/>
                <a:latin typeface="Arial"/>
                <a:ea typeface="+mn-ea"/>
                <a:cs typeface="+mn-cs"/>
              </a:rPr>
              <a:t>,</a:t>
            </a:r>
            <a:r>
              <a:rPr kumimoji="0" lang="ru-RU" sz="2400" b="1" i="0" u="none" strike="noStrike" kern="1200" cap="none" spc="0" normalizeH="0" baseline="0" noProof="0" dirty="0">
                <a:ln>
                  <a:noFill/>
                </a:ln>
                <a:solidFill>
                  <a:schemeClr val="accent5"/>
                </a:solidFill>
                <a:effectLst/>
                <a:uLnTx/>
                <a:uFillTx/>
                <a:latin typeface="Arial"/>
                <a:ea typeface="+mn-ea"/>
                <a:cs typeface="+mn-cs"/>
              </a:rPr>
              <a:t>2</a:t>
            </a:r>
            <a:r>
              <a:rPr kumimoji="0" lang="en-US" sz="2400" b="1" i="0" u="none" strike="noStrike" kern="1200" cap="none" spc="0" normalizeH="0" baseline="0" noProof="0" dirty="0">
                <a:ln>
                  <a:noFill/>
                </a:ln>
                <a:solidFill>
                  <a:schemeClr val="accent5"/>
                </a:solidFill>
                <a:effectLst/>
                <a:uLnTx/>
                <a:uFillTx/>
                <a:latin typeface="Arial"/>
                <a:ea typeface="+mn-ea"/>
                <a:cs typeface="+mn-cs"/>
              </a:rPr>
              <a:t> </a:t>
            </a:r>
            <a:r>
              <a:rPr kumimoji="0" lang="ru-RU" sz="2400" b="1" i="0" u="none" strike="noStrike" kern="1200" cap="none" spc="0" normalizeH="0" baseline="0" noProof="0" dirty="0">
                <a:ln>
                  <a:noFill/>
                </a:ln>
                <a:solidFill>
                  <a:schemeClr val="accent5"/>
                </a:solidFill>
                <a:effectLst/>
                <a:uLnTx/>
                <a:uFillTx/>
                <a:latin typeface="Arial"/>
                <a:ea typeface="+mn-ea"/>
                <a:cs typeface="+mn-cs"/>
              </a:rPr>
              <a:t>мес</a:t>
            </a:r>
          </a:p>
        </p:txBody>
      </p:sp>
      <p:sp>
        <p:nvSpPr>
          <p:cNvPr id="2" name="Rectangle: Diagonal Corners Rounded 1">
            <a:extLst>
              <a:ext uri="{FF2B5EF4-FFF2-40B4-BE49-F238E27FC236}">
                <a16:creationId xmlns:a16="http://schemas.microsoft.com/office/drawing/2014/main" id="{46B317ED-3A50-E6DD-3AB5-7EE7925593C5}"/>
              </a:ext>
            </a:extLst>
          </p:cNvPr>
          <p:cNvSpPr/>
          <p:nvPr/>
        </p:nvSpPr>
        <p:spPr>
          <a:xfrm>
            <a:off x="7649708" y="4372692"/>
            <a:ext cx="4207333" cy="1233478"/>
          </a:xfrm>
          <a:prstGeom prst="round2Diag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spcBef>
                <a:spcPts val="300"/>
              </a:spcBef>
            </a:pPr>
            <a:r>
              <a:rPr lang="ru" sz="1400" b="1" dirty="0">
                <a:solidFill>
                  <a:schemeClr val="tx2"/>
                </a:solidFill>
              </a:rPr>
              <a:t>Увеличение медианы рВБП на 11,2 месяца</a:t>
            </a:r>
            <a:br>
              <a:rPr lang="en-GB" sz="1400" b="1" dirty="0">
                <a:solidFill>
                  <a:schemeClr val="tx2"/>
                </a:solidFill>
              </a:rPr>
            </a:br>
            <a:r>
              <a:rPr lang="ru" sz="1400" b="1" dirty="0">
                <a:solidFill>
                  <a:schemeClr val="tx2"/>
                </a:solidFill>
              </a:rPr>
              <a:t>свидетельствует в пользу применения препарата </a:t>
            </a:r>
            <a:r>
              <a:rPr lang="ru-RU" sz="1400" b="1" dirty="0" err="1">
                <a:solidFill>
                  <a:schemeClr val="tx2"/>
                </a:solidFill>
              </a:rPr>
              <a:t>Линпарза</a:t>
            </a:r>
            <a:r>
              <a:rPr lang="ru-RU" sz="1400" b="1" baseline="30000" dirty="0">
                <a:solidFill>
                  <a:schemeClr val="tx2"/>
                </a:solidFill>
              </a:rPr>
              <a:t>®</a:t>
            </a:r>
            <a:r>
              <a:rPr lang="ru" sz="1400" b="1" dirty="0">
                <a:solidFill>
                  <a:schemeClr val="tx2"/>
                </a:solidFill>
              </a:rPr>
              <a:t> в комбинации с абиратероном в </a:t>
            </a:r>
            <a:r>
              <a:rPr lang="ru-RU" sz="1400" b="1" dirty="0">
                <a:solidFill>
                  <a:schemeClr val="tx2"/>
                </a:solidFill>
              </a:rPr>
              <a:t>общей</a:t>
            </a:r>
            <a:r>
              <a:rPr lang="ru" sz="1400" b="1" dirty="0">
                <a:solidFill>
                  <a:schemeClr val="tx2"/>
                </a:solidFill>
              </a:rPr>
              <a:t> популяции пациентов**</a:t>
            </a:r>
            <a:endParaRPr lang="en-US" sz="1400" b="1" dirty="0">
              <a:solidFill>
                <a:schemeClr val="tx2"/>
              </a:solidFill>
            </a:endParaRPr>
          </a:p>
        </p:txBody>
      </p:sp>
    </p:spTree>
    <p:extLst>
      <p:ext uri="{BB962C8B-B14F-4D97-AF65-F5344CB8AC3E}">
        <p14:creationId xmlns:p14="http://schemas.microsoft.com/office/powerpoint/2010/main" val="28342253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3D07FF2-3D50-46A1-86B4-BBDE8E11B151}"/>
              </a:ext>
            </a:extLst>
          </p:cNvPr>
          <p:cNvSpPr>
            <a:spLocks noGrp="1"/>
          </p:cNvSpPr>
          <p:nvPr>
            <p:ph type="title"/>
          </p:nvPr>
        </p:nvSpPr>
        <p:spPr>
          <a:xfrm>
            <a:off x="369887" y="289406"/>
            <a:ext cx="11772494" cy="864655"/>
          </a:xfrm>
        </p:spPr>
        <p:txBody>
          <a:bodyPr rtlCol="0">
            <a:noAutofit/>
          </a:bodyPr>
          <a:lstStyle/>
          <a:p>
            <a:r>
              <a:rPr lang="ru-RU" b="1" i="1" dirty="0">
                <a:latin typeface="+mn-lt"/>
                <a:ea typeface="+mn-ea"/>
                <a:cs typeface="+mn-cs"/>
              </a:rPr>
              <a:t>В исследовании PROpel преимущество в отношении </a:t>
            </a:r>
            <a:r>
              <a:rPr lang="ru-RU" b="1" i="1" dirty="0" err="1">
                <a:latin typeface="+mn-lt"/>
                <a:ea typeface="+mn-ea"/>
                <a:cs typeface="+mn-cs"/>
              </a:rPr>
              <a:t>рВБП</a:t>
            </a:r>
            <a:r>
              <a:rPr lang="ru-RU" b="1" i="1" dirty="0">
                <a:latin typeface="+mn-lt"/>
                <a:ea typeface="+mn-ea"/>
                <a:cs typeface="+mn-cs"/>
              </a:rPr>
              <a:t> наблюдалось </a:t>
            </a:r>
            <a:br>
              <a:rPr lang="en-US" b="1" i="1" dirty="0">
                <a:latin typeface="+mn-lt"/>
                <a:ea typeface="+mn-ea"/>
                <a:cs typeface="+mn-cs"/>
              </a:rPr>
            </a:br>
            <a:r>
              <a:rPr lang="ru-RU" b="1" i="1" dirty="0">
                <a:latin typeface="+mn-lt"/>
                <a:ea typeface="+mn-ea"/>
                <a:cs typeface="+mn-cs"/>
              </a:rPr>
              <a:t>во всех заранее выбранных подгруппах</a:t>
            </a:r>
            <a:r>
              <a:rPr lang="ru-RU" b="1" baseline="30000" dirty="0"/>
              <a:t>1</a:t>
            </a:r>
            <a:r>
              <a:rPr lang="ru-RU" b="1" dirty="0"/>
              <a:t> </a:t>
            </a:r>
            <a:endParaRPr lang="en-GB" b="1" dirty="0"/>
          </a:p>
        </p:txBody>
      </p:sp>
      <p:sp>
        <p:nvSpPr>
          <p:cNvPr id="10" name="Text Placeholder 9">
            <a:extLst>
              <a:ext uri="{FF2B5EF4-FFF2-40B4-BE49-F238E27FC236}">
                <a16:creationId xmlns:a16="http://schemas.microsoft.com/office/drawing/2014/main" id="{182E998B-2257-42D2-85EA-00B63AA167BB}"/>
              </a:ext>
            </a:extLst>
          </p:cNvPr>
          <p:cNvSpPr>
            <a:spLocks noGrp="1"/>
          </p:cNvSpPr>
          <p:nvPr>
            <p:ph type="body" sz="quarter" idx="111"/>
          </p:nvPr>
        </p:nvSpPr>
        <p:spPr>
          <a:xfrm>
            <a:off x="369887" y="6200774"/>
            <a:ext cx="10704513" cy="657225"/>
          </a:xfrm>
        </p:spPr>
        <p:txBody>
          <a:bodyPr rtlCol="0"/>
          <a:lstStyle/>
          <a:p>
            <a:pPr marL="0" indent="0" rtl="0">
              <a:spcAft>
                <a:spcPts val="0"/>
              </a:spcAft>
            </a:pPr>
            <a:r>
              <a:rPr lang="ru-RU" dirty="0"/>
              <a:t>Результаты первого окончания сбора данных при первичном анализе: 30 июля 2021 г.</a:t>
            </a:r>
            <a:br>
              <a:rPr lang="en-GB" dirty="0"/>
            </a:br>
            <a:r>
              <a:rPr lang="ru-RU" dirty="0"/>
              <a:t>ДИ — доверительный интервал; ECOG — Восточная объединенная онкологическая группа; ОР — отношение рисков; HRRm — мутация генов репарации ДНК посредством гомологичной рекомбинации; мГЧРПЖ — метастатический гормоночувствительный рак предстательной железы; ПСА — </a:t>
            </a:r>
            <a:r>
              <a:rPr lang="ru-RU" dirty="0" err="1"/>
              <a:t>простатспецифический</a:t>
            </a:r>
            <a:r>
              <a:rPr lang="ru-RU" dirty="0"/>
              <a:t> антиген; </a:t>
            </a:r>
            <a:r>
              <a:rPr lang="ru-RU" dirty="0" err="1"/>
              <a:t>рВБП</a:t>
            </a:r>
            <a:r>
              <a:rPr lang="ru-RU" dirty="0"/>
              <a:t> — выживаемость без радиологического прогрессирования; НД — не достигнуто</a:t>
            </a:r>
            <a:br>
              <a:rPr lang="en-GB" dirty="0"/>
            </a:br>
            <a:r>
              <a:rPr lang="ru-RU" dirty="0"/>
              <a:t>1. Saad F, et al. Представлено на конгрессе ASCO GU 2022, 17–19 февраля, Сан-Франциско, Калифорния. Устный доклад 1; 2. Saad F, et al. Представлено на конгрессе ESMO 9–13 сентября 2022 г., Париж, Франция. </a:t>
            </a:r>
            <a:r>
              <a:rPr lang="ru-RU" dirty="0" err="1"/>
              <a:t>Abstract</a:t>
            </a:r>
            <a:r>
              <a:rPr lang="ru-RU" dirty="0"/>
              <a:t> 13570.</a:t>
            </a:r>
          </a:p>
        </p:txBody>
      </p:sp>
      <p:graphicFrame>
        <p:nvGraphicFramePr>
          <p:cNvPr id="17" name="Table 3">
            <a:extLst>
              <a:ext uri="{FF2B5EF4-FFF2-40B4-BE49-F238E27FC236}">
                <a16:creationId xmlns:a16="http://schemas.microsoft.com/office/drawing/2014/main" id="{5E62EA7B-F4FA-022A-5D07-B659124435AB}"/>
              </a:ext>
            </a:extLst>
          </p:cNvPr>
          <p:cNvGraphicFramePr>
            <a:graphicFrameLocks noGrp="1"/>
          </p:cNvGraphicFramePr>
          <p:nvPr>
            <p:extLst>
              <p:ext uri="{D42A27DB-BD31-4B8C-83A1-F6EECF244321}">
                <p14:modId xmlns:p14="http://schemas.microsoft.com/office/powerpoint/2010/main" val="1485704639"/>
              </p:ext>
            </p:extLst>
          </p:nvPr>
        </p:nvGraphicFramePr>
        <p:xfrm>
          <a:off x="378847" y="1090847"/>
          <a:ext cx="11376000" cy="4087651"/>
        </p:xfrm>
        <a:graphic>
          <a:graphicData uri="http://schemas.openxmlformats.org/drawingml/2006/table">
            <a:tbl>
              <a:tblPr firstRow="1" bandRow="1">
                <a:tableStyleId>{68D230F3-CF80-4859-8CE7-A43EE81993B5}</a:tableStyleId>
              </a:tblPr>
              <a:tblGrid>
                <a:gridCol w="1343273">
                  <a:extLst>
                    <a:ext uri="{9D8B030D-6E8A-4147-A177-3AD203B41FA5}">
                      <a16:colId xmlns:a16="http://schemas.microsoft.com/office/drawing/2014/main" val="623668595"/>
                    </a:ext>
                  </a:extLst>
                </a:gridCol>
                <a:gridCol w="2940727">
                  <a:extLst>
                    <a:ext uri="{9D8B030D-6E8A-4147-A177-3AD203B41FA5}">
                      <a16:colId xmlns:a16="http://schemas.microsoft.com/office/drawing/2014/main" val="1169889859"/>
                    </a:ext>
                  </a:extLst>
                </a:gridCol>
                <a:gridCol w="900000">
                  <a:extLst>
                    <a:ext uri="{9D8B030D-6E8A-4147-A177-3AD203B41FA5}">
                      <a16:colId xmlns:a16="http://schemas.microsoft.com/office/drawing/2014/main" val="2665480741"/>
                    </a:ext>
                  </a:extLst>
                </a:gridCol>
                <a:gridCol w="2988000">
                  <a:extLst>
                    <a:ext uri="{9D8B030D-6E8A-4147-A177-3AD203B41FA5}">
                      <a16:colId xmlns:a16="http://schemas.microsoft.com/office/drawing/2014/main" val="4176349226"/>
                    </a:ext>
                  </a:extLst>
                </a:gridCol>
                <a:gridCol w="1332000">
                  <a:extLst>
                    <a:ext uri="{9D8B030D-6E8A-4147-A177-3AD203B41FA5}">
                      <a16:colId xmlns:a16="http://schemas.microsoft.com/office/drawing/2014/main" val="2218853056"/>
                    </a:ext>
                  </a:extLst>
                </a:gridCol>
                <a:gridCol w="936000">
                  <a:extLst>
                    <a:ext uri="{9D8B030D-6E8A-4147-A177-3AD203B41FA5}">
                      <a16:colId xmlns:a16="http://schemas.microsoft.com/office/drawing/2014/main" val="2718215769"/>
                    </a:ext>
                  </a:extLst>
                </a:gridCol>
                <a:gridCol w="936000">
                  <a:extLst>
                    <a:ext uri="{9D8B030D-6E8A-4147-A177-3AD203B41FA5}">
                      <a16:colId xmlns:a16="http://schemas.microsoft.com/office/drawing/2014/main" val="2911751557"/>
                    </a:ext>
                  </a:extLst>
                </a:gridCol>
              </a:tblGrid>
              <a:tr h="182371">
                <a:tc rowSpan="2">
                  <a:txBody>
                    <a:bodyPr/>
                    <a:lstStyle/>
                    <a:p>
                      <a:pPr rtl="0"/>
                      <a:endParaRPr lang="en-US" sz="500" dirty="0"/>
                    </a:p>
                  </a:txBody>
                  <a:tcPr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rtl="0"/>
                      <a:endParaRPr lang="en-US" sz="900">
                        <a:latin typeface="+mn-lt"/>
                      </a:endParaRPr>
                    </a:p>
                  </a:txBody>
                  <a:tcPr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rtl="0"/>
                      <a:r>
                        <a:rPr lang="ru-RU" sz="900" b="1" dirty="0"/>
                        <a:t>Число пациентов, n</a:t>
                      </a:r>
                      <a:endParaRPr lang="ru-RU" sz="900" b="1" dirty="0">
                        <a:latin typeface="+mn-lt"/>
                      </a:endParaRPr>
                    </a:p>
                  </a:txBody>
                  <a:tcPr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rtl="0"/>
                      <a:endParaRPr lang="en-US" sz="900" dirty="0">
                        <a:latin typeface="+mn-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rtl="0"/>
                      <a:r>
                        <a:rPr lang="ru-RU" sz="900" b="1" dirty="0"/>
                        <a:t>ОР (95% ДИ)</a:t>
                      </a:r>
                      <a:endParaRPr lang="ru-RU" sz="900" b="1" dirty="0">
                        <a:latin typeface="+mn-lt"/>
                      </a:endParaRPr>
                    </a:p>
                  </a:txBody>
                  <a:tcPr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900" b="1" dirty="0"/>
                        <a:t>Медиана </a:t>
                      </a:r>
                      <a:r>
                        <a:rPr lang="ru-RU" sz="900" b="1" dirty="0" err="1"/>
                        <a:t>рВБП</a:t>
                      </a:r>
                      <a:r>
                        <a:rPr lang="ru-RU" sz="900" b="1" dirty="0"/>
                        <a:t>, месяцы</a:t>
                      </a:r>
                      <a:endParaRPr lang="ru-RU" sz="900" b="1" i="0" dirty="0">
                        <a:latin typeface="+mn-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rtl="0"/>
                      <a:endParaRPr lang="en-US" sz="900" b="1"/>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174137653"/>
                  </a:ext>
                </a:extLst>
              </a:tr>
              <a:tr h="180652">
                <a:tc vMerge="1">
                  <a:txBody>
                    <a:bodyPr/>
                    <a:lstStyle/>
                    <a:p>
                      <a:pPr rtl="0"/>
                      <a:endParaRPr lang="en-GB"/>
                    </a:p>
                  </a:txBody>
                  <a:tcPr/>
                </a:tc>
                <a:tc vMerge="1">
                  <a:txBody>
                    <a:bodyPr/>
                    <a:lstStyle/>
                    <a:p>
                      <a:pPr rtl="0"/>
                      <a:endParaRPr lang="en-US" sz="900"/>
                    </a:p>
                  </a:txBody>
                  <a:tcPr marT="9720" marB="9720"/>
                </a:tc>
                <a:tc vMerge="1">
                  <a:txBody>
                    <a:bodyPr/>
                    <a:lstStyle/>
                    <a:p>
                      <a:pPr rtl="0"/>
                      <a:endParaRPr lang="en-US" sz="900"/>
                    </a:p>
                  </a:txBody>
                  <a:tcPr marT="9720" marB="9720"/>
                </a:tc>
                <a:tc vMerge="1">
                  <a:txBody>
                    <a:bodyPr/>
                    <a:lstStyle/>
                    <a:p>
                      <a:pPr rtl="0"/>
                      <a:endParaRPr lang="en-GB"/>
                    </a:p>
                  </a:txBody>
                  <a:tcPr/>
                </a:tc>
                <a:tc vMerge="1">
                  <a:txBody>
                    <a:bodyPr/>
                    <a:lstStyle/>
                    <a:p>
                      <a:pPr algn="ctr" rtl="0"/>
                      <a:endParaRPr lang="en-US" sz="900"/>
                    </a:p>
                  </a:txBody>
                  <a:tcPr marT="9720" marB="9720"/>
                </a:tc>
                <a:tc>
                  <a:txBody>
                    <a:bodyPr/>
                    <a:lstStyle/>
                    <a:p>
                      <a:pPr algn="ctr" rtl="0"/>
                      <a:r>
                        <a:rPr lang="ru-RU" sz="900" b="1" dirty="0" err="1">
                          <a:solidFill>
                            <a:schemeClr val="accent1"/>
                          </a:solidFill>
                        </a:rPr>
                        <a:t>Линпарза</a:t>
                      </a:r>
                      <a:r>
                        <a:rPr lang="ru-RU" sz="900" b="1" dirty="0">
                          <a:solidFill>
                            <a:schemeClr val="accent1"/>
                          </a:solidFill>
                        </a:rPr>
                        <a:t>® + абиратерон </a:t>
                      </a:r>
                      <a:endParaRPr lang="ru-RU" sz="900" b="1" dirty="0">
                        <a:solidFill>
                          <a:schemeClr val="accent1"/>
                        </a:solidFill>
                        <a:latin typeface="+mn-lt"/>
                      </a:endParaRPr>
                    </a:p>
                  </a:txBody>
                  <a:tcPr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a:r>
                        <a:rPr lang="ru-RU" sz="900" b="1" dirty="0">
                          <a:solidFill>
                            <a:schemeClr val="accent2"/>
                          </a:solidFill>
                        </a:rPr>
                        <a:t>Плацебо + абиратерон </a:t>
                      </a:r>
                      <a:endParaRPr lang="en-US" sz="900" b="1" dirty="0">
                        <a:latin typeface="+mn-lt"/>
                      </a:endParaRPr>
                    </a:p>
                  </a:txBody>
                  <a:tcPr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03919482"/>
                  </a:ext>
                </a:extLst>
              </a:tr>
              <a:tr h="216000">
                <a:tc>
                  <a:txBody>
                    <a:bodyPr/>
                    <a:lstStyle/>
                    <a:p>
                      <a:pPr rtl="0"/>
                      <a:endParaRPr lang="en-US" sz="500" dirty="0"/>
                    </a:p>
                  </a:txBody>
                  <a:tcPr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ru-RU" sz="900" dirty="0"/>
                        <a:t>Все пациенты</a:t>
                      </a:r>
                      <a:endParaRPr lang="ru-RU" sz="900" dirty="0">
                        <a:latin typeface="+mn-lt"/>
                      </a:endParaRPr>
                    </a:p>
                  </a:txBody>
                  <a:tcPr marL="36000" marR="36000" marT="0" marB="0" anchor="ctr">
                    <a:lnL>
                      <a:noFill/>
                    </a:lnL>
                    <a:lnT w="12700" cap="flat" cmpd="sng" algn="ctr">
                      <a:solidFill>
                        <a:schemeClr val="tx1"/>
                      </a:solidFill>
                      <a:prstDash val="solid"/>
                      <a:round/>
                      <a:headEnd type="none" w="med" len="med"/>
                      <a:tailEnd type="none" w="med" len="med"/>
                    </a:lnT>
                  </a:tcPr>
                </a:tc>
                <a:tc>
                  <a:txBody>
                    <a:bodyPr/>
                    <a:lstStyle/>
                    <a:p>
                      <a:pPr algn="ctr" rtl="0"/>
                      <a:r>
                        <a:rPr lang="ru-RU" sz="900"/>
                        <a:t>796</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rtl="0"/>
                      <a:endParaRPr lang="en-US"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a:t>0,66 (0,54–0,81)</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a:t>24,8</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a:t>16,6</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595203645"/>
                  </a:ext>
                </a:extLst>
              </a:tr>
              <a:tr h="216000">
                <a:tc rowSpan="2">
                  <a:txBody>
                    <a:bodyPr/>
                    <a:lstStyle/>
                    <a:p>
                      <a:pPr rtl="0"/>
                      <a:r>
                        <a:rPr lang="ru-RU" sz="1050" b="1" dirty="0"/>
                        <a:t>ВОЗРАСТ</a:t>
                      </a:r>
                    </a:p>
                  </a:txBody>
                  <a:tcPr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rtl="0"/>
                      <a:r>
                        <a:rPr lang="ru-RU" sz="900" dirty="0"/>
                        <a:t>Возраст при рандомизации &lt; 65</a:t>
                      </a:r>
                      <a:endParaRPr lang="ru-RU" sz="900" dirty="0">
                        <a:latin typeface="+mn-lt"/>
                      </a:endParaRPr>
                    </a:p>
                  </a:txBody>
                  <a:tcPr marL="36000" marR="36000" marT="0" marB="0" anchor="ctr">
                    <a:lnL>
                      <a:noFill/>
                    </a:lnL>
                  </a:tcPr>
                </a:tc>
                <a:tc>
                  <a:txBody>
                    <a:bodyPr/>
                    <a:lstStyle/>
                    <a:p>
                      <a:pPr algn="ctr" rtl="0"/>
                      <a:r>
                        <a:rPr lang="ru-RU" sz="900"/>
                        <a:t>227</a:t>
                      </a:r>
                      <a:endParaRPr lang="ru-RU" sz="900">
                        <a:latin typeface="+mn-lt"/>
                      </a:endParaRPr>
                    </a:p>
                  </a:txBody>
                  <a:tcPr marT="0" marB="0" anchor="ctr"/>
                </a:tc>
                <a:tc>
                  <a:txBody>
                    <a:bodyPr/>
                    <a:lstStyle/>
                    <a:p>
                      <a:pPr rtl="0"/>
                      <a:endParaRPr lang="en-US" sz="900" dirty="0">
                        <a:latin typeface="+mn-lt"/>
                      </a:endParaRPr>
                    </a:p>
                  </a:txBody>
                  <a:tcPr marT="0" marB="0" anchor="ctr"/>
                </a:tc>
                <a:tc>
                  <a:txBody>
                    <a:bodyPr/>
                    <a:lstStyle/>
                    <a:p>
                      <a:pPr algn="ctr" rtl="0"/>
                      <a:r>
                        <a:rPr lang="ru-RU" sz="900"/>
                        <a:t>0,51 (0,35–0,75)</a:t>
                      </a:r>
                      <a:endParaRPr lang="ru-RU" sz="900">
                        <a:latin typeface="+mn-lt"/>
                      </a:endParaRPr>
                    </a:p>
                  </a:txBody>
                  <a:tcPr marT="0" marB="0" anchor="ctr"/>
                </a:tc>
                <a:tc>
                  <a:txBody>
                    <a:bodyPr/>
                    <a:lstStyle/>
                    <a:p>
                      <a:pPr algn="ctr" rtl="0"/>
                      <a:r>
                        <a:rPr lang="ru-RU" sz="900"/>
                        <a:t>НД</a:t>
                      </a:r>
                      <a:endParaRPr lang="ru-RU" sz="900">
                        <a:latin typeface="+mn-lt"/>
                      </a:endParaRPr>
                    </a:p>
                  </a:txBody>
                  <a:tcPr marT="0" marB="0" anchor="ctr"/>
                </a:tc>
                <a:tc>
                  <a:txBody>
                    <a:bodyPr/>
                    <a:lstStyle/>
                    <a:p>
                      <a:pPr algn="ctr" rtl="0"/>
                      <a:r>
                        <a:rPr lang="ru-RU" sz="900" dirty="0"/>
                        <a:t>16,4</a:t>
                      </a:r>
                      <a:endParaRPr lang="ru-RU" sz="900" dirty="0">
                        <a:latin typeface="+mn-lt"/>
                      </a:endParaRPr>
                    </a:p>
                  </a:txBody>
                  <a:tcPr marT="0" marB="0" anchor="ctr"/>
                </a:tc>
                <a:extLst>
                  <a:ext uri="{0D108BD9-81ED-4DB2-BD59-A6C34878D82A}">
                    <a16:rowId xmlns:a16="http://schemas.microsoft.com/office/drawing/2014/main" val="3318889303"/>
                  </a:ext>
                </a:extLst>
              </a:tr>
              <a:tr h="21600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p>
                  </a:txBody>
                  <a:tcPr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9F4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900" dirty="0"/>
                        <a:t>Возраст при рандомизации ≥ 65</a:t>
                      </a:r>
                      <a:endParaRPr lang="ru-RU" sz="900" dirty="0">
                        <a:latin typeface="+mn-lt"/>
                      </a:endParaRPr>
                    </a:p>
                  </a:txBody>
                  <a:tcPr marL="36000" marR="36000" marT="0" marB="0" anchor="ctr">
                    <a:lnL>
                      <a:noFill/>
                    </a:lnL>
                    <a:lnB w="12700" cap="flat" cmpd="sng" algn="ctr">
                      <a:solidFill>
                        <a:schemeClr val="tx1"/>
                      </a:solidFill>
                      <a:prstDash val="solid"/>
                      <a:round/>
                      <a:headEnd type="none" w="med" len="med"/>
                      <a:tailEnd type="none" w="med" len="med"/>
                    </a:lnB>
                  </a:tcPr>
                </a:tc>
                <a:tc>
                  <a:txBody>
                    <a:bodyPr/>
                    <a:lstStyle/>
                    <a:p>
                      <a:pPr algn="ctr" rtl="0"/>
                      <a:r>
                        <a:rPr lang="ru-RU" sz="900" dirty="0"/>
                        <a:t>569</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rtl="0"/>
                      <a:endParaRPr lang="en-US"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dirty="0"/>
                        <a:t>0,78 (0,62–0,98)</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dirty="0"/>
                        <a:t>22,0</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dirty="0"/>
                        <a:t>16,7</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7390747"/>
                  </a:ext>
                </a:extLst>
              </a:tr>
              <a:tr h="216000">
                <a:tc rowSpan="2">
                  <a:txBody>
                    <a:bodyPr/>
                    <a:lstStyle/>
                    <a:p>
                      <a:pPr rtl="0"/>
                      <a:r>
                        <a:rPr lang="ru-RU" sz="1050" b="1" dirty="0"/>
                        <a:t>ECOG</a:t>
                      </a:r>
                    </a:p>
                  </a:txBody>
                  <a:tcPr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rtl="0"/>
                      <a:r>
                        <a:rPr lang="ru-RU" sz="900" dirty="0"/>
                        <a:t>Исходный функциональный статус по шкале ECOG – 0*</a:t>
                      </a:r>
                      <a:endParaRPr lang="ru-RU" sz="900" dirty="0">
                        <a:latin typeface="+mn-lt"/>
                      </a:endParaRPr>
                    </a:p>
                  </a:txBody>
                  <a:tcPr marL="36000" marR="36000" marT="0" marB="0" anchor="ctr">
                    <a:lnL>
                      <a:noFill/>
                    </a:lnL>
                    <a:lnT w="12700" cap="flat" cmpd="sng" algn="ctr">
                      <a:solidFill>
                        <a:schemeClr val="tx1"/>
                      </a:solidFill>
                      <a:prstDash val="solid"/>
                      <a:round/>
                      <a:headEnd type="none" w="med" len="med"/>
                      <a:tailEnd type="none" w="med" len="med"/>
                    </a:lnT>
                  </a:tcPr>
                </a:tc>
                <a:tc>
                  <a:txBody>
                    <a:bodyPr/>
                    <a:lstStyle/>
                    <a:p>
                      <a:pPr algn="ctr" rtl="0"/>
                      <a:r>
                        <a:rPr lang="ru-RU" sz="900"/>
                        <a:t>558</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rtl="0"/>
                      <a:endParaRPr lang="en-US" sz="900" dirty="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dirty="0"/>
                        <a:t>0,67 (0,52–0,85)</a:t>
                      </a:r>
                      <a:endParaRPr lang="ru-RU" sz="900" dirty="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a:t>24,9</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a:t>16,8</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161970141"/>
                  </a:ext>
                </a:extLst>
              </a:tr>
              <a:tr h="21600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p>
                  </a:txBody>
                  <a:tcPr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BEAB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900" dirty="0"/>
                        <a:t>Исходный функциональный статус по шкале ECOG – 1*</a:t>
                      </a:r>
                      <a:endParaRPr lang="ru-RU" sz="900" dirty="0">
                        <a:latin typeface="+mn-lt"/>
                      </a:endParaRPr>
                    </a:p>
                  </a:txBody>
                  <a:tcPr marL="36000" marR="36000" marT="0" marB="0" anchor="ctr">
                    <a:lnL>
                      <a:noFill/>
                    </a:lnL>
                    <a:lnB w="12700" cap="flat" cmpd="sng" algn="ctr">
                      <a:solidFill>
                        <a:schemeClr val="tx1"/>
                      </a:solidFill>
                      <a:prstDash val="solid"/>
                      <a:round/>
                      <a:headEnd type="none" w="med" len="med"/>
                      <a:tailEnd type="none" w="med" len="med"/>
                    </a:lnB>
                  </a:tcPr>
                </a:tc>
                <a:tc>
                  <a:txBody>
                    <a:bodyPr/>
                    <a:lstStyle/>
                    <a:p>
                      <a:pPr algn="ctr" rtl="0"/>
                      <a:r>
                        <a:rPr lang="ru-RU" sz="900" dirty="0"/>
                        <a:t>236</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rtl="0"/>
                      <a:endParaRPr lang="en-US"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dirty="0"/>
                        <a:t>0,75 (0,53–1,06)</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dirty="0"/>
                        <a:t>17,5</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dirty="0"/>
                        <a:t>14,6</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3262740"/>
                  </a:ext>
                </a:extLst>
              </a:tr>
              <a:tr h="216000">
                <a:tc rowSpan="3">
                  <a:txBody>
                    <a:bodyPr/>
                    <a:lstStyle/>
                    <a:p>
                      <a:pPr rtl="0"/>
                      <a:r>
                        <a:rPr lang="ru-RU" sz="1050" b="1" dirty="0"/>
                        <a:t>МЕТАСТАЗЫ</a:t>
                      </a:r>
                    </a:p>
                  </a:txBody>
                  <a:tcPr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rtl="0"/>
                      <a:r>
                        <a:rPr lang="ru-RU" sz="900" dirty="0"/>
                        <a:t>Метастазы: только кости</a:t>
                      </a:r>
                      <a:endParaRPr lang="ru-RU" sz="900" dirty="0">
                        <a:latin typeface="+mn-lt"/>
                      </a:endParaRPr>
                    </a:p>
                  </a:txBody>
                  <a:tcPr marL="36000" marR="36000" marT="0" marB="0" anchor="ctr">
                    <a:lnL>
                      <a:noFill/>
                    </a:lnL>
                    <a:lnT w="12700" cap="flat" cmpd="sng" algn="ctr">
                      <a:solidFill>
                        <a:schemeClr val="tx1"/>
                      </a:solidFill>
                      <a:prstDash val="solid"/>
                      <a:round/>
                      <a:headEnd type="none" w="med" len="med"/>
                      <a:tailEnd type="none" w="med" len="med"/>
                    </a:lnT>
                  </a:tcPr>
                </a:tc>
                <a:tc>
                  <a:txBody>
                    <a:bodyPr/>
                    <a:lstStyle/>
                    <a:p>
                      <a:pPr algn="ctr" rtl="0"/>
                      <a:r>
                        <a:rPr lang="ru-RU" sz="900"/>
                        <a:t>434</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rtl="0"/>
                      <a:endParaRPr lang="en-US" sz="900" dirty="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a:t>0,73 (0,54–0,98)</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dirty="0"/>
                        <a:t>27,6</a:t>
                      </a:r>
                      <a:endParaRPr lang="ru-RU" sz="900" dirty="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dirty="0"/>
                        <a:t>22,2</a:t>
                      </a:r>
                      <a:endParaRPr lang="ru-RU" sz="900" dirty="0">
                        <a:latin typeface="+mn-lt"/>
                      </a:endParaRPr>
                    </a:p>
                  </a:txBody>
                  <a:tcPr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917010613"/>
                  </a:ext>
                </a:extLst>
              </a:tr>
              <a:tr h="216000">
                <a:tc vMerge="1">
                  <a:txBody>
                    <a:bodyPr/>
                    <a:lstStyle/>
                    <a:p>
                      <a:pPr rtl="0"/>
                      <a:endParaRPr lang="en-US" sz="900"/>
                    </a:p>
                  </a:txBody>
                  <a:tcPr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EC3D4"/>
                    </a:solidFill>
                  </a:tcPr>
                </a:tc>
                <a:tc>
                  <a:txBody>
                    <a:bodyPr/>
                    <a:lstStyle/>
                    <a:p>
                      <a:pPr rtl="0"/>
                      <a:r>
                        <a:rPr lang="ru-RU" sz="900" dirty="0"/>
                        <a:t>Метастазы: висцеральные</a:t>
                      </a:r>
                      <a:endParaRPr lang="ru-RU" sz="900" dirty="0">
                        <a:latin typeface="+mn-lt"/>
                      </a:endParaRPr>
                    </a:p>
                  </a:txBody>
                  <a:tcPr marL="36000" marR="36000" marT="0" marB="0" anchor="ctr">
                    <a:lnL>
                      <a:noFill/>
                    </a:lnL>
                  </a:tcPr>
                </a:tc>
                <a:tc>
                  <a:txBody>
                    <a:bodyPr/>
                    <a:lstStyle/>
                    <a:p>
                      <a:pPr algn="ctr" rtl="0"/>
                      <a:r>
                        <a:rPr lang="ru-RU" sz="900"/>
                        <a:t>105</a:t>
                      </a:r>
                      <a:endParaRPr lang="ru-RU" sz="900">
                        <a:latin typeface="+mn-lt"/>
                      </a:endParaRPr>
                    </a:p>
                  </a:txBody>
                  <a:tcPr marT="0" marB="0" anchor="ctr"/>
                </a:tc>
                <a:tc>
                  <a:txBody>
                    <a:bodyPr/>
                    <a:lstStyle/>
                    <a:p>
                      <a:pPr rtl="0"/>
                      <a:endParaRPr lang="en-US" sz="900">
                        <a:latin typeface="+mn-lt"/>
                      </a:endParaRPr>
                    </a:p>
                  </a:txBody>
                  <a:tcPr marT="0" marB="0" anchor="ctr"/>
                </a:tc>
                <a:tc>
                  <a:txBody>
                    <a:bodyPr/>
                    <a:lstStyle/>
                    <a:p>
                      <a:pPr algn="ctr" rtl="0"/>
                      <a:r>
                        <a:rPr lang="ru-RU" sz="900"/>
                        <a:t>0,62 (0,39–0,99)</a:t>
                      </a:r>
                      <a:endParaRPr lang="ru-RU" sz="900">
                        <a:latin typeface="+mn-lt"/>
                      </a:endParaRPr>
                    </a:p>
                  </a:txBody>
                  <a:tcPr marT="0" marB="0" anchor="ctr"/>
                </a:tc>
                <a:tc>
                  <a:txBody>
                    <a:bodyPr/>
                    <a:lstStyle/>
                    <a:p>
                      <a:pPr algn="ctr" rtl="0"/>
                      <a:r>
                        <a:rPr lang="ru-RU" sz="900"/>
                        <a:t>13,7</a:t>
                      </a:r>
                      <a:endParaRPr lang="ru-RU" sz="900">
                        <a:latin typeface="+mn-lt"/>
                      </a:endParaRPr>
                    </a:p>
                  </a:txBody>
                  <a:tcPr marT="0" marB="0" anchor="ctr"/>
                </a:tc>
                <a:tc>
                  <a:txBody>
                    <a:bodyPr/>
                    <a:lstStyle/>
                    <a:p>
                      <a:pPr algn="ctr" rtl="0"/>
                      <a:r>
                        <a:rPr lang="ru-RU" sz="900"/>
                        <a:t>10,9</a:t>
                      </a:r>
                      <a:endParaRPr lang="ru-RU" sz="900">
                        <a:latin typeface="+mn-lt"/>
                      </a:endParaRPr>
                    </a:p>
                  </a:txBody>
                  <a:tcPr marT="0" marB="0" anchor="ctr"/>
                </a:tc>
                <a:extLst>
                  <a:ext uri="{0D108BD9-81ED-4DB2-BD59-A6C34878D82A}">
                    <a16:rowId xmlns:a16="http://schemas.microsoft.com/office/drawing/2014/main" val="2373230548"/>
                  </a:ext>
                </a:extLst>
              </a:tr>
              <a:tr h="216000">
                <a:tc vMerge="1">
                  <a:txBody>
                    <a:bodyPr/>
                    <a:lstStyle/>
                    <a:p>
                      <a:pPr rtl="0"/>
                      <a:endParaRPr lang="en-US" sz="900"/>
                    </a:p>
                  </a:txBody>
                  <a:tcPr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EC3D4"/>
                    </a:solidFill>
                  </a:tcPr>
                </a:tc>
                <a:tc>
                  <a:txBody>
                    <a:bodyPr/>
                    <a:lstStyle/>
                    <a:p>
                      <a:pPr rtl="0"/>
                      <a:r>
                        <a:rPr lang="ru-RU" sz="900" dirty="0"/>
                        <a:t>Метастазы: другие</a:t>
                      </a:r>
                      <a:endParaRPr lang="ru-RU" sz="900" dirty="0">
                        <a:latin typeface="+mn-lt"/>
                      </a:endParaRPr>
                    </a:p>
                  </a:txBody>
                  <a:tcPr marL="36000" marR="36000" marT="0" marB="0" anchor="ctr">
                    <a:lnL>
                      <a:noFill/>
                    </a:lnL>
                    <a:lnB w="12700" cap="flat" cmpd="sng" algn="ctr">
                      <a:solidFill>
                        <a:schemeClr val="tx1"/>
                      </a:solidFill>
                      <a:prstDash val="solid"/>
                      <a:round/>
                      <a:headEnd type="none" w="med" len="med"/>
                      <a:tailEnd type="none" w="med" len="med"/>
                    </a:lnB>
                  </a:tcPr>
                </a:tc>
                <a:tc>
                  <a:txBody>
                    <a:bodyPr/>
                    <a:lstStyle/>
                    <a:p>
                      <a:pPr algn="ctr" rtl="0"/>
                      <a:r>
                        <a:rPr lang="ru-RU" sz="900"/>
                        <a:t>257</a:t>
                      </a:r>
                      <a:endParaRPr lang="ru-RU" sz="90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rtl="0"/>
                      <a:endParaRPr lang="en-US" sz="90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dirty="0"/>
                        <a:t>0,62 (0,44–0,85)</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dirty="0"/>
                        <a:t>20,5</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dirty="0"/>
                        <a:t>13,7</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62549575"/>
                  </a:ext>
                </a:extLst>
              </a:tr>
              <a:tr h="216000">
                <a:tc rowSpan="2">
                  <a:txBody>
                    <a:bodyPr/>
                    <a:lstStyle/>
                    <a:p>
                      <a:pPr rtl="0"/>
                      <a:r>
                        <a:rPr lang="ru-RU" sz="1050" b="1" dirty="0"/>
                        <a:t>ДОЦЕТАКСЕЛ</a:t>
                      </a:r>
                    </a:p>
                  </a:txBody>
                  <a:tcPr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ru-RU" sz="900" dirty="0"/>
                        <a:t>Лечение </a:t>
                      </a:r>
                      <a:r>
                        <a:rPr lang="ru-RU" sz="900" dirty="0" err="1"/>
                        <a:t>доцетакселом</a:t>
                      </a:r>
                      <a:r>
                        <a:rPr lang="ru-RU" sz="900" dirty="0"/>
                        <a:t> на стадии мГЧРПЖ</a:t>
                      </a:r>
                      <a:endParaRPr lang="ru-RU" sz="900" dirty="0">
                        <a:latin typeface="+mn-lt"/>
                      </a:endParaRPr>
                    </a:p>
                  </a:txBody>
                  <a:tcPr marL="36000" marR="36000" marT="0" marB="0" anchor="ctr">
                    <a:lnL>
                      <a:noFill/>
                    </a:lnL>
                    <a:lnT w="12700" cap="flat" cmpd="sng" algn="ctr">
                      <a:solidFill>
                        <a:schemeClr val="tx1"/>
                      </a:solidFill>
                      <a:prstDash val="solid"/>
                      <a:round/>
                      <a:headEnd type="none" w="med" len="med"/>
                      <a:tailEnd type="none" w="med" len="med"/>
                    </a:lnT>
                  </a:tcPr>
                </a:tc>
                <a:tc>
                  <a:txBody>
                    <a:bodyPr/>
                    <a:lstStyle/>
                    <a:p>
                      <a:pPr algn="ctr" rtl="0"/>
                      <a:r>
                        <a:rPr lang="ru-RU" sz="900" dirty="0"/>
                        <a:t>189</a:t>
                      </a:r>
                      <a:endParaRPr lang="ru-RU" sz="900" dirty="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rtl="0"/>
                      <a:endParaRPr lang="en-US" sz="900" dirty="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a:t>0,61 (0,40–0,92)</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a:t>27,6</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a:t>13,8</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74620089"/>
                  </a:ext>
                </a:extLst>
              </a:tr>
              <a:tr h="216000">
                <a:tc vMerge="1">
                  <a:txBody>
                    <a:bodyPr/>
                    <a:lstStyle/>
                    <a:p>
                      <a:pPr rtl="0"/>
                      <a:endParaRPr lang="en-US" sz="900"/>
                    </a:p>
                  </a:txBody>
                  <a:tcPr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6EBEA"/>
                    </a:solidFill>
                  </a:tcPr>
                </a:tc>
                <a:tc>
                  <a:txBody>
                    <a:bodyPr/>
                    <a:lstStyle/>
                    <a:p>
                      <a:pPr rtl="0"/>
                      <a:r>
                        <a:rPr lang="ru-RU" sz="900" dirty="0"/>
                        <a:t>Без лечения </a:t>
                      </a:r>
                      <a:r>
                        <a:rPr lang="ru-RU" sz="900" dirty="0" err="1"/>
                        <a:t>доцетакселом</a:t>
                      </a:r>
                      <a:r>
                        <a:rPr lang="ru-RU" sz="900" dirty="0"/>
                        <a:t> на стадии мГЧРПЖ</a:t>
                      </a:r>
                      <a:endParaRPr lang="ru-RU" sz="900" dirty="0">
                        <a:latin typeface="+mn-lt"/>
                      </a:endParaRPr>
                    </a:p>
                  </a:txBody>
                  <a:tcPr marL="36000" marR="36000" marT="0" marB="0" anchor="ctr">
                    <a:lnL>
                      <a:noFill/>
                    </a:lnL>
                    <a:lnB w="12700" cap="flat" cmpd="sng" algn="ctr">
                      <a:solidFill>
                        <a:schemeClr val="tx1"/>
                      </a:solidFill>
                      <a:prstDash val="solid"/>
                      <a:round/>
                      <a:headEnd type="none" w="med" len="med"/>
                      <a:tailEnd type="none" w="med" len="med"/>
                    </a:lnB>
                  </a:tcPr>
                </a:tc>
                <a:tc>
                  <a:txBody>
                    <a:bodyPr/>
                    <a:lstStyle/>
                    <a:p>
                      <a:pPr algn="ctr" rtl="0"/>
                      <a:r>
                        <a:rPr lang="ru-RU" sz="900" dirty="0"/>
                        <a:t>607</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rtl="0"/>
                      <a:endParaRPr lang="en-US"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dirty="0"/>
                        <a:t>0,71 (0,56–0,89)</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a:t>24,8</a:t>
                      </a:r>
                      <a:endParaRPr lang="ru-RU" sz="90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dirty="0"/>
                        <a:t>16,8</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8637380"/>
                  </a:ext>
                </a:extLst>
              </a:tr>
              <a:tr h="216000">
                <a:tc rowSpan="2">
                  <a:txBody>
                    <a:bodyPr/>
                    <a:lstStyle/>
                    <a:p>
                      <a:pPr rtl="0"/>
                      <a:r>
                        <a:rPr lang="ru-RU" sz="1050" b="1" dirty="0"/>
                        <a:t>ПСА</a:t>
                      </a:r>
                    </a:p>
                  </a:txBody>
                  <a:tcPr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rtl="0"/>
                      <a:r>
                        <a:rPr lang="ru-RU" sz="900" dirty="0"/>
                        <a:t>Ниже медианы исходной концентрации ПСА*</a:t>
                      </a:r>
                      <a:endParaRPr lang="en-US" sz="900" baseline="30000" dirty="0">
                        <a:latin typeface="+mn-lt"/>
                      </a:endParaRPr>
                    </a:p>
                  </a:txBody>
                  <a:tcPr marL="36000" marR="36000" marT="0" marB="0" anchor="ctr">
                    <a:lnL>
                      <a:noFill/>
                    </a:lnL>
                    <a:lnT w="12700" cap="flat" cmpd="sng" algn="ctr">
                      <a:solidFill>
                        <a:schemeClr val="tx1"/>
                      </a:solidFill>
                      <a:prstDash val="solid"/>
                      <a:round/>
                      <a:headEnd type="none" w="med" len="med"/>
                      <a:tailEnd type="none" w="med" len="med"/>
                    </a:lnT>
                  </a:tcPr>
                </a:tc>
                <a:tc>
                  <a:txBody>
                    <a:bodyPr/>
                    <a:lstStyle/>
                    <a:p>
                      <a:pPr algn="ctr" rtl="0"/>
                      <a:r>
                        <a:rPr lang="ru-RU" sz="900"/>
                        <a:t>396</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rtl="0"/>
                      <a:endParaRPr lang="en-US" sz="900" dirty="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a:t>0,75 (0,55–1,02)</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dirty="0"/>
                        <a:t>25,2</a:t>
                      </a:r>
                      <a:endParaRPr lang="ru-RU" sz="900" dirty="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dirty="0"/>
                        <a:t>22,0</a:t>
                      </a:r>
                      <a:endParaRPr lang="ru-RU" sz="900" dirty="0">
                        <a:latin typeface="+mn-lt"/>
                      </a:endParaRPr>
                    </a:p>
                  </a:txBody>
                  <a:tcPr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345803806"/>
                  </a:ext>
                </a:extLst>
              </a:tr>
              <a:tr h="21600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aseline="30000"/>
                    </a:p>
                  </a:txBody>
                  <a:tcPr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0BFD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900" dirty="0"/>
                        <a:t>Больше или равно медиане исходной концентрации ПСА*</a:t>
                      </a:r>
                      <a:endParaRPr lang="en-US" sz="900" baseline="30000" dirty="0">
                        <a:latin typeface="+mn-lt"/>
                      </a:endParaRPr>
                    </a:p>
                  </a:txBody>
                  <a:tcPr marL="36000" marR="36000" marT="0" marB="0" anchor="ctr">
                    <a:lnL>
                      <a:noFill/>
                    </a:lnL>
                    <a:lnB w="12700" cap="flat" cmpd="sng" algn="ctr">
                      <a:solidFill>
                        <a:schemeClr val="tx1"/>
                      </a:solidFill>
                      <a:prstDash val="solid"/>
                      <a:round/>
                      <a:headEnd type="none" w="med" len="med"/>
                      <a:tailEnd type="none" w="med" len="med"/>
                    </a:lnB>
                  </a:tcPr>
                </a:tc>
                <a:tc>
                  <a:txBody>
                    <a:bodyPr/>
                    <a:lstStyle/>
                    <a:p>
                      <a:pPr algn="ctr" rtl="0"/>
                      <a:r>
                        <a:rPr lang="ru-RU" sz="900" dirty="0"/>
                        <a:t>397</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rtl="0"/>
                      <a:endParaRPr lang="en-US"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a:t>0,63 (0,48–0,82)</a:t>
                      </a:r>
                      <a:endParaRPr lang="ru-RU" sz="90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dirty="0"/>
                        <a:t>18,5</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dirty="0"/>
                        <a:t>13,8</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06715799"/>
                  </a:ext>
                </a:extLst>
              </a:tr>
              <a:tr h="21600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50" b="1" dirty="0"/>
                        <a:t>СТАТУС </a:t>
                      </a:r>
                      <a:r>
                        <a:rPr lang="ru-RU" sz="1050" b="1" dirty="0" err="1"/>
                        <a:t>HRRm</a:t>
                      </a:r>
                      <a:endParaRPr lang="en-US" sz="1050" b="1" i="0" u="none" strike="noStrike" noProof="0" dirty="0"/>
                    </a:p>
                  </a:txBody>
                  <a:tcPr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auto" latinLnBrk="0" hangingPunct="1">
                        <a:lnSpc>
                          <a:spcPct val="100000"/>
                        </a:lnSpc>
                        <a:spcBef>
                          <a:spcPts val="0"/>
                        </a:spcBef>
                        <a:spcAft>
                          <a:spcPts val="0"/>
                        </a:spcAft>
                        <a:buClrTx/>
                        <a:buSzTx/>
                        <a:buFontTx/>
                        <a:buNone/>
                      </a:pPr>
                      <a:r>
                        <a:rPr lang="ru-RU" sz="900" dirty="0"/>
                        <a:t>HRRm</a:t>
                      </a:r>
                      <a:endParaRPr lang="ru-RU" sz="900" dirty="0">
                        <a:latin typeface="+mn-lt"/>
                      </a:endParaRPr>
                    </a:p>
                  </a:txBody>
                  <a:tcPr marL="36000" marR="36000" marT="0" marB="0" anchor="ctr">
                    <a:lnL>
                      <a:noFill/>
                    </a:lnL>
                    <a:lnT w="12700" cap="flat" cmpd="sng" algn="ctr">
                      <a:solidFill>
                        <a:schemeClr val="tx1"/>
                      </a:solidFill>
                      <a:prstDash val="solid"/>
                      <a:round/>
                      <a:headEnd type="none" w="med" len="med"/>
                      <a:tailEnd type="none" w="med" len="med"/>
                    </a:lnT>
                  </a:tcPr>
                </a:tc>
                <a:tc>
                  <a:txBody>
                    <a:bodyPr/>
                    <a:lstStyle/>
                    <a:p>
                      <a:pPr algn="ctr" rtl="0"/>
                      <a:r>
                        <a:rPr lang="ru-RU" sz="900"/>
                        <a:t>226</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rtl="0"/>
                      <a:endParaRPr lang="en-US" sz="900" dirty="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dirty="0"/>
                        <a:t>0,50 (0,34–0,73)</a:t>
                      </a:r>
                      <a:endParaRPr lang="ru-RU" sz="900" dirty="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a:t>НД</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a:t>13,9</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895184693"/>
                  </a:ext>
                </a:extLst>
              </a:tr>
              <a:tr h="21600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p>
                  </a:txBody>
                  <a:tcPr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BFDB"/>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ru-RU" sz="900" dirty="0"/>
                        <a:t>Отсутствие HRRm</a:t>
                      </a:r>
                      <a:endParaRPr lang="ru-RU" sz="900" dirty="0">
                        <a:latin typeface="+mn-lt"/>
                      </a:endParaRPr>
                    </a:p>
                  </a:txBody>
                  <a:tcPr marL="36000" marR="36000" marT="0" marB="0" anchor="ctr">
                    <a:lnL>
                      <a:noFill/>
                    </a:lnL>
                    <a:lnB w="12700" cap="flat" cmpd="sng" algn="ctr">
                      <a:solidFill>
                        <a:schemeClr val="tx1"/>
                      </a:solidFill>
                      <a:prstDash val="solid"/>
                      <a:round/>
                      <a:headEnd type="none" w="med" len="med"/>
                      <a:tailEnd type="none" w="med" len="med"/>
                    </a:lnB>
                  </a:tcPr>
                </a:tc>
                <a:tc>
                  <a:txBody>
                    <a:bodyPr/>
                    <a:lstStyle/>
                    <a:p>
                      <a:pPr algn="ctr" rtl="0"/>
                      <a:r>
                        <a:rPr lang="ru-RU" sz="900" dirty="0"/>
                        <a:t>552</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rtl="0"/>
                      <a:endParaRPr lang="en-US"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dirty="0"/>
                        <a:t>0,76 (0,60–0,97)</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dirty="0"/>
                        <a:t>24,1</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tc>
                  <a:txBody>
                    <a:bodyPr/>
                    <a:lstStyle/>
                    <a:p>
                      <a:pPr algn="ctr" rtl="0"/>
                      <a:r>
                        <a:rPr lang="ru-RU" sz="900" dirty="0"/>
                        <a:t>19,0</a:t>
                      </a:r>
                      <a:endParaRPr lang="ru-RU" sz="900" dirty="0">
                        <a:latin typeface="+mn-lt"/>
                      </a:endParaRPr>
                    </a:p>
                  </a:txBody>
                  <a:tcPr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04625922"/>
                  </a:ext>
                </a:extLst>
              </a:tr>
              <a:tr h="21600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50" b="1" dirty="0"/>
                        <a:t>СТАТУС BRCAm</a:t>
                      </a:r>
                      <a:r>
                        <a:rPr lang="ru-RU" sz="1050" b="1" u="none" strike="noStrike" baseline="30000" noProof="0" dirty="0"/>
                        <a:t>2</a:t>
                      </a:r>
                      <a:endParaRPr lang="en-US" sz="1100" baseline="30000" dirty="0"/>
                    </a:p>
                  </a:txBody>
                  <a:tcPr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900" dirty="0"/>
                        <a:t>BRCAm</a:t>
                      </a:r>
                      <a:endParaRPr lang="ru-RU" sz="900" dirty="0">
                        <a:latin typeface="+mn-lt"/>
                      </a:endParaRPr>
                    </a:p>
                  </a:txBody>
                  <a:tcPr marL="36000" marR="36000" marT="0" marB="0" anchor="ctr">
                    <a:lnL>
                      <a:noFill/>
                    </a:lnL>
                    <a:lnT w="12700" cap="flat" cmpd="sng" algn="ctr">
                      <a:solidFill>
                        <a:schemeClr val="tx1"/>
                      </a:solidFill>
                      <a:prstDash val="solid"/>
                      <a:round/>
                      <a:headEnd type="none" w="med" len="med"/>
                      <a:tailEnd type="none" w="med" len="med"/>
                    </a:lnT>
                  </a:tcPr>
                </a:tc>
                <a:tc>
                  <a:txBody>
                    <a:bodyPr/>
                    <a:lstStyle/>
                    <a:p>
                      <a:pPr algn="ctr" rtl="0"/>
                      <a:r>
                        <a:rPr lang="ru-RU" sz="900"/>
                        <a:t>85</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rtl="0"/>
                      <a:endParaRPr lang="en-US" sz="900" dirty="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b="0" u="none" strike="noStrike" kern="1200" cap="none" spc="0" normalizeH="0" noProof="0">
                          <a:ln>
                            <a:noFill/>
                          </a:ln>
                          <a:solidFill>
                            <a:srgbClr val="3F4444"/>
                          </a:solidFill>
                          <a:effectLst/>
                          <a:uLnTx/>
                          <a:uFillTx/>
                        </a:rPr>
                        <a:t>0,23 (0,12–0,43)</a:t>
                      </a:r>
                      <a:endParaRPr lang="en-US"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a:t>НД</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tc>
                  <a:txBody>
                    <a:bodyPr/>
                    <a:lstStyle/>
                    <a:p>
                      <a:pPr algn="ctr" rtl="0"/>
                      <a:r>
                        <a:rPr lang="ru-RU" sz="900"/>
                        <a:t>8,4</a:t>
                      </a:r>
                      <a:endParaRPr lang="ru-RU" sz="900">
                        <a:latin typeface="+mn-lt"/>
                      </a:endParaRPr>
                    </a:p>
                  </a:txBody>
                  <a:tcPr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983885716"/>
                  </a:ext>
                </a:extLst>
              </a:tr>
              <a:tr h="21600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p>
                  </a:txBody>
                  <a:tcPr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FCDD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900" dirty="0"/>
                        <a:t>Мутации в других генах (не BRCA)</a:t>
                      </a:r>
                      <a:endParaRPr lang="ru-RU" sz="900" dirty="0">
                        <a:latin typeface="+mn-lt"/>
                      </a:endParaRPr>
                    </a:p>
                  </a:txBody>
                  <a:tcPr marL="36000" marR="36000" marT="0" marB="0" anchor="ctr">
                    <a:lnL>
                      <a:noFill/>
                    </a:lnL>
                  </a:tcPr>
                </a:tc>
                <a:tc>
                  <a:txBody>
                    <a:bodyPr/>
                    <a:lstStyle/>
                    <a:p>
                      <a:pPr algn="ctr" rtl="0"/>
                      <a:r>
                        <a:rPr lang="ru-RU" sz="900"/>
                        <a:t>693</a:t>
                      </a:r>
                      <a:endParaRPr lang="ru-RU" sz="900">
                        <a:latin typeface="+mn-lt"/>
                      </a:endParaRPr>
                    </a:p>
                  </a:txBody>
                  <a:tcPr marT="0" marB="0" anchor="ctr"/>
                </a:tc>
                <a:tc>
                  <a:txBody>
                    <a:bodyPr/>
                    <a:lstStyle/>
                    <a:p>
                      <a:pPr rtl="0"/>
                      <a:endParaRPr lang="en-US" sz="900" dirty="0">
                        <a:latin typeface="+mn-lt"/>
                      </a:endParaRPr>
                    </a:p>
                  </a:txBody>
                  <a:tcPr marT="0" marB="0" anchor="ctr"/>
                </a:tc>
                <a:tc>
                  <a:txBody>
                    <a:bodyPr/>
                    <a:lstStyle/>
                    <a:p>
                      <a:pPr algn="ctr" rtl="0"/>
                      <a:r>
                        <a:rPr lang="ru-RU" sz="900" b="0" u="none" strike="noStrike" kern="1200" cap="none" spc="0" normalizeH="0" noProof="0">
                          <a:ln>
                            <a:noFill/>
                          </a:ln>
                          <a:solidFill>
                            <a:srgbClr val="3F4444"/>
                          </a:solidFill>
                          <a:effectLst/>
                          <a:uLnTx/>
                          <a:uFillTx/>
                        </a:rPr>
                        <a:t>0,76 (0,61–0,94)</a:t>
                      </a:r>
                      <a:endParaRPr lang="en-US" sz="900">
                        <a:latin typeface="+mn-lt"/>
                      </a:endParaRPr>
                    </a:p>
                  </a:txBody>
                  <a:tcPr marT="0" marB="0" anchor="ctr"/>
                </a:tc>
                <a:tc>
                  <a:txBody>
                    <a:bodyPr/>
                    <a:lstStyle/>
                    <a:p>
                      <a:pPr algn="ctr" rtl="0"/>
                      <a:r>
                        <a:rPr lang="ru-RU" sz="900"/>
                        <a:t>24,1</a:t>
                      </a:r>
                      <a:endParaRPr lang="ru-RU" sz="900">
                        <a:latin typeface="+mn-lt"/>
                      </a:endParaRPr>
                    </a:p>
                  </a:txBody>
                  <a:tcPr marT="0" marB="0" anchor="ctr"/>
                </a:tc>
                <a:tc>
                  <a:txBody>
                    <a:bodyPr/>
                    <a:lstStyle/>
                    <a:p>
                      <a:pPr algn="ctr" rtl="0"/>
                      <a:r>
                        <a:rPr lang="ru-RU" sz="900" dirty="0"/>
                        <a:t>19,0</a:t>
                      </a:r>
                      <a:endParaRPr lang="ru-RU" sz="900" dirty="0">
                        <a:latin typeface="+mn-lt"/>
                      </a:endParaRPr>
                    </a:p>
                  </a:txBody>
                  <a:tcPr marT="0" marB="0" anchor="ctr"/>
                </a:tc>
                <a:extLst>
                  <a:ext uri="{0D108BD9-81ED-4DB2-BD59-A6C34878D82A}">
                    <a16:rowId xmlns:a16="http://schemas.microsoft.com/office/drawing/2014/main" val="649091710"/>
                  </a:ext>
                </a:extLst>
              </a:tr>
            </a:tbl>
          </a:graphicData>
        </a:graphic>
      </p:graphicFrame>
      <p:sp>
        <p:nvSpPr>
          <p:cNvPr id="18" name="TextBox 17">
            <a:extLst>
              <a:ext uri="{FF2B5EF4-FFF2-40B4-BE49-F238E27FC236}">
                <a16:creationId xmlns:a16="http://schemas.microsoft.com/office/drawing/2014/main" id="{BEA9A2C7-36E8-9CD7-3EB8-118A507552D7}"/>
              </a:ext>
            </a:extLst>
          </p:cNvPr>
          <p:cNvSpPr txBox="1"/>
          <p:nvPr/>
        </p:nvSpPr>
        <p:spPr>
          <a:xfrm>
            <a:off x="4680233" y="5546813"/>
            <a:ext cx="249157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830051"/>
                </a:solidFill>
                <a:effectLst/>
                <a:uLnTx/>
                <a:uFillTx/>
                <a:ea typeface="+mn-ea"/>
                <a:cs typeface="+mn-cs"/>
              </a:rPr>
              <a:t>В пользу комбинации </a:t>
            </a:r>
            <a:r>
              <a:rPr kumimoji="0" lang="ru-RU" sz="1200" b="1" i="0" u="none" strike="noStrike" kern="1200" cap="none" spc="0" normalizeH="0" baseline="0" noProof="0" dirty="0" err="1">
                <a:ln>
                  <a:noFill/>
                </a:ln>
                <a:solidFill>
                  <a:srgbClr val="830051"/>
                </a:solidFill>
                <a:effectLst/>
                <a:uLnTx/>
                <a:uFillTx/>
                <a:ea typeface="+mn-ea"/>
                <a:cs typeface="+mn-cs"/>
              </a:rPr>
              <a:t>Линпарза</a:t>
            </a:r>
            <a:r>
              <a:rPr kumimoji="0" lang="ru-RU" sz="1200" b="1" i="0" u="none" strike="noStrike" kern="1200" cap="none" spc="0" normalizeH="0" baseline="0" noProof="0" dirty="0">
                <a:ln>
                  <a:noFill/>
                </a:ln>
                <a:solidFill>
                  <a:srgbClr val="830051"/>
                </a:solidFill>
                <a:effectLst/>
                <a:uLnTx/>
                <a:uFillTx/>
                <a:ea typeface="+mn-ea"/>
                <a:cs typeface="+mn-cs"/>
              </a:rPr>
              <a:t>® + абиратерон</a:t>
            </a:r>
          </a:p>
        </p:txBody>
      </p:sp>
      <p:sp>
        <p:nvSpPr>
          <p:cNvPr id="19" name="TextBox 18">
            <a:extLst>
              <a:ext uri="{FF2B5EF4-FFF2-40B4-BE49-F238E27FC236}">
                <a16:creationId xmlns:a16="http://schemas.microsoft.com/office/drawing/2014/main" id="{F216DA13-2709-1449-300F-BC967068909E}"/>
              </a:ext>
            </a:extLst>
          </p:cNvPr>
          <p:cNvSpPr txBox="1"/>
          <p:nvPr/>
        </p:nvSpPr>
        <p:spPr>
          <a:xfrm>
            <a:off x="7118753" y="5544677"/>
            <a:ext cx="256053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chemeClr val="tx2"/>
                </a:solidFill>
                <a:effectLst/>
                <a:uLnTx/>
                <a:uFillTx/>
                <a:ea typeface="+mn-ea"/>
                <a:cs typeface="+mn-cs"/>
              </a:rPr>
              <a:t>В пользу </a:t>
            </a:r>
            <a:endParaRPr kumimoji="0" lang="en-US" sz="1200" b="1" i="0" u="none" strike="noStrike" kern="1200" cap="none" spc="0" normalizeH="0" baseline="0" noProof="0" dirty="0">
              <a:ln>
                <a:noFill/>
              </a:ln>
              <a:solidFill>
                <a:schemeClr val="tx2"/>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chemeClr val="tx2"/>
                </a:solidFill>
                <a:effectLst/>
                <a:uLnTx/>
                <a:uFillTx/>
                <a:ea typeface="+mn-ea"/>
                <a:cs typeface="+mn-cs"/>
              </a:rPr>
              <a:t>плацебо + абиратерон</a:t>
            </a:r>
          </a:p>
        </p:txBody>
      </p:sp>
      <p:cxnSp>
        <p:nvCxnSpPr>
          <p:cNvPr id="20" name="Straight Arrow Connector 19">
            <a:extLst>
              <a:ext uri="{FF2B5EF4-FFF2-40B4-BE49-F238E27FC236}">
                <a16:creationId xmlns:a16="http://schemas.microsoft.com/office/drawing/2014/main" id="{B9C1D28A-55A1-9FE4-4FDB-C75B8BCD637F}"/>
              </a:ext>
            </a:extLst>
          </p:cNvPr>
          <p:cNvCxnSpPr>
            <a:cxnSpLocks/>
          </p:cNvCxnSpPr>
          <p:nvPr/>
        </p:nvCxnSpPr>
        <p:spPr>
          <a:xfrm>
            <a:off x="7171803" y="5484688"/>
            <a:ext cx="1656000"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653BDD61-A031-E631-694D-03EEB56B51F6}"/>
              </a:ext>
            </a:extLst>
          </p:cNvPr>
          <p:cNvCxnSpPr>
            <a:cxnSpLocks/>
          </p:cNvCxnSpPr>
          <p:nvPr/>
        </p:nvCxnSpPr>
        <p:spPr>
          <a:xfrm flipH="1">
            <a:off x="5409703" y="5481813"/>
            <a:ext cx="1656000"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CB64A2F2-383F-C5D3-6D0B-17ED71412F01}"/>
              </a:ext>
            </a:extLst>
          </p:cNvPr>
          <p:cNvSpPr/>
          <p:nvPr/>
        </p:nvSpPr>
        <p:spPr>
          <a:xfrm>
            <a:off x="6791154" y="1393564"/>
            <a:ext cx="231775" cy="3450566"/>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graphicFrame>
        <p:nvGraphicFramePr>
          <p:cNvPr id="23" name="Chart 22">
            <a:extLst>
              <a:ext uri="{FF2B5EF4-FFF2-40B4-BE49-F238E27FC236}">
                <a16:creationId xmlns:a16="http://schemas.microsoft.com/office/drawing/2014/main" id="{398E65B7-4D2C-F83C-CE24-C85D8C870BBD}"/>
              </a:ext>
            </a:extLst>
          </p:cNvPr>
          <p:cNvGraphicFramePr/>
          <p:nvPr>
            <p:extLst>
              <p:ext uri="{D42A27DB-BD31-4B8C-83A1-F6EECF244321}">
                <p14:modId xmlns:p14="http://schemas.microsoft.com/office/powerpoint/2010/main" val="2674534559"/>
              </p:ext>
            </p:extLst>
          </p:nvPr>
        </p:nvGraphicFramePr>
        <p:xfrm>
          <a:off x="5700425" y="1520240"/>
          <a:ext cx="2827696" cy="440467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18222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9128214-FE1C-4160-B3DB-36FB4AB7C432}"/>
              </a:ext>
            </a:extLst>
          </p:cNvPr>
          <p:cNvSpPr>
            <a:spLocks noGrp="1"/>
          </p:cNvSpPr>
          <p:nvPr>
            <p:ph type="title"/>
          </p:nvPr>
        </p:nvSpPr>
        <p:spPr>
          <a:xfrm>
            <a:off x="751840" y="-609600"/>
            <a:ext cx="10708640" cy="2296160"/>
          </a:xfrm>
        </p:spPr>
        <p:txBody>
          <a:bodyPr>
            <a:normAutofit/>
          </a:bodyPr>
          <a:lstStyle/>
          <a:p>
            <a:pPr algn="ctr"/>
            <a:br>
              <a:rPr lang="ru-RU" sz="3100" dirty="0">
                <a:solidFill>
                  <a:prstClr val="black"/>
                </a:solidFill>
                <a:latin typeface="Times New Roman" panose="02020603050405020304" pitchFamily="18" charset="0"/>
                <a:cs typeface="Times New Roman" panose="02020603050405020304" pitchFamily="18" charset="0"/>
              </a:rPr>
            </a:br>
            <a:br>
              <a:rPr lang="ru-RU" sz="3100" dirty="0">
                <a:solidFill>
                  <a:prstClr val="black"/>
                </a:solidFill>
                <a:latin typeface="Times New Roman" panose="02020603050405020304" pitchFamily="18" charset="0"/>
                <a:cs typeface="Times New Roman" panose="02020603050405020304" pitchFamily="18" charset="0"/>
              </a:rPr>
            </a:br>
            <a:br>
              <a:rPr lang="ru-RU" sz="3100" dirty="0">
                <a:solidFill>
                  <a:prstClr val="black"/>
                </a:solidFill>
                <a:latin typeface="Times New Roman" panose="02020603050405020304" pitchFamily="18" charset="0"/>
                <a:cs typeface="Times New Roman" panose="02020603050405020304" pitchFamily="18" charset="0"/>
              </a:rPr>
            </a:br>
            <a:br>
              <a:rPr lang="ru-RU" sz="2400" dirty="0">
                <a:solidFill>
                  <a:prstClr val="black"/>
                </a:solidFill>
                <a:latin typeface="Calibri" panose="020F0502020204030204"/>
              </a:rPr>
            </a:br>
            <a:endParaRPr lang="ru-RU" sz="2400" dirty="0"/>
          </a:p>
        </p:txBody>
      </p:sp>
      <p:sp>
        <p:nvSpPr>
          <p:cNvPr id="3" name="Объект 2"/>
          <p:cNvSpPr>
            <a:spLocks noGrp="1"/>
          </p:cNvSpPr>
          <p:nvPr>
            <p:ph idx="1"/>
          </p:nvPr>
        </p:nvSpPr>
        <p:spPr/>
        <p:txBody>
          <a:bodyPr/>
          <a:lstStyle/>
          <a:p>
            <a:endParaRPr lang="ru-RU"/>
          </a:p>
        </p:txBody>
      </p:sp>
      <p:sp>
        <p:nvSpPr>
          <p:cNvPr id="9" name="Заголовок 1">
            <a:extLst>
              <a:ext uri="{FF2B5EF4-FFF2-40B4-BE49-F238E27FC236}">
                <a16:creationId xmlns:a16="http://schemas.microsoft.com/office/drawing/2014/main" id="{4A16F463-BE81-9416-6CEA-63687C10AAE0}"/>
              </a:ext>
            </a:extLst>
          </p:cNvPr>
          <p:cNvSpPr txBox="1">
            <a:spLocks/>
          </p:cNvSpPr>
          <p:nvPr/>
        </p:nvSpPr>
        <p:spPr>
          <a:xfrm>
            <a:off x="434141" y="331878"/>
            <a:ext cx="10515600" cy="655807"/>
          </a:xfrm>
          <a:prstGeom prst="rect">
            <a:avLst/>
          </a:prstGeom>
        </p:spPr>
        <p:txBody>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pPr algn="ctr"/>
            <a:r>
              <a:rPr lang="ru-RU" sz="3200" dirty="0">
                <a:solidFill>
                  <a:schemeClr val="tx2"/>
                </a:solidFill>
              </a:rPr>
              <a:t>Уральский федеральный округ, 2021 год</a:t>
            </a:r>
          </a:p>
        </p:txBody>
      </p:sp>
      <p:pic>
        <p:nvPicPr>
          <p:cNvPr id="10" name="Picture 8">
            <a:extLst>
              <a:ext uri="{FF2B5EF4-FFF2-40B4-BE49-F238E27FC236}">
                <a16:creationId xmlns:a16="http://schemas.microsoft.com/office/drawing/2014/main" id="{2A74F6C7-59B0-C11E-532E-1010C222EC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16" y="886782"/>
            <a:ext cx="4501748" cy="294436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a:extLst>
              <a:ext uri="{FF2B5EF4-FFF2-40B4-BE49-F238E27FC236}">
                <a16:creationId xmlns:a16="http://schemas.microsoft.com/office/drawing/2014/main" id="{DB44FD09-1166-AF26-A2F5-406ADEBC85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76445" y="1620321"/>
            <a:ext cx="6351005" cy="3665472"/>
          </a:xfrm>
          <a:prstGeom prst="rect">
            <a:avLst/>
          </a:prstGeom>
          <a:noFill/>
          <a:extLst>
            <a:ext uri="{909E8E84-426E-40DD-AFC4-6F175D3DCCD1}">
              <a14:hiddenFill xmlns:a14="http://schemas.microsoft.com/office/drawing/2010/main">
                <a:solidFill>
                  <a:srgbClr val="FFFFFF"/>
                </a:solidFill>
              </a14:hiddenFill>
            </a:ext>
          </a:extLst>
        </p:spPr>
      </p:pic>
      <p:sp>
        <p:nvSpPr>
          <p:cNvPr id="4" name="Прямоугольник 3"/>
          <p:cNvSpPr/>
          <p:nvPr/>
        </p:nvSpPr>
        <p:spPr>
          <a:xfrm>
            <a:off x="4161974" y="948545"/>
            <a:ext cx="3888372" cy="830997"/>
          </a:xfrm>
          <a:prstGeom prst="rect">
            <a:avLst/>
          </a:prstGeom>
        </p:spPr>
        <p:txBody>
          <a:bodyPr wrap="none">
            <a:spAutoFit/>
          </a:bodyPr>
          <a:lstStyle/>
          <a:p>
            <a:r>
              <a:rPr lang="ru-RU" sz="2400" b="1" dirty="0"/>
              <a:t>Численность мужского </a:t>
            </a:r>
          </a:p>
          <a:p>
            <a:r>
              <a:rPr lang="ru-RU" sz="2400" b="1" dirty="0"/>
              <a:t>населения 6 676 559 чел</a:t>
            </a:r>
          </a:p>
        </p:txBody>
      </p:sp>
      <p:sp>
        <p:nvSpPr>
          <p:cNvPr id="7" name="Прямоугольник 6"/>
          <p:cNvSpPr/>
          <p:nvPr/>
        </p:nvSpPr>
        <p:spPr>
          <a:xfrm>
            <a:off x="3720247" y="2224751"/>
            <a:ext cx="2044086" cy="461665"/>
          </a:xfrm>
          <a:prstGeom prst="rect">
            <a:avLst/>
          </a:prstGeom>
        </p:spPr>
        <p:txBody>
          <a:bodyPr wrap="none">
            <a:spAutoFit/>
          </a:bodyPr>
          <a:lstStyle/>
          <a:p>
            <a:r>
              <a:rPr lang="en-US" sz="2400" b="1" dirty="0"/>
              <a:t>6 </a:t>
            </a:r>
            <a:r>
              <a:rPr lang="ru-RU" sz="2400" b="1" dirty="0"/>
              <a:t>субъектов</a:t>
            </a:r>
            <a:endParaRPr lang="ru-RU" sz="2400" dirty="0"/>
          </a:p>
        </p:txBody>
      </p:sp>
      <p:sp>
        <p:nvSpPr>
          <p:cNvPr id="12" name="Прямоугольник 11"/>
          <p:cNvSpPr/>
          <p:nvPr/>
        </p:nvSpPr>
        <p:spPr>
          <a:xfrm>
            <a:off x="3997406" y="5101127"/>
            <a:ext cx="5840573" cy="461665"/>
          </a:xfrm>
          <a:prstGeom prst="rect">
            <a:avLst/>
          </a:prstGeom>
        </p:spPr>
        <p:txBody>
          <a:bodyPr wrap="none">
            <a:spAutoFit/>
          </a:bodyPr>
          <a:lstStyle/>
          <a:p>
            <a:r>
              <a:rPr lang="ru-RU" sz="2400" b="1" dirty="0"/>
              <a:t>Количество заболевших РПЖ:  3 569 </a:t>
            </a:r>
            <a:endParaRPr lang="ru-RU" sz="2400" dirty="0"/>
          </a:p>
        </p:txBody>
      </p:sp>
      <p:sp>
        <p:nvSpPr>
          <p:cNvPr id="17" name="Прямоугольник 16"/>
          <p:cNvSpPr/>
          <p:nvPr/>
        </p:nvSpPr>
        <p:spPr>
          <a:xfrm>
            <a:off x="3720247" y="5719660"/>
            <a:ext cx="6970754" cy="461665"/>
          </a:xfrm>
          <a:prstGeom prst="rect">
            <a:avLst/>
          </a:prstGeom>
        </p:spPr>
        <p:txBody>
          <a:bodyPr wrap="none">
            <a:spAutoFit/>
          </a:bodyPr>
          <a:lstStyle/>
          <a:p>
            <a:r>
              <a:rPr lang="ru-RU" sz="2400" b="1" dirty="0"/>
              <a:t>25 786 чел. состояли на учете на конец года </a:t>
            </a:r>
          </a:p>
        </p:txBody>
      </p:sp>
      <p:sp>
        <p:nvSpPr>
          <p:cNvPr id="5" name="TextBox 4">
            <a:extLst>
              <a:ext uri="{FF2B5EF4-FFF2-40B4-BE49-F238E27FC236}">
                <a16:creationId xmlns:a16="http://schemas.microsoft.com/office/drawing/2014/main" id="{0280E1A7-75BA-A9D0-C602-CFD1F2CA3BF6}"/>
              </a:ext>
            </a:extLst>
          </p:cNvPr>
          <p:cNvSpPr txBox="1"/>
          <p:nvPr/>
        </p:nvSpPr>
        <p:spPr>
          <a:xfrm>
            <a:off x="0" y="6243379"/>
            <a:ext cx="9311640" cy="461665"/>
          </a:xfrm>
          <a:prstGeom prst="rect">
            <a:avLst/>
          </a:prstGeom>
          <a:noFill/>
        </p:spPr>
        <p:txBody>
          <a:bodyPr wrap="square" rtlCol="0">
            <a:spAutoFit/>
          </a:bodyPr>
          <a:lstStyle/>
          <a:p>
            <a:r>
              <a:rPr lang="ru-RU" sz="1200" dirty="0">
                <a:latin typeface="Times New Roman" panose="02020603050405020304" pitchFamily="18" charset="0"/>
                <a:cs typeface="Times New Roman" panose="02020603050405020304" pitchFamily="18" charset="0"/>
              </a:rPr>
              <a:t>Из личного архива Карнаух П.А.,</a:t>
            </a:r>
            <a:r>
              <a:rPr lang="ru-RU" sz="1200" dirty="0">
                <a:latin typeface="Times New Roman"/>
                <a:cs typeface="Times New Roman"/>
              </a:rPr>
              <a:t> Заведующая онкологическим отделением урологическим ГБУЗ «ЧОКЦО и ЯМ» г.  Челябинск, 2023 г</a:t>
            </a:r>
            <a:endParaRPr lang="ru-RU" sz="1200" dirty="0">
              <a:latin typeface="Times New Roman" panose="02020603050405020304" pitchFamily="18" charset="0"/>
              <a:cs typeface="Times New Roman" panose="02020603050405020304" pitchFamily="18" charset="0"/>
            </a:endParaRPr>
          </a:p>
          <a:p>
            <a:endParaRPr lang="ru-RU"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0788907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99A3C04-6B6A-1C48-8C9D-395ABD787350}"/>
              </a:ext>
            </a:extLst>
          </p:cNvPr>
          <p:cNvSpPr>
            <a:spLocks noGrp="1"/>
          </p:cNvSpPr>
          <p:nvPr>
            <p:ph type="title"/>
          </p:nvPr>
        </p:nvSpPr>
        <p:spPr>
          <a:solidFill>
            <a:schemeClr val="tx1"/>
          </a:solidFill>
        </p:spPr>
        <p:txBody>
          <a:bodyPr bIns="2124000" rtlCol="0">
            <a:noAutofit/>
          </a:bodyPr>
          <a:lstStyle/>
          <a:p>
            <a:pPr rtl="0"/>
            <a:endParaRPr lang="en-US" sz="4400" dirty="0"/>
          </a:p>
        </p:txBody>
      </p:sp>
      <p:sp>
        <p:nvSpPr>
          <p:cNvPr id="2" name="Rectangle 1">
            <a:extLst>
              <a:ext uri="{FF2B5EF4-FFF2-40B4-BE49-F238E27FC236}">
                <a16:creationId xmlns:a16="http://schemas.microsoft.com/office/drawing/2014/main" id="{8C4DE25B-9083-0029-A702-59C21CB0C503}"/>
              </a:ext>
            </a:extLst>
          </p:cNvPr>
          <p:cNvSpPr/>
          <p:nvPr/>
        </p:nvSpPr>
        <p:spPr>
          <a:xfrm>
            <a:off x="233031" y="-464976"/>
            <a:ext cx="5096539" cy="4203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 sz="4400" dirty="0"/>
              <a:t>Результаты исследования PROpel:</a:t>
            </a:r>
            <a:br>
              <a:rPr lang="ru" sz="4400" dirty="0"/>
            </a:br>
            <a:r>
              <a:rPr lang="ru" sz="4400" dirty="0"/>
              <a:t>Вторичная конечная точка</a:t>
            </a:r>
            <a:endParaRPr lang="ru-RU" sz="4400" dirty="0"/>
          </a:p>
        </p:txBody>
      </p:sp>
    </p:spTree>
    <p:extLst>
      <p:ext uri="{BB962C8B-B14F-4D97-AF65-F5344CB8AC3E}">
        <p14:creationId xmlns:p14="http://schemas.microsoft.com/office/powerpoint/2010/main" val="17167000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96D69-E804-F417-3710-C2C422EFF05B}"/>
              </a:ext>
            </a:extLst>
          </p:cNvPr>
          <p:cNvSpPr>
            <a:spLocks noGrp="1"/>
          </p:cNvSpPr>
          <p:nvPr>
            <p:ph type="title"/>
          </p:nvPr>
        </p:nvSpPr>
        <p:spPr>
          <a:xfrm>
            <a:off x="666432" y="284258"/>
            <a:ext cx="11307538" cy="732358"/>
          </a:xfrm>
        </p:spPr>
        <p:txBody>
          <a:bodyPr>
            <a:normAutofit/>
          </a:bodyPr>
          <a:lstStyle/>
          <a:p>
            <a:pPr algn="ctr"/>
            <a:r>
              <a:rPr lang="ru-RU" sz="2000" b="1" i="1" dirty="0">
                <a:latin typeface="+mn-lt"/>
                <a:ea typeface="+mn-ea"/>
                <a:cs typeface="+mn-cs"/>
              </a:rPr>
              <a:t>На момент финального анализа в группе комбинации </a:t>
            </a:r>
            <a:r>
              <a:rPr lang="ru-RU" sz="2000" b="1" i="1" dirty="0" err="1">
                <a:latin typeface="+mn-lt"/>
                <a:ea typeface="+mn-ea"/>
                <a:cs typeface="+mn-cs"/>
              </a:rPr>
              <a:t>Линпарза</a:t>
            </a:r>
            <a:r>
              <a:rPr lang="ru" sz="2000" b="1" i="1" baseline="30000" dirty="0">
                <a:latin typeface="+mn-lt"/>
                <a:ea typeface="+mn-ea"/>
                <a:cs typeface="+mn-cs"/>
              </a:rPr>
              <a:t>®</a:t>
            </a:r>
            <a:r>
              <a:rPr lang="ru-RU" sz="2000" b="1" i="1" dirty="0">
                <a:latin typeface="+mn-lt"/>
                <a:ea typeface="+mn-ea"/>
                <a:cs typeface="+mn-cs"/>
              </a:rPr>
              <a:t> и </a:t>
            </a:r>
            <a:r>
              <a:rPr lang="ru-RU" sz="2000" b="1" i="1" dirty="0" err="1">
                <a:latin typeface="+mn-lt"/>
                <a:ea typeface="+mn-ea"/>
                <a:cs typeface="+mn-cs"/>
              </a:rPr>
              <a:t>абиратерона</a:t>
            </a:r>
            <a:r>
              <a:rPr lang="ru-RU" sz="2000" b="1" i="1" dirty="0">
                <a:latin typeface="+mn-lt"/>
                <a:ea typeface="+mn-ea"/>
                <a:cs typeface="+mn-cs"/>
              </a:rPr>
              <a:t> медиана </a:t>
            </a:r>
            <a:r>
              <a:rPr lang="ru-RU" sz="2200" b="1" i="1" dirty="0">
                <a:solidFill>
                  <a:schemeClr val="accent5"/>
                </a:solidFill>
                <a:latin typeface="+mn-lt"/>
                <a:ea typeface="+mn-ea"/>
                <a:cs typeface="+mn-cs"/>
              </a:rPr>
              <a:t>ОВ</a:t>
            </a:r>
            <a:r>
              <a:rPr lang="ru-RU" sz="2000" b="1" i="1" dirty="0">
                <a:latin typeface="+mn-lt"/>
                <a:ea typeface="+mn-ea"/>
                <a:cs typeface="+mn-cs"/>
              </a:rPr>
              <a:t> была </a:t>
            </a:r>
            <a:r>
              <a:rPr lang="ru-RU" sz="2200" b="1" i="1" dirty="0">
                <a:solidFill>
                  <a:schemeClr val="accent5"/>
                </a:solidFill>
                <a:latin typeface="+mn-lt"/>
                <a:ea typeface="+mn-ea"/>
                <a:cs typeface="+mn-cs"/>
              </a:rPr>
              <a:t>на </a:t>
            </a:r>
            <a:r>
              <a:rPr lang="en-GB" sz="2200" b="1" i="1" dirty="0">
                <a:solidFill>
                  <a:schemeClr val="accent5"/>
                </a:solidFill>
                <a:latin typeface="+mn-lt"/>
                <a:ea typeface="+mn-ea"/>
                <a:cs typeface="+mn-cs"/>
              </a:rPr>
              <a:t>7</a:t>
            </a:r>
            <a:r>
              <a:rPr lang="ru-RU" sz="2200" b="1" i="1" dirty="0">
                <a:solidFill>
                  <a:schemeClr val="accent5"/>
                </a:solidFill>
                <a:latin typeface="+mn-lt"/>
                <a:ea typeface="+mn-ea"/>
                <a:cs typeface="+mn-cs"/>
              </a:rPr>
              <a:t>,4 месяца больше </a:t>
            </a:r>
            <a:r>
              <a:rPr lang="ru-RU" sz="2000" b="1" i="1" dirty="0">
                <a:latin typeface="+mn-lt"/>
                <a:ea typeface="+mn-ea"/>
                <a:cs typeface="+mn-cs"/>
              </a:rPr>
              <a:t>по сравнению с </a:t>
            </a:r>
            <a:r>
              <a:rPr lang="ru-RU" sz="2000" b="1" i="1" dirty="0" err="1">
                <a:latin typeface="+mn-lt"/>
                <a:ea typeface="+mn-ea"/>
                <a:cs typeface="+mn-cs"/>
              </a:rPr>
              <a:t>абиратероном</a:t>
            </a:r>
            <a:endParaRPr lang="en-GB" sz="2000" b="1" i="1" dirty="0">
              <a:latin typeface="+mn-lt"/>
              <a:ea typeface="+mn-ea"/>
              <a:cs typeface="+mn-cs"/>
            </a:endParaRPr>
          </a:p>
        </p:txBody>
      </p:sp>
      <p:sp>
        <p:nvSpPr>
          <p:cNvPr id="4" name="Text Placeholder 3">
            <a:extLst>
              <a:ext uri="{FF2B5EF4-FFF2-40B4-BE49-F238E27FC236}">
                <a16:creationId xmlns:a16="http://schemas.microsoft.com/office/drawing/2014/main" id="{F7B4FFA8-0E54-EBF1-E6BD-59E01002FEC4}"/>
              </a:ext>
            </a:extLst>
          </p:cNvPr>
          <p:cNvSpPr>
            <a:spLocks noGrp="1"/>
          </p:cNvSpPr>
          <p:nvPr>
            <p:ph type="body" sz="quarter" idx="111"/>
          </p:nvPr>
        </p:nvSpPr>
        <p:spPr>
          <a:xfrm>
            <a:off x="395053" y="6165483"/>
            <a:ext cx="11178766" cy="657225"/>
          </a:xfrm>
        </p:spPr>
        <p:txBody>
          <a:bodyPr/>
          <a:lstStyle/>
          <a:p>
            <a:pPr>
              <a:spcBef>
                <a:spcPts val="0"/>
              </a:spcBef>
            </a:pPr>
            <a:r>
              <a:rPr lang="ru-RU" dirty="0"/>
              <a:t>Третий срез данных</a:t>
            </a:r>
            <a:r>
              <a:rPr lang="en-GB" dirty="0"/>
              <a:t>: 12 </a:t>
            </a:r>
            <a:r>
              <a:rPr lang="ru-RU" dirty="0"/>
              <a:t>октября</a:t>
            </a:r>
            <a:r>
              <a:rPr lang="en-GB" dirty="0"/>
              <a:t> 2022.</a:t>
            </a:r>
          </a:p>
          <a:p>
            <a:pPr>
              <a:spcBef>
                <a:spcPts val="0"/>
              </a:spcBef>
            </a:pPr>
            <a:r>
              <a:rPr lang="ru-RU" dirty="0"/>
              <a:t>Медиана длительности наблюдения для цензурированных пациентов на момент 3 среза данных составила </a:t>
            </a:r>
            <a:r>
              <a:rPr lang="en-GB" dirty="0"/>
              <a:t>36.6 </a:t>
            </a:r>
            <a:r>
              <a:rPr lang="ru-RU" dirty="0"/>
              <a:t>месяцев</a:t>
            </a:r>
            <a:r>
              <a:rPr lang="en-GB" dirty="0"/>
              <a:t> (</a:t>
            </a:r>
            <a:r>
              <a:rPr lang="ru-RU" dirty="0"/>
              <a:t>диапазон</a:t>
            </a:r>
            <a:r>
              <a:rPr lang="en-GB" dirty="0"/>
              <a:t> 8.3–47.0) </a:t>
            </a:r>
            <a:r>
              <a:rPr lang="ru-RU" dirty="0"/>
              <a:t>в группе комбинации олапариба и </a:t>
            </a:r>
            <a:r>
              <a:rPr lang="ru-RU" dirty="0" err="1"/>
              <a:t>абиратерона</a:t>
            </a:r>
            <a:r>
              <a:rPr lang="en-GB" dirty="0"/>
              <a:t> </a:t>
            </a:r>
            <a:r>
              <a:rPr lang="ru-RU" dirty="0"/>
              <a:t>и</a:t>
            </a:r>
            <a:r>
              <a:rPr lang="en-GB" dirty="0"/>
              <a:t> 36.5 </a:t>
            </a:r>
            <a:r>
              <a:rPr lang="ru-RU" dirty="0"/>
              <a:t>месяцев</a:t>
            </a:r>
            <a:r>
              <a:rPr lang="en-GB" dirty="0"/>
              <a:t> (</a:t>
            </a:r>
            <a:r>
              <a:rPr lang="ru-RU" dirty="0"/>
              <a:t>диапазон</a:t>
            </a:r>
            <a:r>
              <a:rPr lang="en-GB" dirty="0"/>
              <a:t> 2.9–45.3) </a:t>
            </a:r>
            <a:r>
              <a:rPr lang="ru-RU" dirty="0"/>
              <a:t>в группе комбинации плацебо и </a:t>
            </a:r>
            <a:r>
              <a:rPr lang="ru-RU" dirty="0" err="1"/>
              <a:t>абиратерона</a:t>
            </a:r>
            <a:r>
              <a:rPr lang="en-GB" dirty="0"/>
              <a:t>.</a:t>
            </a:r>
            <a:r>
              <a:rPr lang="ru-RU" dirty="0"/>
              <a:t> ДИ</a:t>
            </a:r>
            <a:r>
              <a:rPr lang="en-GB" dirty="0"/>
              <a:t>=</a:t>
            </a:r>
            <a:r>
              <a:rPr lang="ru-RU" dirty="0"/>
              <a:t>доверительный интервал</a:t>
            </a:r>
            <a:r>
              <a:rPr lang="en-GB" dirty="0"/>
              <a:t>; </a:t>
            </a:r>
            <a:r>
              <a:rPr lang="ru-RU" dirty="0"/>
              <a:t>ОР</a:t>
            </a:r>
            <a:r>
              <a:rPr lang="en-GB" dirty="0"/>
              <a:t>=</a:t>
            </a:r>
            <a:r>
              <a:rPr lang="ru-RU" dirty="0"/>
              <a:t>отношение рисков</a:t>
            </a:r>
            <a:r>
              <a:rPr lang="en-GB" dirty="0"/>
              <a:t>; </a:t>
            </a:r>
            <a:r>
              <a:rPr lang="ru-RU" dirty="0"/>
              <a:t>ОВ</a:t>
            </a:r>
            <a:r>
              <a:rPr lang="en-GB" dirty="0"/>
              <a:t>=</a:t>
            </a:r>
            <a:r>
              <a:rPr lang="ru-RU" dirty="0"/>
              <a:t>общая выживаемость</a:t>
            </a:r>
            <a:r>
              <a:rPr lang="en-GB" dirty="0"/>
              <a:t>.</a:t>
            </a:r>
          </a:p>
          <a:p>
            <a:pPr>
              <a:spcBef>
                <a:spcPts val="0"/>
              </a:spcBef>
            </a:pPr>
            <a:r>
              <a:rPr lang="en-GB" dirty="0"/>
              <a:t>Clarke N, et al. Presented at ASCO GU 2023. 16–18 February. San Francisco, US. Abstract #LBA16.</a:t>
            </a:r>
          </a:p>
        </p:txBody>
      </p:sp>
      <p:sp>
        <p:nvSpPr>
          <p:cNvPr id="9" name="TextBox 8">
            <a:extLst>
              <a:ext uri="{FF2B5EF4-FFF2-40B4-BE49-F238E27FC236}">
                <a16:creationId xmlns:a16="http://schemas.microsoft.com/office/drawing/2014/main" id="{941C6332-5AD6-512B-9375-C1065687D546}"/>
              </a:ext>
            </a:extLst>
          </p:cNvPr>
          <p:cNvSpPr txBox="1"/>
          <p:nvPr/>
        </p:nvSpPr>
        <p:spPr>
          <a:xfrm>
            <a:off x="2614292" y="4633972"/>
            <a:ext cx="2843351"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050" i="0" u="none" strike="noStrike" kern="1200" cap="none" spc="0" normalizeH="0" baseline="0" noProof="0" dirty="0">
                <a:ln>
                  <a:noFill/>
                </a:ln>
                <a:solidFill>
                  <a:srgbClr val="3F4444"/>
                </a:solidFill>
                <a:effectLst/>
                <a:uLnTx/>
                <a:uFillTx/>
                <a:latin typeface="Calibri"/>
                <a:ea typeface="+mn-ea"/>
                <a:cs typeface="+mn-cs"/>
              </a:rPr>
              <a:t>Необходимый </a:t>
            </a:r>
            <a:r>
              <a:rPr kumimoji="0" lang="en-GB" sz="1050" i="0" u="none" strike="noStrike" kern="1200" cap="none" spc="0" normalizeH="0" baseline="0" noProof="0" dirty="0">
                <a:ln>
                  <a:noFill/>
                </a:ln>
                <a:solidFill>
                  <a:srgbClr val="3F4444"/>
                </a:solidFill>
                <a:effectLst/>
                <a:uLnTx/>
                <a:uFillTx/>
                <a:latin typeface="Calibri"/>
                <a:ea typeface="+mn-ea"/>
                <a:cs typeface="+mn-cs"/>
              </a:rPr>
              <a:t>2-</a:t>
            </a:r>
            <a:r>
              <a:rPr kumimoji="0" lang="ru-RU" sz="1050" i="0" u="none" strike="noStrike" kern="1200" cap="none" spc="0" normalizeH="0" baseline="0" noProof="0" dirty="0">
                <a:ln>
                  <a:noFill/>
                </a:ln>
                <a:solidFill>
                  <a:srgbClr val="3F4444"/>
                </a:solidFill>
                <a:effectLst/>
                <a:uLnTx/>
                <a:uFillTx/>
                <a:latin typeface="Calibri"/>
                <a:ea typeface="+mn-ea"/>
                <a:cs typeface="+mn-cs"/>
              </a:rPr>
              <a:t>сторонний</a:t>
            </a:r>
            <a:r>
              <a:rPr kumimoji="0" lang="en-GB" sz="1050" i="0" u="none" strike="noStrike" kern="1200" cap="none" spc="0" normalizeH="0" baseline="0" noProof="0" dirty="0">
                <a:ln>
                  <a:noFill/>
                </a:ln>
                <a:solidFill>
                  <a:srgbClr val="3F4444"/>
                </a:solidFill>
                <a:effectLst/>
                <a:uLnTx/>
                <a:uFillTx/>
                <a:latin typeface="Calibri"/>
                <a:ea typeface="+mn-ea"/>
                <a:cs typeface="+mn-cs"/>
              </a:rPr>
              <a:t> </a:t>
            </a:r>
            <a:r>
              <a:rPr kumimoji="0" lang="ru-RU" sz="1050" i="0" u="none" strike="noStrike" kern="1200" cap="none" spc="0" normalizeH="0" baseline="0" noProof="0" dirty="0">
                <a:ln>
                  <a:noFill/>
                </a:ln>
                <a:solidFill>
                  <a:srgbClr val="3F4444"/>
                </a:solidFill>
                <a:effectLst/>
                <a:uLnTx/>
                <a:uFillTx/>
                <a:latin typeface="Calibri"/>
                <a:ea typeface="+mn-ea"/>
                <a:cs typeface="+mn-cs"/>
              </a:rPr>
              <a:t>критерий статистической значимости р</a:t>
            </a:r>
            <a:r>
              <a:rPr kumimoji="0" lang="en-US" sz="1050" i="0" u="none" strike="noStrike" kern="1200" cap="none" spc="0" normalizeH="0" baseline="0" noProof="0" dirty="0">
                <a:ln>
                  <a:noFill/>
                </a:ln>
                <a:solidFill>
                  <a:srgbClr val="3F4444"/>
                </a:solidFill>
                <a:effectLst/>
                <a:uLnTx/>
                <a:uFillTx/>
                <a:latin typeface="Calibri"/>
                <a:ea typeface="+mn-ea"/>
                <a:cs typeface="+mn-cs"/>
              </a:rPr>
              <a:t>&lt;</a:t>
            </a:r>
            <a:r>
              <a:rPr kumimoji="0" lang="en-GB" sz="1050" i="0" u="none" strike="noStrike" kern="1200" cap="none" spc="0" normalizeH="0" baseline="0" noProof="0" dirty="0">
                <a:ln>
                  <a:noFill/>
                </a:ln>
                <a:solidFill>
                  <a:srgbClr val="3F4444"/>
                </a:solidFill>
                <a:effectLst/>
                <a:uLnTx/>
                <a:uFillTx/>
                <a:latin typeface="Calibri"/>
                <a:ea typeface="+mn-ea"/>
                <a:cs typeface="+mn-cs"/>
              </a:rPr>
              <a:t>0.0377</a:t>
            </a:r>
          </a:p>
        </p:txBody>
      </p:sp>
      <p:graphicFrame>
        <p:nvGraphicFramePr>
          <p:cNvPr id="7" name="Table 10">
            <a:extLst>
              <a:ext uri="{FF2B5EF4-FFF2-40B4-BE49-F238E27FC236}">
                <a16:creationId xmlns:a16="http://schemas.microsoft.com/office/drawing/2014/main" id="{DD9FBE0E-E002-4F03-B3B0-17064F1A2AA3}"/>
              </a:ext>
            </a:extLst>
          </p:cNvPr>
          <p:cNvGraphicFramePr>
            <a:graphicFrameLocks noGrp="1"/>
          </p:cNvGraphicFramePr>
          <p:nvPr>
            <p:extLst>
              <p:ext uri="{D42A27DB-BD31-4B8C-83A1-F6EECF244321}">
                <p14:modId xmlns:p14="http://schemas.microsoft.com/office/powerpoint/2010/main" val="1369364507"/>
              </p:ext>
            </p:extLst>
          </p:nvPr>
        </p:nvGraphicFramePr>
        <p:xfrm>
          <a:off x="7315200" y="2193308"/>
          <a:ext cx="4400325" cy="1554480"/>
        </p:xfrm>
        <a:graphic>
          <a:graphicData uri="http://schemas.openxmlformats.org/drawingml/2006/table">
            <a:tbl>
              <a:tblPr firstRow="1" bandRow="1">
                <a:tableStyleId>{5C22544A-7EE6-4342-B048-85BDC9FD1C3A}</a:tableStyleId>
              </a:tblPr>
              <a:tblGrid>
                <a:gridCol w="1805261">
                  <a:extLst>
                    <a:ext uri="{9D8B030D-6E8A-4147-A177-3AD203B41FA5}">
                      <a16:colId xmlns:a16="http://schemas.microsoft.com/office/drawing/2014/main" val="256280186"/>
                    </a:ext>
                  </a:extLst>
                </a:gridCol>
                <a:gridCol w="1297532">
                  <a:extLst>
                    <a:ext uri="{9D8B030D-6E8A-4147-A177-3AD203B41FA5}">
                      <a16:colId xmlns:a16="http://schemas.microsoft.com/office/drawing/2014/main" val="2660757379"/>
                    </a:ext>
                  </a:extLst>
                </a:gridCol>
                <a:gridCol w="1297532">
                  <a:extLst>
                    <a:ext uri="{9D8B030D-6E8A-4147-A177-3AD203B41FA5}">
                      <a16:colId xmlns:a16="http://schemas.microsoft.com/office/drawing/2014/main" val="351983716"/>
                    </a:ext>
                  </a:extLst>
                </a:gridCol>
              </a:tblGrid>
              <a:tr h="182682">
                <a:tc>
                  <a:txBody>
                    <a:bodyPr/>
                    <a:lstStyle/>
                    <a:p>
                      <a:endParaRPr lang="en-GB" sz="1400" dirty="0">
                        <a:solidFill>
                          <a:schemeClr val="bg1"/>
                        </a:solidFill>
                        <a:latin typeface="+mn-lt"/>
                        <a:cs typeface="Arial" panose="020B0604020202020204" pitchFamily="34" charset="0"/>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ru-RU" sz="1400" dirty="0">
                          <a:solidFill>
                            <a:schemeClr val="tx1"/>
                          </a:solidFill>
                          <a:latin typeface="+mn-lt"/>
                          <a:cs typeface="Arial" panose="020B0604020202020204" pitchFamily="34" charset="0"/>
                        </a:rPr>
                        <a:t>Олапариб + </a:t>
                      </a:r>
                      <a:r>
                        <a:rPr lang="ru-RU" sz="1400" dirty="0" err="1">
                          <a:solidFill>
                            <a:schemeClr val="tx1"/>
                          </a:solidFill>
                          <a:latin typeface="+mn-lt"/>
                          <a:cs typeface="Arial" panose="020B0604020202020204" pitchFamily="34" charset="0"/>
                        </a:rPr>
                        <a:t>абиратерон</a:t>
                      </a:r>
                      <a:endParaRPr lang="ru-RU" sz="1400" dirty="0">
                        <a:solidFill>
                          <a:schemeClr val="tx1"/>
                        </a:solidFill>
                        <a:latin typeface="+mn-lt"/>
                        <a:cs typeface="Arial" panose="020B0604020202020204" pitchFamily="34" charset="0"/>
                      </a:endParaRPr>
                    </a:p>
                    <a:p>
                      <a:pPr algn="ctr"/>
                      <a:r>
                        <a:rPr lang="en-GB" sz="1400" dirty="0">
                          <a:solidFill>
                            <a:schemeClr val="tx1"/>
                          </a:solidFill>
                          <a:latin typeface="+mn-lt"/>
                          <a:cs typeface="Arial" panose="020B0604020202020204" pitchFamily="34" charset="0"/>
                        </a:rPr>
                        <a:t>(n=39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ru-RU" sz="1400" dirty="0">
                          <a:solidFill>
                            <a:schemeClr val="bg1"/>
                          </a:solidFill>
                          <a:latin typeface="+mn-lt"/>
                          <a:cs typeface="Arial" panose="020B0604020202020204" pitchFamily="34" charset="0"/>
                        </a:rPr>
                        <a:t>Олапариб + </a:t>
                      </a:r>
                      <a:r>
                        <a:rPr lang="ru-RU" sz="1400" dirty="0" err="1">
                          <a:solidFill>
                            <a:schemeClr val="bg1"/>
                          </a:solidFill>
                          <a:latin typeface="+mn-lt"/>
                          <a:cs typeface="Arial" panose="020B0604020202020204" pitchFamily="34" charset="0"/>
                        </a:rPr>
                        <a:t>абиратерон</a:t>
                      </a:r>
                      <a:endParaRPr lang="ru-RU" sz="1400" dirty="0">
                        <a:solidFill>
                          <a:schemeClr val="bg1"/>
                        </a:solidFill>
                        <a:latin typeface="+mn-lt"/>
                        <a:cs typeface="Arial" panose="020B0604020202020204" pitchFamily="34" charset="0"/>
                      </a:endParaRPr>
                    </a:p>
                    <a:p>
                      <a:pPr algn="ctr"/>
                      <a:r>
                        <a:rPr lang="en-GB" sz="1400" dirty="0">
                          <a:solidFill>
                            <a:schemeClr val="bg1"/>
                          </a:solidFill>
                          <a:latin typeface="+mn-lt"/>
                          <a:cs typeface="Arial" panose="020B0604020202020204" pitchFamily="34" charset="0"/>
                        </a:rPr>
                        <a:t>(n=39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534889841"/>
                  </a:ext>
                </a:extLst>
              </a:tr>
              <a:tr h="0">
                <a:tc>
                  <a:txBody>
                    <a:bodyPr/>
                    <a:lstStyle/>
                    <a:p>
                      <a:pPr algn="r"/>
                      <a:r>
                        <a:rPr lang="ru-RU" sz="1400" b="1" dirty="0">
                          <a:solidFill>
                            <a:schemeClr val="tx1"/>
                          </a:solidFill>
                          <a:latin typeface="+mn-lt"/>
                          <a:cs typeface="Arial" panose="020B0604020202020204" pitchFamily="34" charset="0"/>
                        </a:rPr>
                        <a:t>События</a:t>
                      </a:r>
                      <a:r>
                        <a:rPr lang="en-GB" sz="1400" b="1" dirty="0">
                          <a:solidFill>
                            <a:schemeClr val="tx1"/>
                          </a:solidFill>
                          <a:latin typeface="+mn-lt"/>
                          <a:cs typeface="Arial" panose="020B0604020202020204" pitchFamily="34" charset="0"/>
                        </a:rPr>
                        <a:t>, n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a:solidFill>
                            <a:schemeClr val="tx1"/>
                          </a:solidFill>
                          <a:latin typeface="+mn-lt"/>
                          <a:cs typeface="Arial" panose="020B0604020202020204" pitchFamily="34" charset="0"/>
                        </a:rPr>
                        <a:t>176 (44.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400" b="1" dirty="0">
                          <a:solidFill>
                            <a:schemeClr val="tx1"/>
                          </a:solidFill>
                          <a:latin typeface="+mn-lt"/>
                          <a:cs typeface="Arial" panose="020B0604020202020204" pitchFamily="34" charset="0"/>
                        </a:rPr>
                        <a:t>205 (5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32230878"/>
                  </a:ext>
                </a:extLst>
              </a:tr>
              <a:tr h="0">
                <a:tc>
                  <a:txBody>
                    <a:bodyPr/>
                    <a:lstStyle/>
                    <a:p>
                      <a:pPr algn="r"/>
                      <a:r>
                        <a:rPr lang="ru-RU" sz="1400" b="1" dirty="0">
                          <a:solidFill>
                            <a:schemeClr val="tx1"/>
                          </a:solidFill>
                          <a:latin typeface="+mn-lt"/>
                          <a:cs typeface="Arial" panose="020B0604020202020204" pitchFamily="34" charset="0"/>
                        </a:rPr>
                        <a:t>Медиана ОВ</a:t>
                      </a:r>
                      <a:r>
                        <a:rPr lang="en-GB" sz="1400" b="1" dirty="0">
                          <a:solidFill>
                            <a:schemeClr val="tx1"/>
                          </a:solidFill>
                          <a:latin typeface="+mn-lt"/>
                          <a:cs typeface="Arial" panose="020B0604020202020204" pitchFamily="34" charset="0"/>
                        </a:rPr>
                        <a:t>, </a:t>
                      </a:r>
                      <a:r>
                        <a:rPr lang="ru-RU" sz="1400" b="1" dirty="0">
                          <a:solidFill>
                            <a:schemeClr val="tx1"/>
                          </a:solidFill>
                          <a:latin typeface="+mn-lt"/>
                          <a:cs typeface="Arial" panose="020B0604020202020204" pitchFamily="34" charset="0"/>
                        </a:rPr>
                        <a:t>месяцы</a:t>
                      </a:r>
                      <a:endParaRPr lang="en-GB" sz="1400" b="1" dirty="0">
                        <a:solidFill>
                          <a:schemeClr val="tx1"/>
                        </a:solidFill>
                        <a:latin typeface="+mn-lt"/>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000" b="1" dirty="0">
                          <a:solidFill>
                            <a:schemeClr val="accent5"/>
                          </a:solidFill>
                          <a:latin typeface="+mn-lt"/>
                          <a:cs typeface="Arial" panose="020B0604020202020204" pitchFamily="34" charset="0"/>
                        </a:rPr>
                        <a:t>42</a:t>
                      </a:r>
                      <a:r>
                        <a:rPr lang="ru-RU" sz="2000" b="1" dirty="0">
                          <a:solidFill>
                            <a:schemeClr val="accent5"/>
                          </a:solidFill>
                          <a:latin typeface="+mn-lt"/>
                          <a:cs typeface="Arial" panose="020B0604020202020204" pitchFamily="34" charset="0"/>
                        </a:rPr>
                        <a:t>,</a:t>
                      </a:r>
                      <a:r>
                        <a:rPr lang="en-GB" sz="2000" b="1" dirty="0">
                          <a:solidFill>
                            <a:schemeClr val="accent5"/>
                          </a:solidFill>
                          <a:latin typeface="+mn-lt"/>
                          <a:cs typeface="Arial" panose="020B0604020202020204" pitchFamily="34" charset="0"/>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800" b="1" dirty="0">
                          <a:solidFill>
                            <a:schemeClr val="tx1"/>
                          </a:solidFill>
                          <a:latin typeface="+mn-lt"/>
                          <a:cs typeface="Arial" panose="020B0604020202020204" pitchFamily="34" charset="0"/>
                        </a:rPr>
                        <a:t>34</a:t>
                      </a:r>
                      <a:r>
                        <a:rPr lang="ru-RU" sz="1800" b="1" dirty="0">
                          <a:solidFill>
                            <a:schemeClr val="tx1"/>
                          </a:solidFill>
                          <a:latin typeface="+mn-lt"/>
                          <a:cs typeface="Arial" panose="020B0604020202020204" pitchFamily="34" charset="0"/>
                        </a:rPr>
                        <a:t>,</a:t>
                      </a:r>
                      <a:r>
                        <a:rPr lang="en-GB" sz="1800" b="1" dirty="0">
                          <a:solidFill>
                            <a:schemeClr val="tx1"/>
                          </a:solidFill>
                          <a:latin typeface="+mn-lt"/>
                          <a:cs typeface="Arial" panose="020B0604020202020204" pitchFamily="34" charset="0"/>
                        </a:rPr>
                        <a:t>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83592731"/>
                  </a:ext>
                </a:extLst>
              </a:tr>
            </a:tbl>
          </a:graphicData>
        </a:graphic>
      </p:graphicFrame>
      <p:grpSp>
        <p:nvGrpSpPr>
          <p:cNvPr id="270" name="Group 269">
            <a:extLst>
              <a:ext uri="{FF2B5EF4-FFF2-40B4-BE49-F238E27FC236}">
                <a16:creationId xmlns:a16="http://schemas.microsoft.com/office/drawing/2014/main" id="{F2B63961-A42F-0E1E-B41D-43404D60B86D}"/>
              </a:ext>
            </a:extLst>
          </p:cNvPr>
          <p:cNvGrpSpPr/>
          <p:nvPr/>
        </p:nvGrpSpPr>
        <p:grpSpPr>
          <a:xfrm>
            <a:off x="462011" y="1636259"/>
            <a:ext cx="6779454" cy="4347676"/>
            <a:chOff x="462011" y="1334888"/>
            <a:chExt cx="6779454" cy="4347676"/>
          </a:xfrm>
        </p:grpSpPr>
        <p:sp>
          <p:nvSpPr>
            <p:cNvPr id="11" name="TextBox 10">
              <a:extLst>
                <a:ext uri="{FF2B5EF4-FFF2-40B4-BE49-F238E27FC236}">
                  <a16:creationId xmlns:a16="http://schemas.microsoft.com/office/drawing/2014/main" id="{AAB31164-349B-6AC5-4FDA-3324286A6656}"/>
                </a:ext>
              </a:extLst>
            </p:cNvPr>
            <p:cNvSpPr txBox="1"/>
            <p:nvPr/>
          </p:nvSpPr>
          <p:spPr>
            <a:xfrm>
              <a:off x="2410056" y="1334888"/>
              <a:ext cx="4831409" cy="276999"/>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lang="ru-RU" b="1" dirty="0">
                  <a:solidFill>
                    <a:srgbClr val="3F4444"/>
                  </a:solidFill>
                  <a:latin typeface="Calibri"/>
                  <a:cs typeface="Arial" panose="020B0604020202020204" pitchFamily="34" charset="0"/>
                </a:rPr>
                <a:t>Финальный анализ</a:t>
              </a:r>
              <a:r>
                <a:rPr lang="en-GB" b="1" dirty="0">
                  <a:solidFill>
                    <a:srgbClr val="3F4444"/>
                  </a:solidFill>
                  <a:latin typeface="Calibri"/>
                  <a:cs typeface="Arial" panose="020B0604020202020204" pitchFamily="34" charset="0"/>
                </a:rPr>
                <a:t> </a:t>
              </a:r>
              <a:r>
                <a:rPr lang="en-GB" dirty="0">
                  <a:solidFill>
                    <a:srgbClr val="3F4444"/>
                  </a:solidFill>
                  <a:latin typeface="Calibri"/>
                  <a:cs typeface="Arial" panose="020B0604020202020204" pitchFamily="34" charset="0"/>
                </a:rPr>
                <a:t>(</a:t>
              </a:r>
              <a:r>
                <a:rPr lang="ru-RU" dirty="0">
                  <a:solidFill>
                    <a:srgbClr val="3F4444"/>
                  </a:solidFill>
                  <a:latin typeface="Calibri"/>
                  <a:cs typeface="Arial" panose="020B0604020202020204" pitchFamily="34" charset="0"/>
                </a:rPr>
                <a:t>зрелость данных </a:t>
              </a:r>
              <a:r>
                <a:rPr lang="en-GB" dirty="0">
                  <a:solidFill>
                    <a:srgbClr val="3F4444"/>
                  </a:solidFill>
                  <a:latin typeface="Calibri"/>
                  <a:cs typeface="Arial" panose="020B0604020202020204" pitchFamily="34" charset="0"/>
                </a:rPr>
                <a:t>47.9%)</a:t>
              </a:r>
              <a:r>
                <a:rPr lang="en-GB" b="1" baseline="30000" dirty="0">
                  <a:solidFill>
                    <a:srgbClr val="3F4444"/>
                  </a:solidFill>
                  <a:latin typeface="Calibri"/>
                  <a:cs typeface="Arial" panose="020B0604020202020204" pitchFamily="34" charset="0"/>
                </a:rPr>
                <a:t>1</a:t>
              </a:r>
            </a:p>
          </p:txBody>
        </p:sp>
        <p:grpSp>
          <p:nvGrpSpPr>
            <p:cNvPr id="14" name="Group 13">
              <a:extLst>
                <a:ext uri="{FF2B5EF4-FFF2-40B4-BE49-F238E27FC236}">
                  <a16:creationId xmlns:a16="http://schemas.microsoft.com/office/drawing/2014/main" id="{B9C4ADF4-A778-5D92-65A8-8E8AD0843AEE}"/>
                </a:ext>
              </a:extLst>
            </p:cNvPr>
            <p:cNvGrpSpPr/>
            <p:nvPr/>
          </p:nvGrpSpPr>
          <p:grpSpPr>
            <a:xfrm>
              <a:off x="462011" y="1799921"/>
              <a:ext cx="6554795" cy="3882643"/>
              <a:chOff x="353105" y="1445334"/>
              <a:chExt cx="9791211" cy="4711494"/>
            </a:xfrm>
          </p:grpSpPr>
          <p:grpSp>
            <p:nvGrpSpPr>
              <p:cNvPr id="15" name="Group 14">
                <a:extLst>
                  <a:ext uri="{FF2B5EF4-FFF2-40B4-BE49-F238E27FC236}">
                    <a16:creationId xmlns:a16="http://schemas.microsoft.com/office/drawing/2014/main" id="{D1050BAB-D410-2C3B-6B48-CD8AA1074C0D}"/>
                  </a:ext>
                </a:extLst>
              </p:cNvPr>
              <p:cNvGrpSpPr/>
              <p:nvPr/>
            </p:nvGrpSpPr>
            <p:grpSpPr>
              <a:xfrm>
                <a:off x="1680370" y="1445334"/>
                <a:ext cx="393020" cy="3855432"/>
                <a:chOff x="851003" y="2876201"/>
                <a:chExt cx="163728" cy="1966619"/>
              </a:xfrm>
            </p:grpSpPr>
            <p:sp>
              <p:nvSpPr>
                <p:cNvPr id="259" name="TextBox 258">
                  <a:extLst>
                    <a:ext uri="{FF2B5EF4-FFF2-40B4-BE49-F238E27FC236}">
                      <a16:creationId xmlns:a16="http://schemas.microsoft.com/office/drawing/2014/main" id="{8B33325A-81E5-D061-EBB8-7EC2A3769186}"/>
                    </a:ext>
                  </a:extLst>
                </p:cNvPr>
                <p:cNvSpPr txBox="1"/>
                <p:nvPr/>
              </p:nvSpPr>
              <p:spPr>
                <a:xfrm>
                  <a:off x="851003" y="2876201"/>
                  <a:ext cx="163728" cy="127414"/>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1.0</a:t>
                  </a:r>
                </a:p>
              </p:txBody>
            </p:sp>
            <p:sp>
              <p:nvSpPr>
                <p:cNvPr id="260" name="TextBox 259">
                  <a:extLst>
                    <a:ext uri="{FF2B5EF4-FFF2-40B4-BE49-F238E27FC236}">
                      <a16:creationId xmlns:a16="http://schemas.microsoft.com/office/drawing/2014/main" id="{C7FEC143-F9AE-ED1A-16D7-54A4A09EE6F8}"/>
                    </a:ext>
                  </a:extLst>
                </p:cNvPr>
                <p:cNvSpPr txBox="1"/>
                <p:nvPr/>
              </p:nvSpPr>
              <p:spPr>
                <a:xfrm>
                  <a:off x="851003" y="3059549"/>
                  <a:ext cx="163728" cy="127414"/>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0.9</a:t>
                  </a:r>
                </a:p>
              </p:txBody>
            </p:sp>
            <p:sp>
              <p:nvSpPr>
                <p:cNvPr id="261" name="TextBox 260">
                  <a:extLst>
                    <a:ext uri="{FF2B5EF4-FFF2-40B4-BE49-F238E27FC236}">
                      <a16:creationId xmlns:a16="http://schemas.microsoft.com/office/drawing/2014/main" id="{D86F4466-836F-514F-D77B-F3E845495B9B}"/>
                    </a:ext>
                  </a:extLst>
                </p:cNvPr>
                <p:cNvSpPr txBox="1"/>
                <p:nvPr/>
              </p:nvSpPr>
              <p:spPr>
                <a:xfrm>
                  <a:off x="851003" y="3242899"/>
                  <a:ext cx="163728" cy="127414"/>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0.8</a:t>
                  </a:r>
                </a:p>
              </p:txBody>
            </p:sp>
            <p:sp>
              <p:nvSpPr>
                <p:cNvPr id="262" name="TextBox 261">
                  <a:extLst>
                    <a:ext uri="{FF2B5EF4-FFF2-40B4-BE49-F238E27FC236}">
                      <a16:creationId xmlns:a16="http://schemas.microsoft.com/office/drawing/2014/main" id="{959A9388-12EC-C056-8A0D-BCC589AE72D8}"/>
                    </a:ext>
                  </a:extLst>
                </p:cNvPr>
                <p:cNvSpPr txBox="1"/>
                <p:nvPr/>
              </p:nvSpPr>
              <p:spPr>
                <a:xfrm>
                  <a:off x="851003" y="3429107"/>
                  <a:ext cx="163728" cy="127414"/>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0.7</a:t>
                  </a:r>
                </a:p>
              </p:txBody>
            </p:sp>
            <p:sp>
              <p:nvSpPr>
                <p:cNvPr id="263" name="TextBox 262">
                  <a:extLst>
                    <a:ext uri="{FF2B5EF4-FFF2-40B4-BE49-F238E27FC236}">
                      <a16:creationId xmlns:a16="http://schemas.microsoft.com/office/drawing/2014/main" id="{957CD5EA-BF26-6586-3D5F-A772D965849D}"/>
                    </a:ext>
                  </a:extLst>
                </p:cNvPr>
                <p:cNvSpPr txBox="1"/>
                <p:nvPr/>
              </p:nvSpPr>
              <p:spPr>
                <a:xfrm>
                  <a:off x="851003" y="3615317"/>
                  <a:ext cx="163728" cy="127414"/>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0.6</a:t>
                  </a:r>
                </a:p>
              </p:txBody>
            </p:sp>
            <p:sp>
              <p:nvSpPr>
                <p:cNvPr id="264" name="TextBox 263">
                  <a:extLst>
                    <a:ext uri="{FF2B5EF4-FFF2-40B4-BE49-F238E27FC236}">
                      <a16:creationId xmlns:a16="http://schemas.microsoft.com/office/drawing/2014/main" id="{ED74DFE2-9501-6D75-9BB9-DEC4338D8DBB}"/>
                    </a:ext>
                  </a:extLst>
                </p:cNvPr>
                <p:cNvSpPr txBox="1"/>
                <p:nvPr/>
              </p:nvSpPr>
              <p:spPr>
                <a:xfrm>
                  <a:off x="851003" y="3798666"/>
                  <a:ext cx="163728" cy="127414"/>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0.5</a:t>
                  </a:r>
                </a:p>
              </p:txBody>
            </p:sp>
            <p:sp>
              <p:nvSpPr>
                <p:cNvPr id="265" name="TextBox 264">
                  <a:extLst>
                    <a:ext uri="{FF2B5EF4-FFF2-40B4-BE49-F238E27FC236}">
                      <a16:creationId xmlns:a16="http://schemas.microsoft.com/office/drawing/2014/main" id="{DD7A61DC-B7DA-6C30-6EB3-7E7E58DE9BDE}"/>
                    </a:ext>
                  </a:extLst>
                </p:cNvPr>
                <p:cNvSpPr txBox="1"/>
                <p:nvPr/>
              </p:nvSpPr>
              <p:spPr>
                <a:xfrm>
                  <a:off x="851003" y="3982013"/>
                  <a:ext cx="163728" cy="127414"/>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0.4</a:t>
                  </a:r>
                </a:p>
              </p:txBody>
            </p:sp>
            <p:sp>
              <p:nvSpPr>
                <p:cNvPr id="266" name="TextBox 265">
                  <a:extLst>
                    <a:ext uri="{FF2B5EF4-FFF2-40B4-BE49-F238E27FC236}">
                      <a16:creationId xmlns:a16="http://schemas.microsoft.com/office/drawing/2014/main" id="{DE3D0253-F743-6DD5-85E7-29BB0D7CB776}"/>
                    </a:ext>
                  </a:extLst>
                </p:cNvPr>
                <p:cNvSpPr txBox="1"/>
                <p:nvPr/>
              </p:nvSpPr>
              <p:spPr>
                <a:xfrm>
                  <a:off x="851003" y="4171084"/>
                  <a:ext cx="163728" cy="127414"/>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0.3</a:t>
                  </a:r>
                </a:p>
              </p:txBody>
            </p:sp>
            <p:sp>
              <p:nvSpPr>
                <p:cNvPr id="267" name="TextBox 266">
                  <a:extLst>
                    <a:ext uri="{FF2B5EF4-FFF2-40B4-BE49-F238E27FC236}">
                      <a16:creationId xmlns:a16="http://schemas.microsoft.com/office/drawing/2014/main" id="{B7B6FEFE-F2E8-F705-AA46-A6B9EA004594}"/>
                    </a:ext>
                  </a:extLst>
                </p:cNvPr>
                <p:cNvSpPr txBox="1"/>
                <p:nvPr/>
              </p:nvSpPr>
              <p:spPr>
                <a:xfrm>
                  <a:off x="851003" y="4348709"/>
                  <a:ext cx="163728" cy="127414"/>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0.2</a:t>
                  </a:r>
                </a:p>
              </p:txBody>
            </p:sp>
            <p:sp>
              <p:nvSpPr>
                <p:cNvPr id="268" name="TextBox 267">
                  <a:extLst>
                    <a:ext uri="{FF2B5EF4-FFF2-40B4-BE49-F238E27FC236}">
                      <a16:creationId xmlns:a16="http://schemas.microsoft.com/office/drawing/2014/main" id="{4A551760-B1FD-19AD-7A80-21AC8E891026}"/>
                    </a:ext>
                  </a:extLst>
                </p:cNvPr>
                <p:cNvSpPr txBox="1"/>
                <p:nvPr/>
              </p:nvSpPr>
              <p:spPr>
                <a:xfrm>
                  <a:off x="851003" y="4532058"/>
                  <a:ext cx="163728" cy="127414"/>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0.1</a:t>
                  </a:r>
                </a:p>
              </p:txBody>
            </p:sp>
            <p:sp>
              <p:nvSpPr>
                <p:cNvPr id="269" name="TextBox 268">
                  <a:extLst>
                    <a:ext uri="{FF2B5EF4-FFF2-40B4-BE49-F238E27FC236}">
                      <a16:creationId xmlns:a16="http://schemas.microsoft.com/office/drawing/2014/main" id="{132A3596-4858-F34A-1C06-CA732819B529}"/>
                    </a:ext>
                  </a:extLst>
                </p:cNvPr>
                <p:cNvSpPr txBox="1"/>
                <p:nvPr/>
              </p:nvSpPr>
              <p:spPr>
                <a:xfrm>
                  <a:off x="851003" y="4715406"/>
                  <a:ext cx="163728" cy="127414"/>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0.0</a:t>
                  </a:r>
                </a:p>
              </p:txBody>
            </p:sp>
          </p:grpSp>
          <p:grpSp>
            <p:nvGrpSpPr>
              <p:cNvPr id="16" name="Group 15">
                <a:extLst>
                  <a:ext uri="{FF2B5EF4-FFF2-40B4-BE49-F238E27FC236}">
                    <a16:creationId xmlns:a16="http://schemas.microsoft.com/office/drawing/2014/main" id="{EE30D634-AE66-7CE7-41F4-838544F6C405}"/>
                  </a:ext>
                </a:extLst>
              </p:cNvPr>
              <p:cNvGrpSpPr/>
              <p:nvPr/>
            </p:nvGrpSpPr>
            <p:grpSpPr>
              <a:xfrm>
                <a:off x="2095226" y="5232628"/>
                <a:ext cx="8009891" cy="247453"/>
                <a:chOff x="3206472" y="4990542"/>
                <a:chExt cx="4703452" cy="195351"/>
              </a:xfrm>
            </p:grpSpPr>
            <p:sp>
              <p:nvSpPr>
                <p:cNvPr id="234" name="TextBox 233">
                  <a:extLst>
                    <a:ext uri="{FF2B5EF4-FFF2-40B4-BE49-F238E27FC236}">
                      <a16:creationId xmlns:a16="http://schemas.microsoft.com/office/drawing/2014/main" id="{D78F9D3A-B079-39E1-9C52-C23F95BFACC0}"/>
                    </a:ext>
                  </a:extLst>
                </p:cNvPr>
                <p:cNvSpPr txBox="1"/>
                <p:nvPr/>
              </p:nvSpPr>
              <p:spPr>
                <a:xfrm>
                  <a:off x="3206472"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0</a:t>
                  </a:r>
                </a:p>
              </p:txBody>
            </p:sp>
            <p:sp>
              <p:nvSpPr>
                <p:cNvPr id="235" name="TextBox 234">
                  <a:extLst>
                    <a:ext uri="{FF2B5EF4-FFF2-40B4-BE49-F238E27FC236}">
                      <a16:creationId xmlns:a16="http://schemas.microsoft.com/office/drawing/2014/main" id="{0F54344B-C895-6E54-FEDF-3D7A87AA86D1}"/>
                    </a:ext>
                  </a:extLst>
                </p:cNvPr>
                <p:cNvSpPr txBox="1"/>
                <p:nvPr/>
              </p:nvSpPr>
              <p:spPr>
                <a:xfrm>
                  <a:off x="339109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2</a:t>
                  </a:r>
                </a:p>
              </p:txBody>
            </p:sp>
            <p:sp>
              <p:nvSpPr>
                <p:cNvPr id="236" name="TextBox 235">
                  <a:extLst>
                    <a:ext uri="{FF2B5EF4-FFF2-40B4-BE49-F238E27FC236}">
                      <a16:creationId xmlns:a16="http://schemas.microsoft.com/office/drawing/2014/main" id="{3D86DE06-8CC3-6143-0EC7-0229AF70922C}"/>
                    </a:ext>
                  </a:extLst>
                </p:cNvPr>
                <p:cNvSpPr txBox="1"/>
                <p:nvPr/>
              </p:nvSpPr>
              <p:spPr>
                <a:xfrm>
                  <a:off x="358638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4</a:t>
                  </a:r>
                </a:p>
              </p:txBody>
            </p:sp>
            <p:sp>
              <p:nvSpPr>
                <p:cNvPr id="237" name="TextBox 236">
                  <a:extLst>
                    <a:ext uri="{FF2B5EF4-FFF2-40B4-BE49-F238E27FC236}">
                      <a16:creationId xmlns:a16="http://schemas.microsoft.com/office/drawing/2014/main" id="{F6E8A3AA-1ED2-5D4C-8496-3BB9B1A38BBE}"/>
                    </a:ext>
                  </a:extLst>
                </p:cNvPr>
                <p:cNvSpPr txBox="1"/>
                <p:nvPr/>
              </p:nvSpPr>
              <p:spPr>
                <a:xfrm>
                  <a:off x="3774300"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6</a:t>
                  </a:r>
                </a:p>
              </p:txBody>
            </p:sp>
            <p:sp>
              <p:nvSpPr>
                <p:cNvPr id="238" name="TextBox 237">
                  <a:extLst>
                    <a:ext uri="{FF2B5EF4-FFF2-40B4-BE49-F238E27FC236}">
                      <a16:creationId xmlns:a16="http://schemas.microsoft.com/office/drawing/2014/main" id="{46954E16-C655-353B-19B8-C48D44B6A8A2}"/>
                    </a:ext>
                  </a:extLst>
                </p:cNvPr>
                <p:cNvSpPr txBox="1"/>
                <p:nvPr/>
              </p:nvSpPr>
              <p:spPr>
                <a:xfrm>
                  <a:off x="395689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8</a:t>
                  </a:r>
                </a:p>
              </p:txBody>
            </p:sp>
            <p:sp>
              <p:nvSpPr>
                <p:cNvPr id="239" name="TextBox 238">
                  <a:extLst>
                    <a:ext uri="{FF2B5EF4-FFF2-40B4-BE49-F238E27FC236}">
                      <a16:creationId xmlns:a16="http://schemas.microsoft.com/office/drawing/2014/main" id="{EB8E0703-AB12-363E-A0E5-51B6597B1E24}"/>
                    </a:ext>
                  </a:extLst>
                </p:cNvPr>
                <p:cNvSpPr txBox="1"/>
                <p:nvPr/>
              </p:nvSpPr>
              <p:spPr>
                <a:xfrm>
                  <a:off x="415071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10</a:t>
                  </a:r>
                </a:p>
              </p:txBody>
            </p:sp>
            <p:sp>
              <p:nvSpPr>
                <p:cNvPr id="240" name="TextBox 239">
                  <a:extLst>
                    <a:ext uri="{FF2B5EF4-FFF2-40B4-BE49-F238E27FC236}">
                      <a16:creationId xmlns:a16="http://schemas.microsoft.com/office/drawing/2014/main" id="{A0403617-0D91-EE32-73F1-CCA8518537A9}"/>
                    </a:ext>
                  </a:extLst>
                </p:cNvPr>
                <p:cNvSpPr txBox="1"/>
                <p:nvPr/>
              </p:nvSpPr>
              <p:spPr>
                <a:xfrm>
                  <a:off x="4345420"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12</a:t>
                  </a:r>
                </a:p>
              </p:txBody>
            </p:sp>
            <p:sp>
              <p:nvSpPr>
                <p:cNvPr id="241" name="TextBox 240">
                  <a:extLst>
                    <a:ext uri="{FF2B5EF4-FFF2-40B4-BE49-F238E27FC236}">
                      <a16:creationId xmlns:a16="http://schemas.microsoft.com/office/drawing/2014/main" id="{C1E9A953-0211-4BA6-6AB1-2CC90B638FA4}"/>
                    </a:ext>
                  </a:extLst>
                </p:cNvPr>
                <p:cNvSpPr txBox="1"/>
                <p:nvPr/>
              </p:nvSpPr>
              <p:spPr>
                <a:xfrm>
                  <a:off x="4525961"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14</a:t>
                  </a:r>
                </a:p>
              </p:txBody>
            </p:sp>
            <p:sp>
              <p:nvSpPr>
                <p:cNvPr id="242" name="TextBox 241">
                  <a:extLst>
                    <a:ext uri="{FF2B5EF4-FFF2-40B4-BE49-F238E27FC236}">
                      <a16:creationId xmlns:a16="http://schemas.microsoft.com/office/drawing/2014/main" id="{4D9DF675-C24A-3E5E-C4C4-857BF594D35B}"/>
                    </a:ext>
                  </a:extLst>
                </p:cNvPr>
                <p:cNvSpPr txBox="1"/>
                <p:nvPr/>
              </p:nvSpPr>
              <p:spPr>
                <a:xfrm>
                  <a:off x="471829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16</a:t>
                  </a:r>
                </a:p>
              </p:txBody>
            </p:sp>
            <p:sp>
              <p:nvSpPr>
                <p:cNvPr id="243" name="TextBox 242">
                  <a:extLst>
                    <a:ext uri="{FF2B5EF4-FFF2-40B4-BE49-F238E27FC236}">
                      <a16:creationId xmlns:a16="http://schemas.microsoft.com/office/drawing/2014/main" id="{D1B64F85-8E83-ED4D-047A-8DE8D3F81B68}"/>
                    </a:ext>
                  </a:extLst>
                </p:cNvPr>
                <p:cNvSpPr txBox="1"/>
                <p:nvPr/>
              </p:nvSpPr>
              <p:spPr>
                <a:xfrm>
                  <a:off x="491653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18</a:t>
                  </a:r>
                </a:p>
              </p:txBody>
            </p:sp>
            <p:sp>
              <p:nvSpPr>
                <p:cNvPr id="244" name="TextBox 243">
                  <a:extLst>
                    <a:ext uri="{FF2B5EF4-FFF2-40B4-BE49-F238E27FC236}">
                      <a16:creationId xmlns:a16="http://schemas.microsoft.com/office/drawing/2014/main" id="{4B9DE9E1-AD52-BC15-26AC-F4D629585944}"/>
                    </a:ext>
                  </a:extLst>
                </p:cNvPr>
                <p:cNvSpPr txBox="1"/>
                <p:nvPr/>
              </p:nvSpPr>
              <p:spPr>
                <a:xfrm>
                  <a:off x="529531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22</a:t>
                  </a:r>
                </a:p>
              </p:txBody>
            </p:sp>
            <p:sp>
              <p:nvSpPr>
                <p:cNvPr id="245" name="TextBox 244">
                  <a:extLst>
                    <a:ext uri="{FF2B5EF4-FFF2-40B4-BE49-F238E27FC236}">
                      <a16:creationId xmlns:a16="http://schemas.microsoft.com/office/drawing/2014/main" id="{BFFA7368-4DA5-F1FA-1617-ADB8613B578F}"/>
                    </a:ext>
                  </a:extLst>
                </p:cNvPr>
                <p:cNvSpPr txBox="1"/>
                <p:nvPr/>
              </p:nvSpPr>
              <p:spPr>
                <a:xfrm>
                  <a:off x="511182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20</a:t>
                  </a:r>
                </a:p>
              </p:txBody>
            </p:sp>
            <p:sp>
              <p:nvSpPr>
                <p:cNvPr id="246" name="TextBox 245">
                  <a:extLst>
                    <a:ext uri="{FF2B5EF4-FFF2-40B4-BE49-F238E27FC236}">
                      <a16:creationId xmlns:a16="http://schemas.microsoft.com/office/drawing/2014/main" id="{9C402EAD-940F-A6BF-F7F1-2B0C6F8A71EA}"/>
                    </a:ext>
                  </a:extLst>
                </p:cNvPr>
                <p:cNvSpPr txBox="1"/>
                <p:nvPr/>
              </p:nvSpPr>
              <p:spPr>
                <a:xfrm>
                  <a:off x="605140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30</a:t>
                  </a:r>
                </a:p>
              </p:txBody>
            </p:sp>
            <p:sp>
              <p:nvSpPr>
                <p:cNvPr id="247" name="TextBox 246">
                  <a:extLst>
                    <a:ext uri="{FF2B5EF4-FFF2-40B4-BE49-F238E27FC236}">
                      <a16:creationId xmlns:a16="http://schemas.microsoft.com/office/drawing/2014/main" id="{1691702C-1FF0-9C2C-D000-455D0E4B034D}"/>
                    </a:ext>
                  </a:extLst>
                </p:cNvPr>
                <p:cNvSpPr txBox="1"/>
                <p:nvPr/>
              </p:nvSpPr>
              <p:spPr>
                <a:xfrm>
                  <a:off x="6246692"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32</a:t>
                  </a:r>
                </a:p>
              </p:txBody>
            </p:sp>
            <p:sp>
              <p:nvSpPr>
                <p:cNvPr id="248" name="TextBox 247">
                  <a:extLst>
                    <a:ext uri="{FF2B5EF4-FFF2-40B4-BE49-F238E27FC236}">
                      <a16:creationId xmlns:a16="http://schemas.microsoft.com/office/drawing/2014/main" id="{85161209-F28F-9ED8-A90F-51E85FF95805}"/>
                    </a:ext>
                  </a:extLst>
                </p:cNvPr>
                <p:cNvSpPr txBox="1"/>
                <p:nvPr/>
              </p:nvSpPr>
              <p:spPr>
                <a:xfrm>
                  <a:off x="643608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34</a:t>
                  </a:r>
                </a:p>
              </p:txBody>
            </p:sp>
            <p:sp>
              <p:nvSpPr>
                <p:cNvPr id="249" name="TextBox 248">
                  <a:extLst>
                    <a:ext uri="{FF2B5EF4-FFF2-40B4-BE49-F238E27FC236}">
                      <a16:creationId xmlns:a16="http://schemas.microsoft.com/office/drawing/2014/main" id="{1500F26F-B551-16BD-541F-93255237BF56}"/>
                    </a:ext>
                  </a:extLst>
                </p:cNvPr>
                <p:cNvSpPr txBox="1"/>
                <p:nvPr/>
              </p:nvSpPr>
              <p:spPr>
                <a:xfrm>
                  <a:off x="663137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36</a:t>
                  </a:r>
                </a:p>
              </p:txBody>
            </p:sp>
            <p:sp>
              <p:nvSpPr>
                <p:cNvPr id="250" name="TextBox 249">
                  <a:extLst>
                    <a:ext uri="{FF2B5EF4-FFF2-40B4-BE49-F238E27FC236}">
                      <a16:creationId xmlns:a16="http://schemas.microsoft.com/office/drawing/2014/main" id="{47A64ED1-4AE6-2F2F-CB9C-DE58C73E479D}"/>
                    </a:ext>
                  </a:extLst>
                </p:cNvPr>
                <p:cNvSpPr txBox="1"/>
                <p:nvPr/>
              </p:nvSpPr>
              <p:spPr>
                <a:xfrm>
                  <a:off x="6826662"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38</a:t>
                  </a:r>
                </a:p>
              </p:txBody>
            </p:sp>
            <p:sp>
              <p:nvSpPr>
                <p:cNvPr id="251" name="TextBox 250">
                  <a:extLst>
                    <a:ext uri="{FF2B5EF4-FFF2-40B4-BE49-F238E27FC236}">
                      <a16:creationId xmlns:a16="http://schemas.microsoft.com/office/drawing/2014/main" id="{7E0646B1-E740-03EA-2C22-15BE34A44EB5}"/>
                    </a:ext>
                  </a:extLst>
                </p:cNvPr>
                <p:cNvSpPr txBox="1"/>
                <p:nvPr/>
              </p:nvSpPr>
              <p:spPr>
                <a:xfrm>
                  <a:off x="7198065"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42</a:t>
                  </a:r>
                </a:p>
              </p:txBody>
            </p:sp>
            <p:sp>
              <p:nvSpPr>
                <p:cNvPr id="252" name="TextBox 251">
                  <a:extLst>
                    <a:ext uri="{FF2B5EF4-FFF2-40B4-BE49-F238E27FC236}">
                      <a16:creationId xmlns:a16="http://schemas.microsoft.com/office/drawing/2014/main" id="{5DDFCF49-42A5-7E22-4713-DC04A36DDCEA}"/>
                    </a:ext>
                  </a:extLst>
                </p:cNvPr>
                <p:cNvSpPr txBox="1"/>
                <p:nvPr/>
              </p:nvSpPr>
              <p:spPr>
                <a:xfrm>
                  <a:off x="700720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40</a:t>
                  </a:r>
                </a:p>
              </p:txBody>
            </p:sp>
            <p:sp>
              <p:nvSpPr>
                <p:cNvPr id="253" name="TextBox 252">
                  <a:extLst>
                    <a:ext uri="{FF2B5EF4-FFF2-40B4-BE49-F238E27FC236}">
                      <a16:creationId xmlns:a16="http://schemas.microsoft.com/office/drawing/2014/main" id="{9DAEBA24-B0FA-6CC6-1C45-A51199D9FBEC}"/>
                    </a:ext>
                  </a:extLst>
                </p:cNvPr>
                <p:cNvSpPr txBox="1"/>
                <p:nvPr/>
              </p:nvSpPr>
              <p:spPr>
                <a:xfrm>
                  <a:off x="548765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24</a:t>
                  </a:r>
                </a:p>
              </p:txBody>
            </p:sp>
            <p:sp>
              <p:nvSpPr>
                <p:cNvPr id="254" name="TextBox 253">
                  <a:extLst>
                    <a:ext uri="{FF2B5EF4-FFF2-40B4-BE49-F238E27FC236}">
                      <a16:creationId xmlns:a16="http://schemas.microsoft.com/office/drawing/2014/main" id="{0E807AF4-B715-7BF0-714A-0CF9A07878E1}"/>
                    </a:ext>
                  </a:extLst>
                </p:cNvPr>
                <p:cNvSpPr txBox="1"/>
                <p:nvPr/>
              </p:nvSpPr>
              <p:spPr>
                <a:xfrm>
                  <a:off x="567999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26</a:t>
                  </a:r>
                </a:p>
              </p:txBody>
            </p:sp>
            <p:sp>
              <p:nvSpPr>
                <p:cNvPr id="255" name="TextBox 254">
                  <a:extLst>
                    <a:ext uri="{FF2B5EF4-FFF2-40B4-BE49-F238E27FC236}">
                      <a16:creationId xmlns:a16="http://schemas.microsoft.com/office/drawing/2014/main" id="{94F8A15F-63AA-1FEA-97F4-D6B07BA28446}"/>
                    </a:ext>
                  </a:extLst>
                </p:cNvPr>
                <p:cNvSpPr txBox="1"/>
                <p:nvPr/>
              </p:nvSpPr>
              <p:spPr>
                <a:xfrm>
                  <a:off x="585611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28</a:t>
                  </a:r>
                </a:p>
              </p:txBody>
            </p:sp>
            <p:sp>
              <p:nvSpPr>
                <p:cNvPr id="256" name="TextBox 255">
                  <a:extLst>
                    <a:ext uri="{FF2B5EF4-FFF2-40B4-BE49-F238E27FC236}">
                      <a16:creationId xmlns:a16="http://schemas.microsoft.com/office/drawing/2014/main" id="{5B5D8635-9B58-3BBE-2F7F-4FB530A63507}"/>
                    </a:ext>
                  </a:extLst>
                </p:cNvPr>
                <p:cNvSpPr txBox="1"/>
                <p:nvPr/>
              </p:nvSpPr>
              <p:spPr>
                <a:xfrm>
                  <a:off x="7383030"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44</a:t>
                  </a:r>
                </a:p>
              </p:txBody>
            </p:sp>
            <p:sp>
              <p:nvSpPr>
                <p:cNvPr id="257" name="TextBox 256">
                  <a:extLst>
                    <a:ext uri="{FF2B5EF4-FFF2-40B4-BE49-F238E27FC236}">
                      <a16:creationId xmlns:a16="http://schemas.microsoft.com/office/drawing/2014/main" id="{54B53F88-E635-E17E-A630-23EBDF941A72}"/>
                    </a:ext>
                  </a:extLst>
                </p:cNvPr>
                <p:cNvSpPr txBox="1"/>
                <p:nvPr/>
              </p:nvSpPr>
              <p:spPr>
                <a:xfrm>
                  <a:off x="757734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46</a:t>
                  </a:r>
                </a:p>
              </p:txBody>
            </p:sp>
            <p:sp>
              <p:nvSpPr>
                <p:cNvPr id="258" name="TextBox 257">
                  <a:extLst>
                    <a:ext uri="{FF2B5EF4-FFF2-40B4-BE49-F238E27FC236}">
                      <a16:creationId xmlns:a16="http://schemas.microsoft.com/office/drawing/2014/main" id="{9C4F30B5-66BD-0C9A-DA6B-B4EA2D771322}"/>
                    </a:ext>
                  </a:extLst>
                </p:cNvPr>
                <p:cNvSpPr txBox="1"/>
                <p:nvPr/>
              </p:nvSpPr>
              <p:spPr>
                <a:xfrm>
                  <a:off x="776899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3F4444"/>
                      </a:solidFill>
                      <a:effectLst/>
                      <a:uLnTx/>
                      <a:uFillTx/>
                      <a:latin typeface="Calibri"/>
                      <a:ea typeface="+mn-ea"/>
                      <a:cs typeface="+mn-cs"/>
                    </a:rPr>
                    <a:t>48</a:t>
                  </a:r>
                </a:p>
              </p:txBody>
            </p:sp>
          </p:grpSp>
          <p:sp>
            <p:nvSpPr>
              <p:cNvPr id="17" name="TextBox 16">
                <a:extLst>
                  <a:ext uri="{FF2B5EF4-FFF2-40B4-BE49-F238E27FC236}">
                    <a16:creationId xmlns:a16="http://schemas.microsoft.com/office/drawing/2014/main" id="{83343B4E-2CF5-EDBE-4368-20E2A5287049}"/>
                  </a:ext>
                </a:extLst>
              </p:cNvPr>
              <p:cNvSpPr txBox="1"/>
              <p:nvPr/>
            </p:nvSpPr>
            <p:spPr>
              <a:xfrm>
                <a:off x="2902566" y="5519716"/>
                <a:ext cx="6387216" cy="20541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srgbClr val="3F4444"/>
                    </a:solidFill>
                    <a:effectLst/>
                    <a:uLnTx/>
                    <a:uFillTx/>
                    <a:latin typeface="Calibri"/>
                    <a:ea typeface="+mn-ea"/>
                    <a:cs typeface="+mn-cs"/>
                  </a:rPr>
                  <a:t>Время от рандомизации</a:t>
                </a:r>
                <a:r>
                  <a:rPr kumimoji="0" lang="en-GB" sz="1100" b="1" i="0" u="none" strike="noStrike" kern="1200" cap="none" spc="0" normalizeH="0" baseline="0" noProof="0" dirty="0">
                    <a:ln>
                      <a:noFill/>
                    </a:ln>
                    <a:solidFill>
                      <a:srgbClr val="3F4444"/>
                    </a:solidFill>
                    <a:effectLst/>
                    <a:uLnTx/>
                    <a:uFillTx/>
                    <a:latin typeface="Calibri"/>
                    <a:ea typeface="+mn-ea"/>
                    <a:cs typeface="+mn-cs"/>
                  </a:rPr>
                  <a:t> (</a:t>
                </a:r>
                <a:r>
                  <a:rPr kumimoji="0" lang="ru-RU" sz="1100" b="1" i="0" u="none" strike="noStrike" kern="1200" cap="none" spc="0" normalizeH="0" baseline="0" noProof="0" dirty="0">
                    <a:ln>
                      <a:noFill/>
                    </a:ln>
                    <a:solidFill>
                      <a:srgbClr val="3F4444"/>
                    </a:solidFill>
                    <a:effectLst/>
                    <a:uLnTx/>
                    <a:uFillTx/>
                    <a:latin typeface="Calibri"/>
                    <a:ea typeface="+mn-ea"/>
                    <a:cs typeface="+mn-cs"/>
                  </a:rPr>
                  <a:t>месяцы</a:t>
                </a:r>
                <a:r>
                  <a:rPr kumimoji="0" lang="en-GB" sz="1100" b="1" i="0" u="none" strike="noStrike" kern="1200" cap="none" spc="0" normalizeH="0" baseline="0" noProof="0" dirty="0">
                    <a:ln>
                      <a:noFill/>
                    </a:ln>
                    <a:solidFill>
                      <a:srgbClr val="3F4444"/>
                    </a:solidFill>
                    <a:effectLst/>
                    <a:uLnTx/>
                    <a:uFillTx/>
                    <a:latin typeface="Calibri"/>
                    <a:ea typeface="+mn-ea"/>
                    <a:cs typeface="+mn-cs"/>
                  </a:rPr>
                  <a:t>)</a:t>
                </a:r>
              </a:p>
            </p:txBody>
          </p:sp>
          <p:sp>
            <p:nvSpPr>
              <p:cNvPr id="18" name="TextBox 17">
                <a:extLst>
                  <a:ext uri="{FF2B5EF4-FFF2-40B4-BE49-F238E27FC236}">
                    <a16:creationId xmlns:a16="http://schemas.microsoft.com/office/drawing/2014/main" id="{C48E3F87-D868-5AB2-2CFC-C21EA5B371B7}"/>
                  </a:ext>
                </a:extLst>
              </p:cNvPr>
              <p:cNvSpPr txBox="1"/>
              <p:nvPr/>
            </p:nvSpPr>
            <p:spPr>
              <a:xfrm rot="16200000">
                <a:off x="380161" y="3270188"/>
                <a:ext cx="2304215" cy="2528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srgbClr val="3F4444"/>
                    </a:solidFill>
                    <a:effectLst/>
                    <a:uLnTx/>
                    <a:uFillTx/>
                    <a:latin typeface="Calibri"/>
                    <a:ea typeface="+mn-ea"/>
                    <a:cs typeface="+mn-cs"/>
                  </a:rPr>
                  <a:t>Вероятность ОВ</a:t>
                </a:r>
                <a:endParaRPr kumimoji="0" lang="en-GB" sz="1100" b="1" i="0" u="none" strike="noStrike" kern="1200" cap="none" spc="0" normalizeH="0" baseline="0" noProof="0" dirty="0">
                  <a:ln>
                    <a:noFill/>
                  </a:ln>
                  <a:solidFill>
                    <a:srgbClr val="3F4444"/>
                  </a:solidFill>
                  <a:effectLst/>
                  <a:uLnTx/>
                  <a:uFillTx/>
                  <a:latin typeface="Calibri"/>
                  <a:ea typeface="+mn-ea"/>
                  <a:cs typeface="+mn-cs"/>
                </a:endParaRPr>
              </a:p>
            </p:txBody>
          </p:sp>
          <p:grpSp>
            <p:nvGrpSpPr>
              <p:cNvPr id="19" name="Group 18">
                <a:extLst>
                  <a:ext uri="{FF2B5EF4-FFF2-40B4-BE49-F238E27FC236}">
                    <a16:creationId xmlns:a16="http://schemas.microsoft.com/office/drawing/2014/main" id="{62CF8DF0-5137-72C0-A21F-7A7200A2D696}"/>
                  </a:ext>
                </a:extLst>
              </p:cNvPr>
              <p:cNvGrpSpPr/>
              <p:nvPr/>
            </p:nvGrpSpPr>
            <p:grpSpPr>
              <a:xfrm>
                <a:off x="353105" y="5686351"/>
                <a:ext cx="9791211" cy="470477"/>
                <a:chOff x="2183494" y="5361660"/>
                <a:chExt cx="5749467" cy="371408"/>
              </a:xfrm>
            </p:grpSpPr>
            <p:grpSp>
              <p:nvGrpSpPr>
                <p:cNvPr id="205" name="Group 204">
                  <a:extLst>
                    <a:ext uri="{FF2B5EF4-FFF2-40B4-BE49-F238E27FC236}">
                      <a16:creationId xmlns:a16="http://schemas.microsoft.com/office/drawing/2014/main" id="{4B920A11-D0B8-EBF8-6BA5-EBF20E06369F}"/>
                    </a:ext>
                  </a:extLst>
                </p:cNvPr>
                <p:cNvGrpSpPr/>
                <p:nvPr/>
              </p:nvGrpSpPr>
              <p:grpSpPr>
                <a:xfrm>
                  <a:off x="2183494" y="5361660"/>
                  <a:ext cx="1307880" cy="371408"/>
                  <a:chOff x="1205277" y="-756536"/>
                  <a:chExt cx="1239716" cy="371408"/>
                </a:xfrm>
              </p:grpSpPr>
              <p:sp>
                <p:nvSpPr>
                  <p:cNvPr id="232" name="TextBox 231">
                    <a:extLst>
                      <a:ext uri="{FF2B5EF4-FFF2-40B4-BE49-F238E27FC236}">
                        <a16:creationId xmlns:a16="http://schemas.microsoft.com/office/drawing/2014/main" id="{317748B2-163B-DC78-901B-AC104F347A7C}"/>
                      </a:ext>
                    </a:extLst>
                  </p:cNvPr>
                  <p:cNvSpPr txBox="1"/>
                  <p:nvPr/>
                </p:nvSpPr>
                <p:spPr>
                  <a:xfrm>
                    <a:off x="1213821" y="-756536"/>
                    <a:ext cx="1231172" cy="11793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1" i="0" u="none" strike="noStrike" kern="1200" cap="none" spc="0" normalizeH="0" baseline="0" noProof="0" dirty="0">
                        <a:ln>
                          <a:noFill/>
                        </a:ln>
                        <a:solidFill>
                          <a:srgbClr val="3F4444"/>
                        </a:solidFill>
                        <a:effectLst/>
                        <a:uLnTx/>
                        <a:uFillTx/>
                        <a:latin typeface="Calibri"/>
                        <a:ea typeface="+mn-ea"/>
                        <a:cs typeface="+mn-cs"/>
                      </a:rPr>
                      <a:t>Кол-во пациентов с риском</a:t>
                    </a:r>
                    <a:endParaRPr kumimoji="0" lang="en-GB" sz="800" b="1" i="0" u="none" strike="noStrike" kern="1200" cap="none" spc="0" normalizeH="0" baseline="0" noProof="0" dirty="0">
                      <a:ln>
                        <a:noFill/>
                      </a:ln>
                      <a:solidFill>
                        <a:srgbClr val="3F4444"/>
                      </a:solidFill>
                      <a:effectLst/>
                      <a:uLnTx/>
                      <a:uFillTx/>
                      <a:latin typeface="Calibri"/>
                      <a:ea typeface="+mn-ea"/>
                      <a:cs typeface="+mn-cs"/>
                    </a:endParaRPr>
                  </a:p>
                </p:txBody>
              </p:sp>
              <p:sp>
                <p:nvSpPr>
                  <p:cNvPr id="233" name="TextBox 232">
                    <a:extLst>
                      <a:ext uri="{FF2B5EF4-FFF2-40B4-BE49-F238E27FC236}">
                        <a16:creationId xmlns:a16="http://schemas.microsoft.com/office/drawing/2014/main" id="{7BBEC167-9545-2285-5242-E62C6C390C85}"/>
                      </a:ext>
                    </a:extLst>
                  </p:cNvPr>
                  <p:cNvSpPr txBox="1"/>
                  <p:nvPr/>
                </p:nvSpPr>
                <p:spPr>
                  <a:xfrm>
                    <a:off x="1205277" y="-620996"/>
                    <a:ext cx="922913" cy="23586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1" i="0" u="none" strike="noStrike" kern="1200" cap="none" spc="0" normalizeH="0" baseline="0" noProof="0" dirty="0">
                        <a:ln>
                          <a:noFill/>
                        </a:ln>
                        <a:solidFill>
                          <a:srgbClr val="830051"/>
                        </a:solidFill>
                        <a:effectLst/>
                        <a:uLnTx/>
                        <a:uFillTx/>
                        <a:latin typeface="Calibri"/>
                        <a:ea typeface="+mn-ea"/>
                        <a:cs typeface="+mn-cs"/>
                      </a:rPr>
                      <a:t>Олапариб</a:t>
                    </a:r>
                    <a:r>
                      <a:rPr kumimoji="0" lang="en-GB" sz="800" b="1" i="0" u="none" strike="noStrike" kern="1200" cap="none" spc="0" normalizeH="0" baseline="0" noProof="0" dirty="0">
                        <a:ln>
                          <a:noFill/>
                        </a:ln>
                        <a:solidFill>
                          <a:srgbClr val="830051"/>
                        </a:solidFill>
                        <a:effectLst/>
                        <a:uLnTx/>
                        <a:uFillTx/>
                        <a:latin typeface="Calibri"/>
                        <a:ea typeface="+mn-ea"/>
                        <a:cs typeface="+mn-cs"/>
                      </a:rPr>
                      <a:t> + </a:t>
                    </a:r>
                    <a:r>
                      <a:rPr kumimoji="0" lang="ru-RU" sz="800" b="1" i="0" u="none" strike="noStrike" kern="1200" cap="none" spc="0" normalizeH="0" baseline="0" noProof="0" dirty="0" err="1">
                        <a:ln>
                          <a:noFill/>
                        </a:ln>
                        <a:solidFill>
                          <a:srgbClr val="830051"/>
                        </a:solidFill>
                        <a:effectLst/>
                        <a:uLnTx/>
                        <a:uFillTx/>
                        <a:latin typeface="Calibri"/>
                        <a:ea typeface="+mn-ea"/>
                        <a:cs typeface="+mn-cs"/>
                      </a:rPr>
                      <a:t>абиратерон</a:t>
                    </a:r>
                    <a:endParaRPr kumimoji="0" lang="en-GB" sz="800" b="1" i="0" u="none" strike="noStrike" kern="1200" cap="none" spc="0" normalizeH="0" baseline="0" noProof="0" dirty="0">
                      <a:ln>
                        <a:noFill/>
                      </a:ln>
                      <a:solidFill>
                        <a:srgbClr val="830051"/>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1" i="0" u="none" strike="noStrike" kern="1200" cap="none" spc="0" normalizeH="0" baseline="0" noProof="0" dirty="0">
                        <a:ln>
                          <a:noFill/>
                        </a:ln>
                        <a:solidFill>
                          <a:schemeClr val="tx2"/>
                        </a:solidFill>
                        <a:effectLst/>
                        <a:uLnTx/>
                        <a:uFillTx/>
                        <a:latin typeface="Calibri"/>
                        <a:ea typeface="+mn-ea"/>
                        <a:cs typeface="+mn-cs"/>
                      </a:rPr>
                      <a:t>Плацебо</a:t>
                    </a:r>
                    <a:r>
                      <a:rPr kumimoji="0" lang="en-GB" sz="800" b="1" i="0" u="none" strike="noStrike" kern="1200" cap="none" spc="0" normalizeH="0" baseline="0" noProof="0" dirty="0">
                        <a:ln>
                          <a:noFill/>
                        </a:ln>
                        <a:solidFill>
                          <a:schemeClr val="tx2"/>
                        </a:solidFill>
                        <a:effectLst/>
                        <a:uLnTx/>
                        <a:uFillTx/>
                        <a:latin typeface="Calibri"/>
                        <a:ea typeface="+mn-ea"/>
                        <a:cs typeface="+mn-cs"/>
                      </a:rPr>
                      <a:t> + </a:t>
                    </a:r>
                    <a:r>
                      <a:rPr kumimoji="0" lang="ru-RU" sz="800" b="1" i="0" u="none" strike="noStrike" kern="1200" cap="none" spc="0" normalizeH="0" baseline="0" noProof="0" dirty="0" err="1">
                        <a:ln>
                          <a:noFill/>
                        </a:ln>
                        <a:solidFill>
                          <a:schemeClr val="tx2"/>
                        </a:solidFill>
                        <a:effectLst/>
                        <a:uLnTx/>
                        <a:uFillTx/>
                        <a:latin typeface="Calibri"/>
                        <a:ea typeface="+mn-ea"/>
                        <a:cs typeface="+mn-cs"/>
                      </a:rPr>
                      <a:t>абиратерон</a:t>
                    </a:r>
                    <a:endParaRPr kumimoji="0" lang="en-GB" sz="800" b="1" i="0" u="none" strike="noStrike" kern="1200" cap="none" spc="0" normalizeH="0" baseline="0" noProof="0" dirty="0">
                      <a:ln>
                        <a:noFill/>
                      </a:ln>
                      <a:solidFill>
                        <a:schemeClr val="tx2"/>
                      </a:solidFill>
                      <a:effectLst/>
                      <a:uLnTx/>
                      <a:uFillTx/>
                      <a:latin typeface="Calibri"/>
                      <a:ea typeface="+mn-ea"/>
                      <a:cs typeface="+mn-cs"/>
                    </a:endParaRPr>
                  </a:p>
                </p:txBody>
              </p:sp>
            </p:grpSp>
            <p:grpSp>
              <p:nvGrpSpPr>
                <p:cNvPr id="206" name="Group 205">
                  <a:extLst>
                    <a:ext uri="{FF2B5EF4-FFF2-40B4-BE49-F238E27FC236}">
                      <a16:creationId xmlns:a16="http://schemas.microsoft.com/office/drawing/2014/main" id="{3204DA14-28C1-9169-7D4E-1D7F60845470}"/>
                    </a:ext>
                  </a:extLst>
                </p:cNvPr>
                <p:cNvGrpSpPr/>
                <p:nvPr/>
              </p:nvGrpSpPr>
              <p:grpSpPr>
                <a:xfrm>
                  <a:off x="3183826" y="5496053"/>
                  <a:ext cx="4749135" cy="235877"/>
                  <a:chOff x="3183826" y="5496053"/>
                  <a:chExt cx="4749135" cy="235877"/>
                </a:xfrm>
              </p:grpSpPr>
              <p:sp>
                <p:nvSpPr>
                  <p:cNvPr id="207" name="TextBox 206">
                    <a:extLst>
                      <a:ext uri="{FF2B5EF4-FFF2-40B4-BE49-F238E27FC236}">
                        <a16:creationId xmlns:a16="http://schemas.microsoft.com/office/drawing/2014/main" id="{4D670570-E3C2-D3B9-FD58-1B1493BAD8AF}"/>
                      </a:ext>
                    </a:extLst>
                  </p:cNvPr>
                  <p:cNvSpPr txBox="1"/>
                  <p:nvPr/>
                </p:nvSpPr>
                <p:spPr>
                  <a:xfrm>
                    <a:off x="7176850" y="5496061"/>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2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25</a:t>
                    </a:r>
                  </a:p>
                </p:txBody>
              </p:sp>
              <p:sp>
                <p:nvSpPr>
                  <p:cNvPr id="208" name="TextBox 207">
                    <a:extLst>
                      <a:ext uri="{FF2B5EF4-FFF2-40B4-BE49-F238E27FC236}">
                        <a16:creationId xmlns:a16="http://schemas.microsoft.com/office/drawing/2014/main" id="{871F9703-4882-0D2C-7E4C-DE5B7C9B67E0}"/>
                      </a:ext>
                    </a:extLst>
                  </p:cNvPr>
                  <p:cNvSpPr txBox="1"/>
                  <p:nvPr/>
                </p:nvSpPr>
                <p:spPr>
                  <a:xfrm>
                    <a:off x="6986532" y="5496059"/>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6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53</a:t>
                    </a:r>
                  </a:p>
                </p:txBody>
              </p:sp>
              <p:sp>
                <p:nvSpPr>
                  <p:cNvPr id="209" name="TextBox 208">
                    <a:extLst>
                      <a:ext uri="{FF2B5EF4-FFF2-40B4-BE49-F238E27FC236}">
                        <a16:creationId xmlns:a16="http://schemas.microsoft.com/office/drawing/2014/main" id="{EEB13120-C12C-46C9-6313-AA6AF287E033}"/>
                      </a:ext>
                    </a:extLst>
                  </p:cNvPr>
                  <p:cNvSpPr txBox="1"/>
                  <p:nvPr/>
                </p:nvSpPr>
                <p:spPr>
                  <a:xfrm>
                    <a:off x="6805064" y="5496058"/>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9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84</a:t>
                    </a:r>
                  </a:p>
                </p:txBody>
              </p:sp>
              <p:sp>
                <p:nvSpPr>
                  <p:cNvPr id="210" name="TextBox 209">
                    <a:extLst>
                      <a:ext uri="{FF2B5EF4-FFF2-40B4-BE49-F238E27FC236}">
                        <a16:creationId xmlns:a16="http://schemas.microsoft.com/office/drawing/2014/main" id="{F0A6B657-CB29-06A1-9469-B009E53102DA}"/>
                      </a:ext>
                    </a:extLst>
                  </p:cNvPr>
                  <p:cNvSpPr txBox="1"/>
                  <p:nvPr/>
                </p:nvSpPr>
                <p:spPr>
                  <a:xfrm>
                    <a:off x="6609883" y="5496060"/>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1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119</a:t>
                    </a:r>
                  </a:p>
                </p:txBody>
              </p:sp>
              <p:sp>
                <p:nvSpPr>
                  <p:cNvPr id="211" name="TextBox 210">
                    <a:extLst>
                      <a:ext uri="{FF2B5EF4-FFF2-40B4-BE49-F238E27FC236}">
                        <a16:creationId xmlns:a16="http://schemas.microsoft.com/office/drawing/2014/main" id="{F8D34F40-02CD-B066-2B42-F5F811C26B3D}"/>
                      </a:ext>
                    </a:extLst>
                  </p:cNvPr>
                  <p:cNvSpPr txBox="1"/>
                  <p:nvPr/>
                </p:nvSpPr>
                <p:spPr>
                  <a:xfrm>
                    <a:off x="6413817" y="5496060"/>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19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157</a:t>
                    </a:r>
                  </a:p>
                </p:txBody>
              </p:sp>
              <p:sp>
                <p:nvSpPr>
                  <p:cNvPr id="212" name="TextBox 211">
                    <a:extLst>
                      <a:ext uri="{FF2B5EF4-FFF2-40B4-BE49-F238E27FC236}">
                        <a16:creationId xmlns:a16="http://schemas.microsoft.com/office/drawing/2014/main" id="{960C81EA-942B-64A7-4A4C-466DE685721F}"/>
                      </a:ext>
                    </a:extLst>
                  </p:cNvPr>
                  <p:cNvSpPr txBox="1"/>
                  <p:nvPr/>
                </p:nvSpPr>
                <p:spPr>
                  <a:xfrm>
                    <a:off x="6226594" y="5496062"/>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2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201</a:t>
                    </a:r>
                  </a:p>
                </p:txBody>
              </p:sp>
              <p:sp>
                <p:nvSpPr>
                  <p:cNvPr id="213" name="TextBox 212">
                    <a:extLst>
                      <a:ext uri="{FF2B5EF4-FFF2-40B4-BE49-F238E27FC236}">
                        <a16:creationId xmlns:a16="http://schemas.microsoft.com/office/drawing/2014/main" id="{A6292D84-7F67-144D-36B2-7F7BD92264A9}"/>
                      </a:ext>
                    </a:extLst>
                  </p:cNvPr>
                  <p:cNvSpPr txBox="1"/>
                  <p:nvPr/>
                </p:nvSpPr>
                <p:spPr>
                  <a:xfrm>
                    <a:off x="6033471" y="5496062"/>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2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213</a:t>
                    </a:r>
                  </a:p>
                </p:txBody>
              </p:sp>
              <p:sp>
                <p:nvSpPr>
                  <p:cNvPr id="214" name="TextBox 213">
                    <a:extLst>
                      <a:ext uri="{FF2B5EF4-FFF2-40B4-BE49-F238E27FC236}">
                        <a16:creationId xmlns:a16="http://schemas.microsoft.com/office/drawing/2014/main" id="{68C27D44-0D4B-CC11-1563-769AB2587225}"/>
                      </a:ext>
                    </a:extLst>
                  </p:cNvPr>
                  <p:cNvSpPr txBox="1"/>
                  <p:nvPr/>
                </p:nvSpPr>
                <p:spPr>
                  <a:xfrm>
                    <a:off x="5840348" y="5496060"/>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25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225</a:t>
                    </a:r>
                  </a:p>
                </p:txBody>
              </p:sp>
              <p:sp>
                <p:nvSpPr>
                  <p:cNvPr id="215" name="TextBox 214">
                    <a:extLst>
                      <a:ext uri="{FF2B5EF4-FFF2-40B4-BE49-F238E27FC236}">
                        <a16:creationId xmlns:a16="http://schemas.microsoft.com/office/drawing/2014/main" id="{D0084FF2-7437-D869-439B-AD4FE13635A3}"/>
                      </a:ext>
                    </a:extLst>
                  </p:cNvPr>
                  <p:cNvSpPr txBox="1"/>
                  <p:nvPr/>
                </p:nvSpPr>
                <p:spPr>
                  <a:xfrm>
                    <a:off x="5656075" y="5496059"/>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25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241</a:t>
                    </a:r>
                  </a:p>
                </p:txBody>
              </p:sp>
              <p:sp>
                <p:nvSpPr>
                  <p:cNvPr id="216" name="TextBox 215">
                    <a:extLst>
                      <a:ext uri="{FF2B5EF4-FFF2-40B4-BE49-F238E27FC236}">
                        <a16:creationId xmlns:a16="http://schemas.microsoft.com/office/drawing/2014/main" id="{0FCBA287-BCBD-8561-918B-2B9E5C34E26B}"/>
                      </a:ext>
                    </a:extLst>
                  </p:cNvPr>
                  <p:cNvSpPr txBox="1"/>
                  <p:nvPr/>
                </p:nvSpPr>
                <p:spPr>
                  <a:xfrm>
                    <a:off x="5468852" y="5496056"/>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27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254</a:t>
                    </a:r>
                  </a:p>
                </p:txBody>
              </p:sp>
              <p:sp>
                <p:nvSpPr>
                  <p:cNvPr id="217" name="TextBox 216">
                    <a:extLst>
                      <a:ext uri="{FF2B5EF4-FFF2-40B4-BE49-F238E27FC236}">
                        <a16:creationId xmlns:a16="http://schemas.microsoft.com/office/drawing/2014/main" id="{9DA80C7F-FBFE-7A59-440D-0F24764C2E0A}"/>
                      </a:ext>
                    </a:extLst>
                  </p:cNvPr>
                  <p:cNvSpPr txBox="1"/>
                  <p:nvPr/>
                </p:nvSpPr>
                <p:spPr>
                  <a:xfrm>
                    <a:off x="5272779" y="5496053"/>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28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282</a:t>
                    </a:r>
                  </a:p>
                </p:txBody>
              </p:sp>
              <p:sp>
                <p:nvSpPr>
                  <p:cNvPr id="218" name="TextBox 217">
                    <a:extLst>
                      <a:ext uri="{FF2B5EF4-FFF2-40B4-BE49-F238E27FC236}">
                        <a16:creationId xmlns:a16="http://schemas.microsoft.com/office/drawing/2014/main" id="{DA286894-DF08-E439-CE1D-16B3E0B2F39A}"/>
                      </a:ext>
                    </a:extLst>
                  </p:cNvPr>
                  <p:cNvSpPr txBox="1"/>
                  <p:nvPr/>
                </p:nvSpPr>
                <p:spPr>
                  <a:xfrm>
                    <a:off x="5088506" y="5496056"/>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29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01</a:t>
                    </a:r>
                  </a:p>
                </p:txBody>
              </p:sp>
              <p:sp>
                <p:nvSpPr>
                  <p:cNvPr id="219" name="TextBox 218">
                    <a:extLst>
                      <a:ext uri="{FF2B5EF4-FFF2-40B4-BE49-F238E27FC236}">
                        <a16:creationId xmlns:a16="http://schemas.microsoft.com/office/drawing/2014/main" id="{ECB9F5EE-5278-556D-1939-9213A748D54E}"/>
                      </a:ext>
                    </a:extLst>
                  </p:cNvPr>
                  <p:cNvSpPr txBox="1"/>
                  <p:nvPr/>
                </p:nvSpPr>
                <p:spPr>
                  <a:xfrm>
                    <a:off x="4898333" y="5496059"/>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05</a:t>
                    </a:r>
                  </a:p>
                </p:txBody>
              </p:sp>
              <p:sp>
                <p:nvSpPr>
                  <p:cNvPr id="220" name="TextBox 219">
                    <a:extLst>
                      <a:ext uri="{FF2B5EF4-FFF2-40B4-BE49-F238E27FC236}">
                        <a16:creationId xmlns:a16="http://schemas.microsoft.com/office/drawing/2014/main" id="{FBE38363-9FA8-67B6-D5FE-43F7011DCF80}"/>
                      </a:ext>
                    </a:extLst>
                  </p:cNvPr>
                  <p:cNvSpPr txBox="1"/>
                  <p:nvPr/>
                </p:nvSpPr>
                <p:spPr>
                  <a:xfrm>
                    <a:off x="4699310" y="5496057"/>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16</a:t>
                    </a:r>
                  </a:p>
                </p:txBody>
              </p:sp>
              <p:sp>
                <p:nvSpPr>
                  <p:cNvPr id="221" name="TextBox 220">
                    <a:extLst>
                      <a:ext uri="{FF2B5EF4-FFF2-40B4-BE49-F238E27FC236}">
                        <a16:creationId xmlns:a16="http://schemas.microsoft.com/office/drawing/2014/main" id="{4808D972-A918-5657-1845-BFB2B5AD6B88}"/>
                      </a:ext>
                    </a:extLst>
                  </p:cNvPr>
                  <p:cNvSpPr txBox="1"/>
                  <p:nvPr/>
                </p:nvSpPr>
                <p:spPr>
                  <a:xfrm>
                    <a:off x="4506187" y="5496057"/>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3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37</a:t>
                    </a:r>
                  </a:p>
                </p:txBody>
              </p:sp>
              <p:sp>
                <p:nvSpPr>
                  <p:cNvPr id="222" name="TextBox 221">
                    <a:extLst>
                      <a:ext uri="{FF2B5EF4-FFF2-40B4-BE49-F238E27FC236}">
                        <a16:creationId xmlns:a16="http://schemas.microsoft.com/office/drawing/2014/main" id="{44E9304C-FD00-603C-340C-B8EEED2AB87E}"/>
                      </a:ext>
                    </a:extLst>
                  </p:cNvPr>
                  <p:cNvSpPr txBox="1"/>
                  <p:nvPr/>
                </p:nvSpPr>
                <p:spPr>
                  <a:xfrm>
                    <a:off x="4324864" y="5496056"/>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4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55</a:t>
                    </a:r>
                  </a:p>
                </p:txBody>
              </p:sp>
              <p:sp>
                <p:nvSpPr>
                  <p:cNvPr id="223" name="TextBox 222">
                    <a:extLst>
                      <a:ext uri="{FF2B5EF4-FFF2-40B4-BE49-F238E27FC236}">
                        <a16:creationId xmlns:a16="http://schemas.microsoft.com/office/drawing/2014/main" id="{37BAF5D9-044E-38F2-D071-A610B694B43A}"/>
                      </a:ext>
                    </a:extLst>
                  </p:cNvPr>
                  <p:cNvSpPr txBox="1"/>
                  <p:nvPr/>
                </p:nvSpPr>
                <p:spPr>
                  <a:xfrm>
                    <a:off x="4125841" y="5496057"/>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6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70</a:t>
                    </a:r>
                  </a:p>
                </p:txBody>
              </p:sp>
              <p:sp>
                <p:nvSpPr>
                  <p:cNvPr id="224" name="TextBox 223">
                    <a:extLst>
                      <a:ext uri="{FF2B5EF4-FFF2-40B4-BE49-F238E27FC236}">
                        <a16:creationId xmlns:a16="http://schemas.microsoft.com/office/drawing/2014/main" id="{427545A3-C6A0-A5D9-1F83-C42FC80CC326}"/>
                      </a:ext>
                    </a:extLst>
                  </p:cNvPr>
                  <p:cNvSpPr txBox="1"/>
                  <p:nvPr/>
                </p:nvSpPr>
                <p:spPr>
                  <a:xfrm>
                    <a:off x="3935668" y="5496056"/>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7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76</a:t>
                    </a:r>
                  </a:p>
                </p:txBody>
              </p:sp>
              <p:sp>
                <p:nvSpPr>
                  <p:cNvPr id="225" name="TextBox 224">
                    <a:extLst>
                      <a:ext uri="{FF2B5EF4-FFF2-40B4-BE49-F238E27FC236}">
                        <a16:creationId xmlns:a16="http://schemas.microsoft.com/office/drawing/2014/main" id="{4F1B9F4F-B4A8-2F39-6A4E-5919D6CCB638}"/>
                      </a:ext>
                    </a:extLst>
                  </p:cNvPr>
                  <p:cNvSpPr txBox="1"/>
                  <p:nvPr/>
                </p:nvSpPr>
                <p:spPr>
                  <a:xfrm>
                    <a:off x="3754345" y="5496057"/>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8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83</a:t>
                    </a:r>
                  </a:p>
                </p:txBody>
              </p:sp>
              <p:sp>
                <p:nvSpPr>
                  <p:cNvPr id="226" name="TextBox 225">
                    <a:extLst>
                      <a:ext uri="{FF2B5EF4-FFF2-40B4-BE49-F238E27FC236}">
                        <a16:creationId xmlns:a16="http://schemas.microsoft.com/office/drawing/2014/main" id="{85EE916A-0184-F341-662B-A241FD83574D}"/>
                      </a:ext>
                    </a:extLst>
                  </p:cNvPr>
                  <p:cNvSpPr txBox="1"/>
                  <p:nvPr/>
                </p:nvSpPr>
                <p:spPr>
                  <a:xfrm>
                    <a:off x="3564172" y="5496054"/>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9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88</a:t>
                    </a:r>
                  </a:p>
                </p:txBody>
              </p:sp>
              <p:sp>
                <p:nvSpPr>
                  <p:cNvPr id="227" name="TextBox 226">
                    <a:extLst>
                      <a:ext uri="{FF2B5EF4-FFF2-40B4-BE49-F238E27FC236}">
                        <a16:creationId xmlns:a16="http://schemas.microsoft.com/office/drawing/2014/main" id="{F76871F1-4ED8-FEB9-C6B8-271649DA70CC}"/>
                      </a:ext>
                    </a:extLst>
                  </p:cNvPr>
                  <p:cNvSpPr txBox="1"/>
                  <p:nvPr/>
                </p:nvSpPr>
                <p:spPr>
                  <a:xfrm>
                    <a:off x="3373999" y="5496057"/>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95</a:t>
                    </a:r>
                  </a:p>
                </p:txBody>
              </p:sp>
              <p:sp>
                <p:nvSpPr>
                  <p:cNvPr id="228" name="TextBox 227">
                    <a:extLst>
                      <a:ext uri="{FF2B5EF4-FFF2-40B4-BE49-F238E27FC236}">
                        <a16:creationId xmlns:a16="http://schemas.microsoft.com/office/drawing/2014/main" id="{0775793B-9D87-1E57-E2DD-0B52F979B01F}"/>
                      </a:ext>
                    </a:extLst>
                  </p:cNvPr>
                  <p:cNvSpPr txBox="1"/>
                  <p:nvPr/>
                </p:nvSpPr>
                <p:spPr>
                  <a:xfrm>
                    <a:off x="3183826" y="5496057"/>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397</a:t>
                    </a:r>
                  </a:p>
                </p:txBody>
              </p:sp>
              <p:sp>
                <p:nvSpPr>
                  <p:cNvPr id="229" name="TextBox 228">
                    <a:extLst>
                      <a:ext uri="{FF2B5EF4-FFF2-40B4-BE49-F238E27FC236}">
                        <a16:creationId xmlns:a16="http://schemas.microsoft.com/office/drawing/2014/main" id="{25968737-9414-EC38-569F-46AA039D2AD9}"/>
                      </a:ext>
                    </a:extLst>
                  </p:cNvPr>
                  <p:cNvSpPr txBox="1"/>
                  <p:nvPr/>
                </p:nvSpPr>
                <p:spPr>
                  <a:xfrm>
                    <a:off x="7364218" y="5496061"/>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7</a:t>
                    </a:r>
                  </a:p>
                </p:txBody>
              </p:sp>
              <p:sp>
                <p:nvSpPr>
                  <p:cNvPr id="230" name="TextBox 229">
                    <a:extLst>
                      <a:ext uri="{FF2B5EF4-FFF2-40B4-BE49-F238E27FC236}">
                        <a16:creationId xmlns:a16="http://schemas.microsoft.com/office/drawing/2014/main" id="{FE5DEBE8-12F1-3BE5-FD2E-918FEF0F31B1}"/>
                      </a:ext>
                    </a:extLst>
                  </p:cNvPr>
                  <p:cNvSpPr txBox="1"/>
                  <p:nvPr/>
                </p:nvSpPr>
                <p:spPr>
                  <a:xfrm>
                    <a:off x="7554536" y="5496061"/>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0</a:t>
                    </a:r>
                  </a:p>
                </p:txBody>
              </p:sp>
              <p:sp>
                <p:nvSpPr>
                  <p:cNvPr id="231" name="TextBox 230">
                    <a:extLst>
                      <a:ext uri="{FF2B5EF4-FFF2-40B4-BE49-F238E27FC236}">
                        <a16:creationId xmlns:a16="http://schemas.microsoft.com/office/drawing/2014/main" id="{65AAEC77-A465-EFA6-18C1-168886186458}"/>
                      </a:ext>
                    </a:extLst>
                  </p:cNvPr>
                  <p:cNvSpPr txBox="1"/>
                  <p:nvPr/>
                </p:nvSpPr>
                <p:spPr>
                  <a:xfrm>
                    <a:off x="7750753" y="5496057"/>
                    <a:ext cx="182208" cy="23586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F4444"/>
                        </a:solidFill>
                        <a:effectLst/>
                        <a:uLnTx/>
                        <a:uFillTx/>
                        <a:latin typeface="Calibri"/>
                        <a:ea typeface="+mn-ea"/>
                        <a:cs typeface="+mn-cs"/>
                      </a:rPr>
                      <a:t>0</a:t>
                    </a:r>
                  </a:p>
                </p:txBody>
              </p:sp>
            </p:grpSp>
          </p:grpSp>
          <p:grpSp>
            <p:nvGrpSpPr>
              <p:cNvPr id="20" name="Graphic 25">
                <a:extLst>
                  <a:ext uri="{FF2B5EF4-FFF2-40B4-BE49-F238E27FC236}">
                    <a16:creationId xmlns:a16="http://schemas.microsoft.com/office/drawing/2014/main" id="{0441054D-B718-BE79-2DAC-CC9515B0EB5A}"/>
                  </a:ext>
                </a:extLst>
              </p:cNvPr>
              <p:cNvGrpSpPr/>
              <p:nvPr/>
            </p:nvGrpSpPr>
            <p:grpSpPr>
              <a:xfrm>
                <a:off x="2121657" y="1568145"/>
                <a:ext cx="7867764" cy="3688754"/>
                <a:chOff x="2121657" y="1568145"/>
                <a:chExt cx="7867764" cy="3688754"/>
              </a:xfrm>
              <a:noFill/>
            </p:grpSpPr>
            <p:sp>
              <p:nvSpPr>
                <p:cNvPr id="168" name="Freeform: Shape 167">
                  <a:extLst>
                    <a:ext uri="{FF2B5EF4-FFF2-40B4-BE49-F238E27FC236}">
                      <a16:creationId xmlns:a16="http://schemas.microsoft.com/office/drawing/2014/main" id="{8BA20E10-900A-7ACC-875A-465FFF32318F}"/>
                    </a:ext>
                  </a:extLst>
                </p:cNvPr>
                <p:cNvSpPr/>
                <p:nvPr/>
              </p:nvSpPr>
              <p:spPr>
                <a:xfrm>
                  <a:off x="2126523" y="3370957"/>
                  <a:ext cx="89863" cy="12065"/>
                </a:xfrm>
                <a:custGeom>
                  <a:avLst/>
                  <a:gdLst>
                    <a:gd name="connsiteX0" fmla="*/ 0 w 89863"/>
                    <a:gd name="connsiteY0" fmla="*/ 0 h 12065"/>
                    <a:gd name="connsiteX1" fmla="*/ 89864 w 89863"/>
                    <a:gd name="connsiteY1" fmla="*/ 0 h 12065"/>
                  </a:gdLst>
                  <a:ahLst/>
                  <a:cxnLst>
                    <a:cxn ang="0">
                      <a:pos x="connsiteX0" y="connsiteY0"/>
                    </a:cxn>
                    <a:cxn ang="0">
                      <a:pos x="connsiteX1" y="connsiteY1"/>
                    </a:cxn>
                  </a:cxnLst>
                  <a:rect l="l" t="t" r="r" b="b"/>
                  <a:pathLst>
                    <a:path w="89863" h="12065">
                      <a:moveTo>
                        <a:pt x="0" y="0"/>
                      </a:moveTo>
                      <a:lnTo>
                        <a:pt x="89864"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grpSp>
              <p:nvGrpSpPr>
                <p:cNvPr id="169" name="Graphic 25">
                  <a:extLst>
                    <a:ext uri="{FF2B5EF4-FFF2-40B4-BE49-F238E27FC236}">
                      <a16:creationId xmlns:a16="http://schemas.microsoft.com/office/drawing/2014/main" id="{CC024C75-23EA-E9F6-18E8-81C3C9301EAE}"/>
                    </a:ext>
                  </a:extLst>
                </p:cNvPr>
                <p:cNvGrpSpPr/>
                <p:nvPr/>
              </p:nvGrpSpPr>
              <p:grpSpPr>
                <a:xfrm>
                  <a:off x="2121657" y="1568145"/>
                  <a:ext cx="7867764" cy="3688754"/>
                  <a:chOff x="2121657" y="1568145"/>
                  <a:chExt cx="7867764" cy="3688754"/>
                </a:xfrm>
                <a:noFill/>
              </p:grpSpPr>
              <p:sp>
                <p:nvSpPr>
                  <p:cNvPr id="170" name="Freeform: Shape 169">
                    <a:extLst>
                      <a:ext uri="{FF2B5EF4-FFF2-40B4-BE49-F238E27FC236}">
                        <a16:creationId xmlns:a16="http://schemas.microsoft.com/office/drawing/2014/main" id="{7E613959-08D3-27ED-0E37-B8DA8A8C38BE}"/>
                      </a:ext>
                    </a:extLst>
                  </p:cNvPr>
                  <p:cNvSpPr/>
                  <p:nvPr/>
                </p:nvSpPr>
                <p:spPr>
                  <a:xfrm>
                    <a:off x="2121657" y="1568145"/>
                    <a:ext cx="7867764" cy="3688754"/>
                  </a:xfrm>
                  <a:custGeom>
                    <a:avLst/>
                    <a:gdLst>
                      <a:gd name="connsiteX0" fmla="*/ 0 w 7867764"/>
                      <a:gd name="connsiteY0" fmla="*/ 0 h 3688754"/>
                      <a:gd name="connsiteX1" fmla="*/ 94730 w 7867764"/>
                      <a:gd name="connsiteY1" fmla="*/ 0 h 3688754"/>
                      <a:gd name="connsiteX2" fmla="*/ 94730 w 7867764"/>
                      <a:gd name="connsiteY2" fmla="*/ 3605986 h 3688754"/>
                      <a:gd name="connsiteX3" fmla="*/ 7867765 w 7867764"/>
                      <a:gd name="connsiteY3" fmla="*/ 3605986 h 3688754"/>
                      <a:gd name="connsiteX4" fmla="*/ 7867765 w 7867764"/>
                      <a:gd name="connsiteY4" fmla="*/ 3688755 h 3688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7764" h="3688754">
                        <a:moveTo>
                          <a:pt x="0" y="0"/>
                        </a:moveTo>
                        <a:lnTo>
                          <a:pt x="94730" y="0"/>
                        </a:lnTo>
                        <a:lnTo>
                          <a:pt x="94730" y="3605986"/>
                        </a:lnTo>
                        <a:lnTo>
                          <a:pt x="7867765" y="3605986"/>
                        </a:lnTo>
                        <a:lnTo>
                          <a:pt x="7867765" y="3688755"/>
                        </a:lnTo>
                      </a:path>
                    </a:pathLst>
                  </a:custGeom>
                  <a:noFill/>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71" name="Freeform: Shape 170">
                    <a:extLst>
                      <a:ext uri="{FF2B5EF4-FFF2-40B4-BE49-F238E27FC236}">
                        <a16:creationId xmlns:a16="http://schemas.microsoft.com/office/drawing/2014/main" id="{38248753-D0B1-0DB9-BB63-F7389FB7FA00}"/>
                      </a:ext>
                    </a:extLst>
                  </p:cNvPr>
                  <p:cNvSpPr/>
                  <p:nvPr/>
                </p:nvSpPr>
                <p:spPr>
                  <a:xfrm>
                    <a:off x="2126523" y="1926970"/>
                    <a:ext cx="89863" cy="12065"/>
                  </a:xfrm>
                  <a:custGeom>
                    <a:avLst/>
                    <a:gdLst>
                      <a:gd name="connsiteX0" fmla="*/ 0 w 89863"/>
                      <a:gd name="connsiteY0" fmla="*/ 0 h 12065"/>
                      <a:gd name="connsiteX1" fmla="*/ 89864 w 89863"/>
                      <a:gd name="connsiteY1" fmla="*/ 0 h 12065"/>
                    </a:gdLst>
                    <a:ahLst/>
                    <a:cxnLst>
                      <a:cxn ang="0">
                        <a:pos x="connsiteX0" y="connsiteY0"/>
                      </a:cxn>
                      <a:cxn ang="0">
                        <a:pos x="connsiteX1" y="connsiteY1"/>
                      </a:cxn>
                    </a:cxnLst>
                    <a:rect l="l" t="t" r="r" b="b"/>
                    <a:pathLst>
                      <a:path w="89863" h="12065">
                        <a:moveTo>
                          <a:pt x="0" y="0"/>
                        </a:moveTo>
                        <a:lnTo>
                          <a:pt x="89864"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72" name="Freeform: Shape 171">
                    <a:extLst>
                      <a:ext uri="{FF2B5EF4-FFF2-40B4-BE49-F238E27FC236}">
                        <a16:creationId xmlns:a16="http://schemas.microsoft.com/office/drawing/2014/main" id="{07FCE290-56C8-5AD8-7AED-C475D67E831E}"/>
                      </a:ext>
                    </a:extLst>
                  </p:cNvPr>
                  <p:cNvSpPr/>
                  <p:nvPr/>
                </p:nvSpPr>
                <p:spPr>
                  <a:xfrm>
                    <a:off x="2126523" y="2287967"/>
                    <a:ext cx="89863" cy="12065"/>
                  </a:xfrm>
                  <a:custGeom>
                    <a:avLst/>
                    <a:gdLst>
                      <a:gd name="connsiteX0" fmla="*/ 0 w 89863"/>
                      <a:gd name="connsiteY0" fmla="*/ 0 h 12065"/>
                      <a:gd name="connsiteX1" fmla="*/ 89864 w 89863"/>
                      <a:gd name="connsiteY1" fmla="*/ 0 h 12065"/>
                    </a:gdLst>
                    <a:ahLst/>
                    <a:cxnLst>
                      <a:cxn ang="0">
                        <a:pos x="connsiteX0" y="connsiteY0"/>
                      </a:cxn>
                      <a:cxn ang="0">
                        <a:pos x="connsiteX1" y="connsiteY1"/>
                      </a:cxn>
                    </a:cxnLst>
                    <a:rect l="l" t="t" r="r" b="b"/>
                    <a:pathLst>
                      <a:path w="89863" h="12065">
                        <a:moveTo>
                          <a:pt x="0" y="0"/>
                        </a:moveTo>
                        <a:lnTo>
                          <a:pt x="89864"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73" name="Freeform: Shape 172">
                    <a:extLst>
                      <a:ext uri="{FF2B5EF4-FFF2-40B4-BE49-F238E27FC236}">
                        <a16:creationId xmlns:a16="http://schemas.microsoft.com/office/drawing/2014/main" id="{6EA259C7-940E-5787-5BB5-89525F367F3B}"/>
                      </a:ext>
                    </a:extLst>
                  </p:cNvPr>
                  <p:cNvSpPr/>
                  <p:nvPr/>
                </p:nvSpPr>
                <p:spPr>
                  <a:xfrm>
                    <a:off x="2126523" y="2648964"/>
                    <a:ext cx="89863" cy="12065"/>
                  </a:xfrm>
                  <a:custGeom>
                    <a:avLst/>
                    <a:gdLst>
                      <a:gd name="connsiteX0" fmla="*/ 0 w 89863"/>
                      <a:gd name="connsiteY0" fmla="*/ 0 h 12065"/>
                      <a:gd name="connsiteX1" fmla="*/ 89864 w 89863"/>
                      <a:gd name="connsiteY1" fmla="*/ 0 h 12065"/>
                    </a:gdLst>
                    <a:ahLst/>
                    <a:cxnLst>
                      <a:cxn ang="0">
                        <a:pos x="connsiteX0" y="connsiteY0"/>
                      </a:cxn>
                      <a:cxn ang="0">
                        <a:pos x="connsiteX1" y="connsiteY1"/>
                      </a:cxn>
                    </a:cxnLst>
                    <a:rect l="l" t="t" r="r" b="b"/>
                    <a:pathLst>
                      <a:path w="89863" h="12065">
                        <a:moveTo>
                          <a:pt x="0" y="0"/>
                        </a:moveTo>
                        <a:lnTo>
                          <a:pt x="89864"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74" name="Freeform: Shape 173">
                    <a:extLst>
                      <a:ext uri="{FF2B5EF4-FFF2-40B4-BE49-F238E27FC236}">
                        <a16:creationId xmlns:a16="http://schemas.microsoft.com/office/drawing/2014/main" id="{5BD15D6A-3023-EC58-C5B2-FEE428DF13BA}"/>
                      </a:ext>
                    </a:extLst>
                  </p:cNvPr>
                  <p:cNvSpPr/>
                  <p:nvPr/>
                </p:nvSpPr>
                <p:spPr>
                  <a:xfrm>
                    <a:off x="2126523" y="3009960"/>
                    <a:ext cx="89863" cy="12065"/>
                  </a:xfrm>
                  <a:custGeom>
                    <a:avLst/>
                    <a:gdLst>
                      <a:gd name="connsiteX0" fmla="*/ 0 w 89863"/>
                      <a:gd name="connsiteY0" fmla="*/ 0 h 12065"/>
                      <a:gd name="connsiteX1" fmla="*/ 89864 w 89863"/>
                      <a:gd name="connsiteY1" fmla="*/ 0 h 12065"/>
                    </a:gdLst>
                    <a:ahLst/>
                    <a:cxnLst>
                      <a:cxn ang="0">
                        <a:pos x="connsiteX0" y="connsiteY0"/>
                      </a:cxn>
                      <a:cxn ang="0">
                        <a:pos x="connsiteX1" y="connsiteY1"/>
                      </a:cxn>
                    </a:cxnLst>
                    <a:rect l="l" t="t" r="r" b="b"/>
                    <a:pathLst>
                      <a:path w="89863" h="12065">
                        <a:moveTo>
                          <a:pt x="0" y="0"/>
                        </a:moveTo>
                        <a:lnTo>
                          <a:pt x="89864"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75" name="Freeform: Shape 174">
                    <a:extLst>
                      <a:ext uri="{FF2B5EF4-FFF2-40B4-BE49-F238E27FC236}">
                        <a16:creationId xmlns:a16="http://schemas.microsoft.com/office/drawing/2014/main" id="{41EC5B2E-B5BD-E1A1-A8AD-5BAAB3B613D2}"/>
                      </a:ext>
                    </a:extLst>
                  </p:cNvPr>
                  <p:cNvSpPr/>
                  <p:nvPr/>
                </p:nvSpPr>
                <p:spPr>
                  <a:xfrm>
                    <a:off x="2126523" y="3731954"/>
                    <a:ext cx="89863" cy="12065"/>
                  </a:xfrm>
                  <a:custGeom>
                    <a:avLst/>
                    <a:gdLst>
                      <a:gd name="connsiteX0" fmla="*/ 0 w 89863"/>
                      <a:gd name="connsiteY0" fmla="*/ 0 h 12065"/>
                      <a:gd name="connsiteX1" fmla="*/ 89864 w 89863"/>
                      <a:gd name="connsiteY1" fmla="*/ 0 h 12065"/>
                    </a:gdLst>
                    <a:ahLst/>
                    <a:cxnLst>
                      <a:cxn ang="0">
                        <a:pos x="connsiteX0" y="connsiteY0"/>
                      </a:cxn>
                      <a:cxn ang="0">
                        <a:pos x="connsiteX1" y="connsiteY1"/>
                      </a:cxn>
                    </a:cxnLst>
                    <a:rect l="l" t="t" r="r" b="b"/>
                    <a:pathLst>
                      <a:path w="89863" h="12065">
                        <a:moveTo>
                          <a:pt x="0" y="0"/>
                        </a:moveTo>
                        <a:lnTo>
                          <a:pt x="89864"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76" name="Freeform: Shape 175">
                    <a:extLst>
                      <a:ext uri="{FF2B5EF4-FFF2-40B4-BE49-F238E27FC236}">
                        <a16:creationId xmlns:a16="http://schemas.microsoft.com/office/drawing/2014/main" id="{362186D2-1D4F-8267-1540-09F023DDFCC2}"/>
                      </a:ext>
                    </a:extLst>
                  </p:cNvPr>
                  <p:cNvSpPr/>
                  <p:nvPr/>
                </p:nvSpPr>
                <p:spPr>
                  <a:xfrm>
                    <a:off x="2126523" y="4092951"/>
                    <a:ext cx="89863" cy="12065"/>
                  </a:xfrm>
                  <a:custGeom>
                    <a:avLst/>
                    <a:gdLst>
                      <a:gd name="connsiteX0" fmla="*/ 0 w 89863"/>
                      <a:gd name="connsiteY0" fmla="*/ 0 h 12065"/>
                      <a:gd name="connsiteX1" fmla="*/ 89864 w 89863"/>
                      <a:gd name="connsiteY1" fmla="*/ 0 h 12065"/>
                    </a:gdLst>
                    <a:ahLst/>
                    <a:cxnLst>
                      <a:cxn ang="0">
                        <a:pos x="connsiteX0" y="connsiteY0"/>
                      </a:cxn>
                      <a:cxn ang="0">
                        <a:pos x="connsiteX1" y="connsiteY1"/>
                      </a:cxn>
                    </a:cxnLst>
                    <a:rect l="l" t="t" r="r" b="b"/>
                    <a:pathLst>
                      <a:path w="89863" h="12065">
                        <a:moveTo>
                          <a:pt x="0" y="0"/>
                        </a:moveTo>
                        <a:lnTo>
                          <a:pt x="89864"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77" name="Freeform: Shape 176">
                    <a:extLst>
                      <a:ext uri="{FF2B5EF4-FFF2-40B4-BE49-F238E27FC236}">
                        <a16:creationId xmlns:a16="http://schemas.microsoft.com/office/drawing/2014/main" id="{82DBFFF8-22D2-8358-517E-C2185BC5C1C8}"/>
                      </a:ext>
                    </a:extLst>
                  </p:cNvPr>
                  <p:cNvSpPr/>
                  <p:nvPr/>
                </p:nvSpPr>
                <p:spPr>
                  <a:xfrm>
                    <a:off x="2126523" y="4453947"/>
                    <a:ext cx="89863" cy="12065"/>
                  </a:xfrm>
                  <a:custGeom>
                    <a:avLst/>
                    <a:gdLst>
                      <a:gd name="connsiteX0" fmla="*/ 0 w 89863"/>
                      <a:gd name="connsiteY0" fmla="*/ 0 h 12065"/>
                      <a:gd name="connsiteX1" fmla="*/ 89864 w 89863"/>
                      <a:gd name="connsiteY1" fmla="*/ 0 h 12065"/>
                    </a:gdLst>
                    <a:ahLst/>
                    <a:cxnLst>
                      <a:cxn ang="0">
                        <a:pos x="connsiteX0" y="connsiteY0"/>
                      </a:cxn>
                      <a:cxn ang="0">
                        <a:pos x="connsiteX1" y="connsiteY1"/>
                      </a:cxn>
                    </a:cxnLst>
                    <a:rect l="l" t="t" r="r" b="b"/>
                    <a:pathLst>
                      <a:path w="89863" h="12065">
                        <a:moveTo>
                          <a:pt x="0" y="0"/>
                        </a:moveTo>
                        <a:lnTo>
                          <a:pt x="89864"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78" name="Freeform: Shape 177">
                    <a:extLst>
                      <a:ext uri="{FF2B5EF4-FFF2-40B4-BE49-F238E27FC236}">
                        <a16:creationId xmlns:a16="http://schemas.microsoft.com/office/drawing/2014/main" id="{904D9958-6DE1-615D-3F8E-4747F08AD1F6}"/>
                      </a:ext>
                    </a:extLst>
                  </p:cNvPr>
                  <p:cNvSpPr/>
                  <p:nvPr/>
                </p:nvSpPr>
                <p:spPr>
                  <a:xfrm>
                    <a:off x="2126523" y="4814944"/>
                    <a:ext cx="89863" cy="12065"/>
                  </a:xfrm>
                  <a:custGeom>
                    <a:avLst/>
                    <a:gdLst>
                      <a:gd name="connsiteX0" fmla="*/ 0 w 89863"/>
                      <a:gd name="connsiteY0" fmla="*/ 0 h 12065"/>
                      <a:gd name="connsiteX1" fmla="*/ 89864 w 89863"/>
                      <a:gd name="connsiteY1" fmla="*/ 0 h 12065"/>
                    </a:gdLst>
                    <a:ahLst/>
                    <a:cxnLst>
                      <a:cxn ang="0">
                        <a:pos x="connsiteX0" y="connsiteY0"/>
                      </a:cxn>
                      <a:cxn ang="0">
                        <a:pos x="connsiteX1" y="connsiteY1"/>
                      </a:cxn>
                    </a:cxnLst>
                    <a:rect l="l" t="t" r="r" b="b"/>
                    <a:pathLst>
                      <a:path w="89863" h="12065">
                        <a:moveTo>
                          <a:pt x="0" y="0"/>
                        </a:moveTo>
                        <a:lnTo>
                          <a:pt x="89864"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grpSp>
                <p:nvGrpSpPr>
                  <p:cNvPr id="179" name="Graphic 25">
                    <a:extLst>
                      <a:ext uri="{FF2B5EF4-FFF2-40B4-BE49-F238E27FC236}">
                        <a16:creationId xmlns:a16="http://schemas.microsoft.com/office/drawing/2014/main" id="{D039E973-BA92-B186-8EF1-1D06991320CA}"/>
                      </a:ext>
                    </a:extLst>
                  </p:cNvPr>
                  <p:cNvGrpSpPr/>
                  <p:nvPr/>
                </p:nvGrpSpPr>
                <p:grpSpPr>
                  <a:xfrm>
                    <a:off x="2216224" y="5178112"/>
                    <a:ext cx="7454294" cy="78787"/>
                    <a:chOff x="2216224" y="5178112"/>
                    <a:chExt cx="7454294" cy="78787"/>
                  </a:xfrm>
                </p:grpSpPr>
                <p:sp>
                  <p:nvSpPr>
                    <p:cNvPr id="181" name="Freeform: Shape 180">
                      <a:extLst>
                        <a:ext uri="{FF2B5EF4-FFF2-40B4-BE49-F238E27FC236}">
                          <a16:creationId xmlns:a16="http://schemas.microsoft.com/office/drawing/2014/main" id="{D5B47B5C-57D2-3A92-D508-1ABF7AFE66CF}"/>
                        </a:ext>
                      </a:extLst>
                    </p:cNvPr>
                    <p:cNvSpPr/>
                    <p:nvPr/>
                  </p:nvSpPr>
                  <p:spPr>
                    <a:xfrm>
                      <a:off x="2216224"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82" name="Freeform: Shape 181">
                      <a:extLst>
                        <a:ext uri="{FF2B5EF4-FFF2-40B4-BE49-F238E27FC236}">
                          <a16:creationId xmlns:a16="http://schemas.microsoft.com/office/drawing/2014/main" id="{AC8BBD66-9A52-5B42-AF98-97D79ACB890F}"/>
                        </a:ext>
                      </a:extLst>
                    </p:cNvPr>
                    <p:cNvSpPr/>
                    <p:nvPr/>
                  </p:nvSpPr>
                  <p:spPr>
                    <a:xfrm>
                      <a:off x="2533180"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83" name="Freeform: Shape 182">
                      <a:extLst>
                        <a:ext uri="{FF2B5EF4-FFF2-40B4-BE49-F238E27FC236}">
                          <a16:creationId xmlns:a16="http://schemas.microsoft.com/office/drawing/2014/main" id="{0ABEDD59-734F-CE32-5337-57E6608958E6}"/>
                        </a:ext>
                      </a:extLst>
                    </p:cNvPr>
                    <p:cNvSpPr/>
                    <p:nvPr/>
                  </p:nvSpPr>
                  <p:spPr>
                    <a:xfrm>
                      <a:off x="2858894"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84" name="Freeform: Shape 183">
                      <a:extLst>
                        <a:ext uri="{FF2B5EF4-FFF2-40B4-BE49-F238E27FC236}">
                          <a16:creationId xmlns:a16="http://schemas.microsoft.com/office/drawing/2014/main" id="{B8EF445D-526C-2A5A-139B-292CBCC9EC4B}"/>
                        </a:ext>
                      </a:extLst>
                    </p:cNvPr>
                    <p:cNvSpPr/>
                    <p:nvPr/>
                  </p:nvSpPr>
                  <p:spPr>
                    <a:xfrm>
                      <a:off x="3184447"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85" name="Freeform: Shape 184">
                      <a:extLst>
                        <a:ext uri="{FF2B5EF4-FFF2-40B4-BE49-F238E27FC236}">
                          <a16:creationId xmlns:a16="http://schemas.microsoft.com/office/drawing/2014/main" id="{8F9FDD59-CE92-4A0C-DF3C-E528B2E96B1A}"/>
                        </a:ext>
                      </a:extLst>
                    </p:cNvPr>
                    <p:cNvSpPr/>
                    <p:nvPr/>
                  </p:nvSpPr>
                  <p:spPr>
                    <a:xfrm>
                      <a:off x="3493941"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86" name="Freeform: Shape 185">
                      <a:extLst>
                        <a:ext uri="{FF2B5EF4-FFF2-40B4-BE49-F238E27FC236}">
                          <a16:creationId xmlns:a16="http://schemas.microsoft.com/office/drawing/2014/main" id="{14217D1E-600C-7F5D-905B-41F4AC5F9C61}"/>
                        </a:ext>
                      </a:extLst>
                    </p:cNvPr>
                    <p:cNvSpPr/>
                    <p:nvPr/>
                  </p:nvSpPr>
                  <p:spPr>
                    <a:xfrm>
                      <a:off x="3819656"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87" name="Freeform: Shape 186">
                      <a:extLst>
                        <a:ext uri="{FF2B5EF4-FFF2-40B4-BE49-F238E27FC236}">
                          <a16:creationId xmlns:a16="http://schemas.microsoft.com/office/drawing/2014/main" id="{A7F2001A-2DAF-570B-2C1C-A06189CE5B05}"/>
                        </a:ext>
                      </a:extLst>
                    </p:cNvPr>
                    <p:cNvSpPr/>
                    <p:nvPr/>
                  </p:nvSpPr>
                  <p:spPr>
                    <a:xfrm>
                      <a:off x="4152832"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88" name="Freeform: Shape 187">
                      <a:extLst>
                        <a:ext uri="{FF2B5EF4-FFF2-40B4-BE49-F238E27FC236}">
                          <a16:creationId xmlns:a16="http://schemas.microsoft.com/office/drawing/2014/main" id="{4F644FDB-8E76-62A5-E283-624B817408CF}"/>
                        </a:ext>
                      </a:extLst>
                    </p:cNvPr>
                    <p:cNvSpPr/>
                    <p:nvPr/>
                  </p:nvSpPr>
                  <p:spPr>
                    <a:xfrm>
                      <a:off x="4462326"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89" name="Freeform: Shape 188">
                      <a:extLst>
                        <a:ext uri="{FF2B5EF4-FFF2-40B4-BE49-F238E27FC236}">
                          <a16:creationId xmlns:a16="http://schemas.microsoft.com/office/drawing/2014/main" id="{3687DC94-7255-F669-EBE8-6EEE380B46C3}"/>
                        </a:ext>
                      </a:extLst>
                    </p:cNvPr>
                    <p:cNvSpPr/>
                    <p:nvPr/>
                  </p:nvSpPr>
                  <p:spPr>
                    <a:xfrm>
                      <a:off x="4787879"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90" name="Freeform: Shape 189">
                      <a:extLst>
                        <a:ext uri="{FF2B5EF4-FFF2-40B4-BE49-F238E27FC236}">
                          <a16:creationId xmlns:a16="http://schemas.microsoft.com/office/drawing/2014/main" id="{6E9DC107-FC1A-1AE7-DFF4-6D357A14116F}"/>
                        </a:ext>
                      </a:extLst>
                    </p:cNvPr>
                    <p:cNvSpPr/>
                    <p:nvPr/>
                  </p:nvSpPr>
                  <p:spPr>
                    <a:xfrm>
                      <a:off x="5129815"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91" name="Freeform: Shape 190">
                      <a:extLst>
                        <a:ext uri="{FF2B5EF4-FFF2-40B4-BE49-F238E27FC236}">
                          <a16:creationId xmlns:a16="http://schemas.microsoft.com/office/drawing/2014/main" id="{4B22993F-7A8C-5461-7820-34F5E6A82A0E}"/>
                        </a:ext>
                      </a:extLst>
                    </p:cNvPr>
                    <p:cNvSpPr/>
                    <p:nvPr/>
                  </p:nvSpPr>
                  <p:spPr>
                    <a:xfrm>
                      <a:off x="5455529"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92" name="Freeform: Shape 191">
                      <a:extLst>
                        <a:ext uri="{FF2B5EF4-FFF2-40B4-BE49-F238E27FC236}">
                          <a16:creationId xmlns:a16="http://schemas.microsoft.com/office/drawing/2014/main" id="{F35FE8BF-56D3-5E89-5C9F-A2439DFD497C}"/>
                        </a:ext>
                      </a:extLst>
                    </p:cNvPr>
                    <p:cNvSpPr/>
                    <p:nvPr/>
                  </p:nvSpPr>
                  <p:spPr>
                    <a:xfrm>
                      <a:off x="5772485"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93" name="Freeform: Shape 192">
                      <a:extLst>
                        <a:ext uri="{FF2B5EF4-FFF2-40B4-BE49-F238E27FC236}">
                          <a16:creationId xmlns:a16="http://schemas.microsoft.com/office/drawing/2014/main" id="{45020ED8-B9DC-E0C7-1D39-21BB9643E562}"/>
                        </a:ext>
                      </a:extLst>
                    </p:cNvPr>
                    <p:cNvSpPr/>
                    <p:nvPr/>
                  </p:nvSpPr>
                  <p:spPr>
                    <a:xfrm>
                      <a:off x="6098038"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94" name="Freeform: Shape 193">
                      <a:extLst>
                        <a:ext uri="{FF2B5EF4-FFF2-40B4-BE49-F238E27FC236}">
                          <a16:creationId xmlns:a16="http://schemas.microsoft.com/office/drawing/2014/main" id="{055DDE31-FF15-49BE-7F3A-BD3E28EAD1F0}"/>
                        </a:ext>
                      </a:extLst>
                    </p:cNvPr>
                    <p:cNvSpPr/>
                    <p:nvPr/>
                  </p:nvSpPr>
                  <p:spPr>
                    <a:xfrm>
                      <a:off x="6423752"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95" name="Freeform: Shape 194">
                      <a:extLst>
                        <a:ext uri="{FF2B5EF4-FFF2-40B4-BE49-F238E27FC236}">
                          <a16:creationId xmlns:a16="http://schemas.microsoft.com/office/drawing/2014/main" id="{3DA7E4DD-C37E-951B-15F4-3D5F831B4943}"/>
                        </a:ext>
                      </a:extLst>
                    </p:cNvPr>
                    <p:cNvSpPr/>
                    <p:nvPr/>
                  </p:nvSpPr>
                  <p:spPr>
                    <a:xfrm>
                      <a:off x="6733246"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96" name="Freeform: Shape 195">
                      <a:extLst>
                        <a:ext uri="{FF2B5EF4-FFF2-40B4-BE49-F238E27FC236}">
                          <a16:creationId xmlns:a16="http://schemas.microsoft.com/office/drawing/2014/main" id="{67D18703-B794-52FC-20B2-21659218B960}"/>
                        </a:ext>
                      </a:extLst>
                    </p:cNvPr>
                    <p:cNvSpPr/>
                    <p:nvPr/>
                  </p:nvSpPr>
                  <p:spPr>
                    <a:xfrm>
                      <a:off x="7066423"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97" name="Freeform: Shape 196">
                      <a:extLst>
                        <a:ext uri="{FF2B5EF4-FFF2-40B4-BE49-F238E27FC236}">
                          <a16:creationId xmlns:a16="http://schemas.microsoft.com/office/drawing/2014/main" id="{F02C3E47-4555-6F69-E086-39FF30693F72}"/>
                        </a:ext>
                      </a:extLst>
                    </p:cNvPr>
                    <p:cNvSpPr/>
                    <p:nvPr/>
                  </p:nvSpPr>
                  <p:spPr>
                    <a:xfrm>
                      <a:off x="7391975"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98" name="Freeform: Shape 197">
                      <a:extLst>
                        <a:ext uri="{FF2B5EF4-FFF2-40B4-BE49-F238E27FC236}">
                          <a16:creationId xmlns:a16="http://schemas.microsoft.com/office/drawing/2014/main" id="{36ABF746-B57C-6911-A496-CAA7116BACDD}"/>
                        </a:ext>
                      </a:extLst>
                    </p:cNvPr>
                    <p:cNvSpPr/>
                    <p:nvPr/>
                  </p:nvSpPr>
                  <p:spPr>
                    <a:xfrm>
                      <a:off x="9654298"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99" name="Freeform: Shape 198">
                      <a:extLst>
                        <a:ext uri="{FF2B5EF4-FFF2-40B4-BE49-F238E27FC236}">
                          <a16:creationId xmlns:a16="http://schemas.microsoft.com/office/drawing/2014/main" id="{2BF440A9-F4D4-E387-2FA9-AE5891613344}"/>
                        </a:ext>
                      </a:extLst>
                    </p:cNvPr>
                    <p:cNvSpPr/>
                    <p:nvPr/>
                  </p:nvSpPr>
                  <p:spPr>
                    <a:xfrm>
                      <a:off x="9328584"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00" name="Freeform: Shape 199">
                      <a:extLst>
                        <a:ext uri="{FF2B5EF4-FFF2-40B4-BE49-F238E27FC236}">
                          <a16:creationId xmlns:a16="http://schemas.microsoft.com/office/drawing/2014/main" id="{17F0E007-492F-4206-9379-5F040AD009CC}"/>
                        </a:ext>
                      </a:extLst>
                    </p:cNvPr>
                    <p:cNvSpPr/>
                    <p:nvPr/>
                  </p:nvSpPr>
                  <p:spPr>
                    <a:xfrm>
                      <a:off x="9011628"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01" name="Freeform: Shape 200">
                      <a:extLst>
                        <a:ext uri="{FF2B5EF4-FFF2-40B4-BE49-F238E27FC236}">
                          <a16:creationId xmlns:a16="http://schemas.microsoft.com/office/drawing/2014/main" id="{4EE1E048-DEF5-0902-615E-510625452CA3}"/>
                        </a:ext>
                      </a:extLst>
                    </p:cNvPr>
                    <p:cNvSpPr/>
                    <p:nvPr/>
                  </p:nvSpPr>
                  <p:spPr>
                    <a:xfrm>
                      <a:off x="8376581"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02" name="Freeform: Shape 201">
                      <a:extLst>
                        <a:ext uri="{FF2B5EF4-FFF2-40B4-BE49-F238E27FC236}">
                          <a16:creationId xmlns:a16="http://schemas.microsoft.com/office/drawing/2014/main" id="{829D5771-B9EC-B692-F23E-8FF3F65D5856}"/>
                        </a:ext>
                      </a:extLst>
                    </p:cNvPr>
                    <p:cNvSpPr/>
                    <p:nvPr/>
                  </p:nvSpPr>
                  <p:spPr>
                    <a:xfrm>
                      <a:off x="8043405"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03" name="Freeform: Shape 202">
                      <a:extLst>
                        <a:ext uri="{FF2B5EF4-FFF2-40B4-BE49-F238E27FC236}">
                          <a16:creationId xmlns:a16="http://schemas.microsoft.com/office/drawing/2014/main" id="{260A41AB-E2D4-B2D2-C74F-4874266325C1}"/>
                        </a:ext>
                      </a:extLst>
                    </p:cNvPr>
                    <p:cNvSpPr/>
                    <p:nvPr/>
                  </p:nvSpPr>
                  <p:spPr>
                    <a:xfrm>
                      <a:off x="7717690"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04" name="Freeform: Shape 203">
                      <a:extLst>
                        <a:ext uri="{FF2B5EF4-FFF2-40B4-BE49-F238E27FC236}">
                          <a16:creationId xmlns:a16="http://schemas.microsoft.com/office/drawing/2014/main" id="{9A1699E2-8414-2A11-CE04-3752D21019B1}"/>
                        </a:ext>
                      </a:extLst>
                    </p:cNvPr>
                    <p:cNvSpPr/>
                    <p:nvPr/>
                  </p:nvSpPr>
                  <p:spPr>
                    <a:xfrm>
                      <a:off x="8685913" y="5178112"/>
                      <a:ext cx="16220" cy="78787"/>
                    </a:xfrm>
                    <a:custGeom>
                      <a:avLst/>
                      <a:gdLst>
                        <a:gd name="connsiteX0" fmla="*/ 0 w 16220"/>
                        <a:gd name="connsiteY0" fmla="*/ 78787 h 78787"/>
                        <a:gd name="connsiteX1" fmla="*/ 0 w 16220"/>
                        <a:gd name="connsiteY1" fmla="*/ 0 h 78787"/>
                      </a:gdLst>
                      <a:ahLst/>
                      <a:cxnLst>
                        <a:cxn ang="0">
                          <a:pos x="connsiteX0" y="connsiteY0"/>
                        </a:cxn>
                        <a:cxn ang="0">
                          <a:pos x="connsiteX1" y="connsiteY1"/>
                        </a:cxn>
                      </a:cxnLst>
                      <a:rect l="l" t="t" r="r" b="b"/>
                      <a:pathLst>
                        <a:path w="16220" h="78787">
                          <a:moveTo>
                            <a:pt x="0" y="78787"/>
                          </a:moveTo>
                          <a:lnTo>
                            <a:pt x="0"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grpSp>
              <p:sp>
                <p:nvSpPr>
                  <p:cNvPr id="180" name="Freeform: Shape 179">
                    <a:extLst>
                      <a:ext uri="{FF2B5EF4-FFF2-40B4-BE49-F238E27FC236}">
                        <a16:creationId xmlns:a16="http://schemas.microsoft.com/office/drawing/2014/main" id="{39482021-8C5D-02E7-46D2-4774F7B4409C}"/>
                      </a:ext>
                    </a:extLst>
                  </p:cNvPr>
                  <p:cNvSpPr/>
                  <p:nvPr/>
                </p:nvSpPr>
                <p:spPr>
                  <a:xfrm>
                    <a:off x="2126523" y="5173769"/>
                    <a:ext cx="89863" cy="12065"/>
                  </a:xfrm>
                  <a:custGeom>
                    <a:avLst/>
                    <a:gdLst>
                      <a:gd name="connsiteX0" fmla="*/ 0 w 89863"/>
                      <a:gd name="connsiteY0" fmla="*/ 0 h 12065"/>
                      <a:gd name="connsiteX1" fmla="*/ 89864 w 89863"/>
                      <a:gd name="connsiteY1" fmla="*/ 0 h 12065"/>
                    </a:gdLst>
                    <a:ahLst/>
                    <a:cxnLst>
                      <a:cxn ang="0">
                        <a:pos x="connsiteX0" y="connsiteY0"/>
                      </a:cxn>
                      <a:cxn ang="0">
                        <a:pos x="connsiteX1" y="connsiteY1"/>
                      </a:cxn>
                    </a:cxnLst>
                    <a:rect l="l" t="t" r="r" b="b"/>
                    <a:pathLst>
                      <a:path w="89863" h="12065">
                        <a:moveTo>
                          <a:pt x="0" y="0"/>
                        </a:moveTo>
                        <a:lnTo>
                          <a:pt x="89864" y="0"/>
                        </a:lnTo>
                      </a:path>
                    </a:pathLst>
                  </a:custGeom>
                  <a:ln w="12152"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grpSp>
          </p:grpSp>
          <p:grpSp>
            <p:nvGrpSpPr>
              <p:cNvPr id="21" name="Graphic 25">
                <a:extLst>
                  <a:ext uri="{FF2B5EF4-FFF2-40B4-BE49-F238E27FC236}">
                    <a16:creationId xmlns:a16="http://schemas.microsoft.com/office/drawing/2014/main" id="{DCA48910-4D0E-B544-3D83-5D0D676693ED}"/>
                  </a:ext>
                </a:extLst>
              </p:cNvPr>
              <p:cNvGrpSpPr/>
              <p:nvPr/>
            </p:nvGrpSpPr>
            <p:grpSpPr>
              <a:xfrm>
                <a:off x="2264163" y="1574589"/>
                <a:ext cx="7600768" cy="1842336"/>
                <a:chOff x="2264163" y="1574589"/>
                <a:chExt cx="7600768" cy="1842336"/>
              </a:xfrm>
            </p:grpSpPr>
            <p:sp>
              <p:nvSpPr>
                <p:cNvPr id="92" name="Freeform: Shape 91">
                  <a:extLst>
                    <a:ext uri="{FF2B5EF4-FFF2-40B4-BE49-F238E27FC236}">
                      <a16:creationId xmlns:a16="http://schemas.microsoft.com/office/drawing/2014/main" id="{531C0E8C-78C5-926D-0616-3DBD9047B631}"/>
                    </a:ext>
                  </a:extLst>
                </p:cNvPr>
                <p:cNvSpPr/>
                <p:nvPr/>
              </p:nvSpPr>
              <p:spPr>
                <a:xfrm>
                  <a:off x="2264163" y="1574589"/>
                  <a:ext cx="7600768" cy="1830201"/>
                </a:xfrm>
                <a:custGeom>
                  <a:avLst/>
                  <a:gdLst>
                    <a:gd name="connsiteX0" fmla="*/ 0 w 7600769"/>
                    <a:gd name="connsiteY0" fmla="*/ 0 h 1830200"/>
                    <a:gd name="connsiteX1" fmla="*/ 311116 w 7600769"/>
                    <a:gd name="connsiteY1" fmla="*/ 0 h 1830200"/>
                    <a:gd name="connsiteX2" fmla="*/ 339989 w 7600769"/>
                    <a:gd name="connsiteY2" fmla="*/ 0 h 1830200"/>
                    <a:gd name="connsiteX3" fmla="*/ 339989 w 7600769"/>
                    <a:gd name="connsiteY3" fmla="*/ 20632 h 1830200"/>
                    <a:gd name="connsiteX4" fmla="*/ 363509 w 7600769"/>
                    <a:gd name="connsiteY4" fmla="*/ 20632 h 1830200"/>
                    <a:gd name="connsiteX5" fmla="*/ 363509 w 7600769"/>
                    <a:gd name="connsiteY5" fmla="*/ 33301 h 1830200"/>
                    <a:gd name="connsiteX6" fmla="*/ 383299 w 7600769"/>
                    <a:gd name="connsiteY6" fmla="*/ 33301 h 1830200"/>
                    <a:gd name="connsiteX7" fmla="*/ 383299 w 7600769"/>
                    <a:gd name="connsiteY7" fmla="*/ 42712 h 1830200"/>
                    <a:gd name="connsiteX8" fmla="*/ 415741 w 7600769"/>
                    <a:gd name="connsiteY8" fmla="*/ 42712 h 1830200"/>
                    <a:gd name="connsiteX9" fmla="*/ 415741 w 7600769"/>
                    <a:gd name="connsiteY9" fmla="*/ 50071 h 1830200"/>
                    <a:gd name="connsiteX10" fmla="*/ 556375 w 7600769"/>
                    <a:gd name="connsiteY10" fmla="*/ 50071 h 1830200"/>
                    <a:gd name="connsiteX11" fmla="*/ 556375 w 7600769"/>
                    <a:gd name="connsiteY11" fmla="*/ 58155 h 1830200"/>
                    <a:gd name="connsiteX12" fmla="*/ 605849 w 7600769"/>
                    <a:gd name="connsiteY12" fmla="*/ 58155 h 1830200"/>
                    <a:gd name="connsiteX13" fmla="*/ 605849 w 7600769"/>
                    <a:gd name="connsiteY13" fmla="*/ 74926 h 1830200"/>
                    <a:gd name="connsiteX14" fmla="*/ 647374 w 7600769"/>
                    <a:gd name="connsiteY14" fmla="*/ 74926 h 1830200"/>
                    <a:gd name="connsiteX15" fmla="*/ 647374 w 7600769"/>
                    <a:gd name="connsiteY15" fmla="*/ 86268 h 1830200"/>
                    <a:gd name="connsiteX16" fmla="*/ 714853 w 7600769"/>
                    <a:gd name="connsiteY16" fmla="*/ 86268 h 1830200"/>
                    <a:gd name="connsiteX17" fmla="*/ 714853 w 7600769"/>
                    <a:gd name="connsiteY17" fmla="*/ 95679 h 1830200"/>
                    <a:gd name="connsiteX18" fmla="*/ 769842 w 7600769"/>
                    <a:gd name="connsiteY18" fmla="*/ 95679 h 1830200"/>
                    <a:gd name="connsiteX19" fmla="*/ 769842 w 7600769"/>
                    <a:gd name="connsiteY19" fmla="*/ 111122 h 1830200"/>
                    <a:gd name="connsiteX20" fmla="*/ 817693 w 7600769"/>
                    <a:gd name="connsiteY20" fmla="*/ 111122 h 1830200"/>
                    <a:gd name="connsiteX21" fmla="*/ 817693 w 7600769"/>
                    <a:gd name="connsiteY21" fmla="*/ 121137 h 1830200"/>
                    <a:gd name="connsiteX22" fmla="*/ 887930 w 7600769"/>
                    <a:gd name="connsiteY22" fmla="*/ 121137 h 1830200"/>
                    <a:gd name="connsiteX23" fmla="*/ 887930 w 7600769"/>
                    <a:gd name="connsiteY23" fmla="*/ 135253 h 1830200"/>
                    <a:gd name="connsiteX24" fmla="*/ 1021265 w 7600769"/>
                    <a:gd name="connsiteY24" fmla="*/ 135253 h 1830200"/>
                    <a:gd name="connsiteX25" fmla="*/ 1021265 w 7600769"/>
                    <a:gd name="connsiteY25" fmla="*/ 140562 h 1830200"/>
                    <a:gd name="connsiteX26" fmla="*/ 1067332 w 7600769"/>
                    <a:gd name="connsiteY26" fmla="*/ 140562 h 1830200"/>
                    <a:gd name="connsiteX27" fmla="*/ 1067332 w 7600769"/>
                    <a:gd name="connsiteY27" fmla="*/ 151300 h 1830200"/>
                    <a:gd name="connsiteX28" fmla="*/ 1080796 w 7600769"/>
                    <a:gd name="connsiteY28" fmla="*/ 151300 h 1830200"/>
                    <a:gd name="connsiteX29" fmla="*/ 1080796 w 7600769"/>
                    <a:gd name="connsiteY29" fmla="*/ 159987 h 1830200"/>
                    <a:gd name="connsiteX30" fmla="*/ 1087933 w 7600769"/>
                    <a:gd name="connsiteY30" fmla="*/ 159987 h 1830200"/>
                    <a:gd name="connsiteX31" fmla="*/ 1087933 w 7600769"/>
                    <a:gd name="connsiteY31" fmla="*/ 177482 h 1830200"/>
                    <a:gd name="connsiteX32" fmla="*/ 1097017 w 7600769"/>
                    <a:gd name="connsiteY32" fmla="*/ 177482 h 1830200"/>
                    <a:gd name="connsiteX33" fmla="*/ 1097017 w 7600769"/>
                    <a:gd name="connsiteY33" fmla="*/ 184118 h 1830200"/>
                    <a:gd name="connsiteX34" fmla="*/ 1155574 w 7600769"/>
                    <a:gd name="connsiteY34" fmla="*/ 184118 h 1830200"/>
                    <a:gd name="connsiteX35" fmla="*/ 1155574 w 7600769"/>
                    <a:gd name="connsiteY35" fmla="*/ 199562 h 1830200"/>
                    <a:gd name="connsiteX36" fmla="*/ 1189800 w 7600769"/>
                    <a:gd name="connsiteY36" fmla="*/ 199562 h 1830200"/>
                    <a:gd name="connsiteX37" fmla="*/ 1189800 w 7600769"/>
                    <a:gd name="connsiteY37" fmla="*/ 208973 h 1830200"/>
                    <a:gd name="connsiteX38" fmla="*/ 1260198 w 7600769"/>
                    <a:gd name="connsiteY38" fmla="*/ 208973 h 1830200"/>
                    <a:gd name="connsiteX39" fmla="*/ 1260198 w 7600769"/>
                    <a:gd name="connsiteY39" fmla="*/ 218384 h 1830200"/>
                    <a:gd name="connsiteX40" fmla="*/ 1281772 w 7600769"/>
                    <a:gd name="connsiteY40" fmla="*/ 218384 h 1830200"/>
                    <a:gd name="connsiteX41" fmla="*/ 1281772 w 7600769"/>
                    <a:gd name="connsiteY41" fmla="*/ 227071 h 1830200"/>
                    <a:gd name="connsiteX42" fmla="*/ 1340330 w 7600769"/>
                    <a:gd name="connsiteY42" fmla="*/ 227071 h 1830200"/>
                    <a:gd name="connsiteX43" fmla="*/ 1340330 w 7600769"/>
                    <a:gd name="connsiteY43" fmla="*/ 236482 h 1830200"/>
                    <a:gd name="connsiteX44" fmla="*/ 1361903 w 7600769"/>
                    <a:gd name="connsiteY44" fmla="*/ 236482 h 1830200"/>
                    <a:gd name="connsiteX45" fmla="*/ 1361903 w 7600769"/>
                    <a:gd name="connsiteY45" fmla="*/ 243842 h 1830200"/>
                    <a:gd name="connsiteX46" fmla="*/ 1379097 w 7600769"/>
                    <a:gd name="connsiteY46" fmla="*/ 243842 h 1830200"/>
                    <a:gd name="connsiteX47" fmla="*/ 1379097 w 7600769"/>
                    <a:gd name="connsiteY47" fmla="*/ 261216 h 1830200"/>
                    <a:gd name="connsiteX48" fmla="*/ 1424191 w 7600769"/>
                    <a:gd name="connsiteY48" fmla="*/ 261216 h 1830200"/>
                    <a:gd name="connsiteX49" fmla="*/ 1424191 w 7600769"/>
                    <a:gd name="connsiteY49" fmla="*/ 271230 h 1830200"/>
                    <a:gd name="connsiteX50" fmla="*/ 1434897 w 7600769"/>
                    <a:gd name="connsiteY50" fmla="*/ 271230 h 1830200"/>
                    <a:gd name="connsiteX51" fmla="*/ 1434897 w 7600769"/>
                    <a:gd name="connsiteY51" fmla="*/ 276660 h 1830200"/>
                    <a:gd name="connsiteX52" fmla="*/ 1518759 w 7600769"/>
                    <a:gd name="connsiteY52" fmla="*/ 276660 h 1830200"/>
                    <a:gd name="connsiteX53" fmla="*/ 1518759 w 7600769"/>
                    <a:gd name="connsiteY53" fmla="*/ 284020 h 1830200"/>
                    <a:gd name="connsiteX54" fmla="*/ 1552985 w 7600769"/>
                    <a:gd name="connsiteY54" fmla="*/ 284020 h 1830200"/>
                    <a:gd name="connsiteX55" fmla="*/ 1552985 w 7600769"/>
                    <a:gd name="connsiteY55" fmla="*/ 291379 h 1830200"/>
                    <a:gd name="connsiteX56" fmla="*/ 1584616 w 7600769"/>
                    <a:gd name="connsiteY56" fmla="*/ 291379 h 1830200"/>
                    <a:gd name="connsiteX57" fmla="*/ 1584616 w 7600769"/>
                    <a:gd name="connsiteY57" fmla="*/ 299463 h 1830200"/>
                    <a:gd name="connsiteX58" fmla="*/ 1601648 w 7600769"/>
                    <a:gd name="connsiteY58" fmla="*/ 299463 h 1830200"/>
                    <a:gd name="connsiteX59" fmla="*/ 1601648 w 7600769"/>
                    <a:gd name="connsiteY59" fmla="*/ 308874 h 1830200"/>
                    <a:gd name="connsiteX60" fmla="*/ 1640415 w 7600769"/>
                    <a:gd name="connsiteY60" fmla="*/ 308874 h 1830200"/>
                    <a:gd name="connsiteX61" fmla="*/ 1640415 w 7600769"/>
                    <a:gd name="connsiteY61" fmla="*/ 318165 h 1830200"/>
                    <a:gd name="connsiteX62" fmla="*/ 1672857 w 7600769"/>
                    <a:gd name="connsiteY62" fmla="*/ 318165 h 1830200"/>
                    <a:gd name="connsiteX63" fmla="*/ 1672857 w 7600769"/>
                    <a:gd name="connsiteY63" fmla="*/ 326972 h 1830200"/>
                    <a:gd name="connsiteX64" fmla="*/ 1763856 w 7600769"/>
                    <a:gd name="connsiteY64" fmla="*/ 326972 h 1830200"/>
                    <a:gd name="connsiteX65" fmla="*/ 1763856 w 7600769"/>
                    <a:gd name="connsiteY65" fmla="*/ 345070 h 1830200"/>
                    <a:gd name="connsiteX66" fmla="*/ 1789972 w 7600769"/>
                    <a:gd name="connsiteY66" fmla="*/ 345070 h 1830200"/>
                    <a:gd name="connsiteX67" fmla="*/ 1789972 w 7600769"/>
                    <a:gd name="connsiteY67" fmla="*/ 353758 h 1830200"/>
                    <a:gd name="connsiteX68" fmla="*/ 1807977 w 7600769"/>
                    <a:gd name="connsiteY68" fmla="*/ 353758 h 1830200"/>
                    <a:gd name="connsiteX69" fmla="*/ 1807977 w 7600769"/>
                    <a:gd name="connsiteY69" fmla="*/ 366426 h 1830200"/>
                    <a:gd name="connsiteX70" fmla="*/ 1823387 w 7600769"/>
                    <a:gd name="connsiteY70" fmla="*/ 366426 h 1830200"/>
                    <a:gd name="connsiteX71" fmla="*/ 1823387 w 7600769"/>
                    <a:gd name="connsiteY71" fmla="*/ 379216 h 1830200"/>
                    <a:gd name="connsiteX72" fmla="*/ 1837823 w 7600769"/>
                    <a:gd name="connsiteY72" fmla="*/ 379216 h 1830200"/>
                    <a:gd name="connsiteX73" fmla="*/ 1837823 w 7600769"/>
                    <a:gd name="connsiteY73" fmla="*/ 391281 h 1830200"/>
                    <a:gd name="connsiteX74" fmla="*/ 1851287 w 7600769"/>
                    <a:gd name="connsiteY74" fmla="*/ 391281 h 1830200"/>
                    <a:gd name="connsiteX75" fmla="*/ 1851287 w 7600769"/>
                    <a:gd name="connsiteY75" fmla="*/ 396590 h 1830200"/>
                    <a:gd name="connsiteX76" fmla="*/ 1901733 w 7600769"/>
                    <a:gd name="connsiteY76" fmla="*/ 396590 h 1830200"/>
                    <a:gd name="connsiteX77" fmla="*/ 1901733 w 7600769"/>
                    <a:gd name="connsiteY77" fmla="*/ 407328 h 1830200"/>
                    <a:gd name="connsiteX78" fmla="*/ 1913412 w 7600769"/>
                    <a:gd name="connsiteY78" fmla="*/ 407328 h 1830200"/>
                    <a:gd name="connsiteX79" fmla="*/ 1913412 w 7600769"/>
                    <a:gd name="connsiteY79" fmla="*/ 414688 h 1830200"/>
                    <a:gd name="connsiteX80" fmla="*/ 1935148 w 7600769"/>
                    <a:gd name="connsiteY80" fmla="*/ 414688 h 1830200"/>
                    <a:gd name="connsiteX81" fmla="*/ 1935148 w 7600769"/>
                    <a:gd name="connsiteY81" fmla="*/ 434113 h 1830200"/>
                    <a:gd name="connsiteX82" fmla="*/ 1971159 w 7600769"/>
                    <a:gd name="connsiteY82" fmla="*/ 434113 h 1830200"/>
                    <a:gd name="connsiteX83" fmla="*/ 1971159 w 7600769"/>
                    <a:gd name="connsiteY83" fmla="*/ 448230 h 1830200"/>
                    <a:gd name="connsiteX84" fmla="*/ 2029716 w 7600769"/>
                    <a:gd name="connsiteY84" fmla="*/ 448230 h 1830200"/>
                    <a:gd name="connsiteX85" fmla="*/ 2029716 w 7600769"/>
                    <a:gd name="connsiteY85" fmla="*/ 458968 h 1830200"/>
                    <a:gd name="connsiteX86" fmla="*/ 2054047 w 7600769"/>
                    <a:gd name="connsiteY86" fmla="*/ 458968 h 1830200"/>
                    <a:gd name="connsiteX87" fmla="*/ 2054047 w 7600769"/>
                    <a:gd name="connsiteY87" fmla="*/ 468982 h 1830200"/>
                    <a:gd name="connsiteX88" fmla="*/ 2088273 w 7600769"/>
                    <a:gd name="connsiteY88" fmla="*/ 468982 h 1830200"/>
                    <a:gd name="connsiteX89" fmla="*/ 2088273 w 7600769"/>
                    <a:gd name="connsiteY89" fmla="*/ 477790 h 1830200"/>
                    <a:gd name="connsiteX90" fmla="*/ 2102710 w 7600769"/>
                    <a:gd name="connsiteY90" fmla="*/ 477790 h 1830200"/>
                    <a:gd name="connsiteX91" fmla="*/ 2102710 w 7600769"/>
                    <a:gd name="connsiteY91" fmla="*/ 489131 h 1830200"/>
                    <a:gd name="connsiteX92" fmla="*/ 2118931 w 7600769"/>
                    <a:gd name="connsiteY92" fmla="*/ 489131 h 1830200"/>
                    <a:gd name="connsiteX93" fmla="*/ 2118931 w 7600769"/>
                    <a:gd name="connsiteY93" fmla="*/ 500473 h 1830200"/>
                    <a:gd name="connsiteX94" fmla="*/ 2144235 w 7600769"/>
                    <a:gd name="connsiteY94" fmla="*/ 500473 h 1830200"/>
                    <a:gd name="connsiteX95" fmla="*/ 2144235 w 7600769"/>
                    <a:gd name="connsiteY95" fmla="*/ 508557 h 1830200"/>
                    <a:gd name="connsiteX96" fmla="*/ 2172135 w 7600769"/>
                    <a:gd name="connsiteY96" fmla="*/ 508557 h 1830200"/>
                    <a:gd name="connsiteX97" fmla="*/ 2172135 w 7600769"/>
                    <a:gd name="connsiteY97" fmla="*/ 518571 h 1830200"/>
                    <a:gd name="connsiteX98" fmla="*/ 2191925 w 7600769"/>
                    <a:gd name="connsiteY98" fmla="*/ 518571 h 1830200"/>
                    <a:gd name="connsiteX99" fmla="*/ 2191925 w 7600769"/>
                    <a:gd name="connsiteY99" fmla="*/ 529309 h 1830200"/>
                    <a:gd name="connsiteX100" fmla="*/ 2203604 w 7600769"/>
                    <a:gd name="connsiteY100" fmla="*/ 529309 h 1830200"/>
                    <a:gd name="connsiteX101" fmla="*/ 2203604 w 7600769"/>
                    <a:gd name="connsiteY101" fmla="*/ 538720 h 1830200"/>
                    <a:gd name="connsiteX102" fmla="*/ 2222582 w 7600769"/>
                    <a:gd name="connsiteY102" fmla="*/ 538720 h 1830200"/>
                    <a:gd name="connsiteX103" fmla="*/ 2222582 w 7600769"/>
                    <a:gd name="connsiteY103" fmla="*/ 546080 h 1830200"/>
                    <a:gd name="connsiteX104" fmla="*/ 2247724 w 7600769"/>
                    <a:gd name="connsiteY104" fmla="*/ 546080 h 1830200"/>
                    <a:gd name="connsiteX105" fmla="*/ 2247724 w 7600769"/>
                    <a:gd name="connsiteY105" fmla="*/ 557542 h 1830200"/>
                    <a:gd name="connsiteX106" fmla="*/ 2259566 w 7600769"/>
                    <a:gd name="connsiteY106" fmla="*/ 557542 h 1830200"/>
                    <a:gd name="connsiteX107" fmla="*/ 2259566 w 7600769"/>
                    <a:gd name="connsiteY107" fmla="*/ 569607 h 1830200"/>
                    <a:gd name="connsiteX108" fmla="*/ 2276597 w 7600769"/>
                    <a:gd name="connsiteY108" fmla="*/ 569607 h 1830200"/>
                    <a:gd name="connsiteX109" fmla="*/ 2276597 w 7600769"/>
                    <a:gd name="connsiteY109" fmla="*/ 578295 h 1830200"/>
                    <a:gd name="connsiteX110" fmla="*/ 2294603 w 7600769"/>
                    <a:gd name="connsiteY110" fmla="*/ 578295 h 1830200"/>
                    <a:gd name="connsiteX111" fmla="*/ 2294603 w 7600769"/>
                    <a:gd name="connsiteY111" fmla="*/ 590963 h 1830200"/>
                    <a:gd name="connsiteX112" fmla="*/ 2310013 w 7600769"/>
                    <a:gd name="connsiteY112" fmla="*/ 590963 h 1830200"/>
                    <a:gd name="connsiteX113" fmla="*/ 2310013 w 7600769"/>
                    <a:gd name="connsiteY113" fmla="*/ 596996 h 1830200"/>
                    <a:gd name="connsiteX114" fmla="*/ 2338886 w 7600769"/>
                    <a:gd name="connsiteY114" fmla="*/ 596996 h 1830200"/>
                    <a:gd name="connsiteX115" fmla="*/ 2338886 w 7600769"/>
                    <a:gd name="connsiteY115" fmla="*/ 600374 h 1830200"/>
                    <a:gd name="connsiteX116" fmla="*/ 2363217 w 7600769"/>
                    <a:gd name="connsiteY116" fmla="*/ 600374 h 1830200"/>
                    <a:gd name="connsiteX117" fmla="*/ 2363217 w 7600769"/>
                    <a:gd name="connsiteY117" fmla="*/ 611112 h 1830200"/>
                    <a:gd name="connsiteX118" fmla="*/ 2374896 w 7600769"/>
                    <a:gd name="connsiteY118" fmla="*/ 611112 h 1830200"/>
                    <a:gd name="connsiteX119" fmla="*/ 2374896 w 7600769"/>
                    <a:gd name="connsiteY119" fmla="*/ 621127 h 1830200"/>
                    <a:gd name="connsiteX120" fmla="*/ 2396470 w 7600769"/>
                    <a:gd name="connsiteY120" fmla="*/ 621127 h 1830200"/>
                    <a:gd name="connsiteX121" fmla="*/ 2396470 w 7600769"/>
                    <a:gd name="connsiteY121" fmla="*/ 633192 h 1830200"/>
                    <a:gd name="connsiteX122" fmla="*/ 2406364 w 7600769"/>
                    <a:gd name="connsiteY122" fmla="*/ 633192 h 1830200"/>
                    <a:gd name="connsiteX123" fmla="*/ 2406364 w 7600769"/>
                    <a:gd name="connsiteY123" fmla="*/ 648033 h 1830200"/>
                    <a:gd name="connsiteX124" fmla="*/ 2428911 w 7600769"/>
                    <a:gd name="connsiteY124" fmla="*/ 648033 h 1830200"/>
                    <a:gd name="connsiteX125" fmla="*/ 2428911 w 7600769"/>
                    <a:gd name="connsiteY125" fmla="*/ 655996 h 1830200"/>
                    <a:gd name="connsiteX126" fmla="*/ 2437995 w 7600769"/>
                    <a:gd name="connsiteY126" fmla="*/ 655996 h 1830200"/>
                    <a:gd name="connsiteX127" fmla="*/ 2437995 w 7600769"/>
                    <a:gd name="connsiteY127" fmla="*/ 666131 h 1830200"/>
                    <a:gd name="connsiteX128" fmla="*/ 2476763 w 7600769"/>
                    <a:gd name="connsiteY128" fmla="*/ 666131 h 1830200"/>
                    <a:gd name="connsiteX129" fmla="*/ 2476763 w 7600769"/>
                    <a:gd name="connsiteY129" fmla="*/ 674818 h 1830200"/>
                    <a:gd name="connsiteX130" fmla="*/ 2503689 w 7600769"/>
                    <a:gd name="connsiteY130" fmla="*/ 674818 h 1830200"/>
                    <a:gd name="connsiteX131" fmla="*/ 2503689 w 7600769"/>
                    <a:gd name="connsiteY131" fmla="*/ 682178 h 1830200"/>
                    <a:gd name="connsiteX132" fmla="*/ 2537915 w 7600769"/>
                    <a:gd name="connsiteY132" fmla="*/ 682178 h 1830200"/>
                    <a:gd name="connsiteX133" fmla="*/ 2537915 w 7600769"/>
                    <a:gd name="connsiteY133" fmla="*/ 690865 h 1830200"/>
                    <a:gd name="connsiteX134" fmla="*/ 2547810 w 7600769"/>
                    <a:gd name="connsiteY134" fmla="*/ 690865 h 1830200"/>
                    <a:gd name="connsiteX135" fmla="*/ 2547810 w 7600769"/>
                    <a:gd name="connsiteY135" fmla="*/ 702930 h 1830200"/>
                    <a:gd name="connsiteX136" fmla="*/ 2576683 w 7600769"/>
                    <a:gd name="connsiteY136" fmla="*/ 702930 h 1830200"/>
                    <a:gd name="connsiteX137" fmla="*/ 2576683 w 7600769"/>
                    <a:gd name="connsiteY137" fmla="*/ 711014 h 1830200"/>
                    <a:gd name="connsiteX138" fmla="*/ 2619020 w 7600769"/>
                    <a:gd name="connsiteY138" fmla="*/ 711014 h 1830200"/>
                    <a:gd name="connsiteX139" fmla="*/ 2619020 w 7600769"/>
                    <a:gd name="connsiteY139" fmla="*/ 719701 h 1830200"/>
                    <a:gd name="connsiteX140" fmla="*/ 2663303 w 7600769"/>
                    <a:gd name="connsiteY140" fmla="*/ 719701 h 1830200"/>
                    <a:gd name="connsiteX141" fmla="*/ 2663303 w 7600769"/>
                    <a:gd name="connsiteY141" fmla="*/ 727061 h 1830200"/>
                    <a:gd name="connsiteX142" fmla="*/ 2698340 w 7600769"/>
                    <a:gd name="connsiteY142" fmla="*/ 727061 h 1830200"/>
                    <a:gd name="connsiteX143" fmla="*/ 2698340 w 7600769"/>
                    <a:gd name="connsiteY143" fmla="*/ 737799 h 1830200"/>
                    <a:gd name="connsiteX144" fmla="*/ 2744407 w 7600769"/>
                    <a:gd name="connsiteY144" fmla="*/ 737799 h 1830200"/>
                    <a:gd name="connsiteX145" fmla="*/ 2744407 w 7600769"/>
                    <a:gd name="connsiteY145" fmla="*/ 746486 h 1830200"/>
                    <a:gd name="connsiteX146" fmla="*/ 2770523 w 7600769"/>
                    <a:gd name="connsiteY146" fmla="*/ 746486 h 1830200"/>
                    <a:gd name="connsiteX147" fmla="*/ 2770523 w 7600769"/>
                    <a:gd name="connsiteY147" fmla="*/ 757224 h 1830200"/>
                    <a:gd name="connsiteX148" fmla="*/ 2830864 w 7600769"/>
                    <a:gd name="connsiteY148" fmla="*/ 757224 h 1830200"/>
                    <a:gd name="connsiteX149" fmla="*/ 2830864 w 7600769"/>
                    <a:gd name="connsiteY149" fmla="*/ 769290 h 1830200"/>
                    <a:gd name="connsiteX150" fmla="*/ 2856980 w 7600769"/>
                    <a:gd name="connsiteY150" fmla="*/ 769290 h 1830200"/>
                    <a:gd name="connsiteX151" fmla="*/ 2946195 w 7600769"/>
                    <a:gd name="connsiteY151" fmla="*/ 769290 h 1830200"/>
                    <a:gd name="connsiteX152" fmla="*/ 2946195 w 7600769"/>
                    <a:gd name="connsiteY152" fmla="*/ 788112 h 1830200"/>
                    <a:gd name="connsiteX153" fmla="*/ 3001183 w 7600769"/>
                    <a:gd name="connsiteY153" fmla="*/ 788112 h 1830200"/>
                    <a:gd name="connsiteX154" fmla="*/ 3058767 w 7600769"/>
                    <a:gd name="connsiteY154" fmla="*/ 788112 h 1830200"/>
                    <a:gd name="connsiteX155" fmla="*/ 3058767 w 7600769"/>
                    <a:gd name="connsiteY155" fmla="*/ 819603 h 1830200"/>
                    <a:gd name="connsiteX156" fmla="*/ 3109376 w 7600769"/>
                    <a:gd name="connsiteY156" fmla="*/ 819603 h 1830200"/>
                    <a:gd name="connsiteX157" fmla="*/ 3109376 w 7600769"/>
                    <a:gd name="connsiteY157" fmla="*/ 847112 h 1830200"/>
                    <a:gd name="connsiteX158" fmla="*/ 3188534 w 7600769"/>
                    <a:gd name="connsiteY158" fmla="*/ 847112 h 1830200"/>
                    <a:gd name="connsiteX159" fmla="*/ 3188534 w 7600769"/>
                    <a:gd name="connsiteY159" fmla="*/ 860504 h 1830200"/>
                    <a:gd name="connsiteX160" fmla="*/ 3229086 w 7600769"/>
                    <a:gd name="connsiteY160" fmla="*/ 860504 h 1830200"/>
                    <a:gd name="connsiteX161" fmla="*/ 3229086 w 7600769"/>
                    <a:gd name="connsiteY161" fmla="*/ 879930 h 1830200"/>
                    <a:gd name="connsiteX162" fmla="*/ 3271585 w 7600769"/>
                    <a:gd name="connsiteY162" fmla="*/ 879930 h 1830200"/>
                    <a:gd name="connsiteX163" fmla="*/ 3271585 w 7600769"/>
                    <a:gd name="connsiteY163" fmla="*/ 895373 h 1830200"/>
                    <a:gd name="connsiteX164" fmla="*/ 3357069 w 7600769"/>
                    <a:gd name="connsiteY164" fmla="*/ 895373 h 1830200"/>
                    <a:gd name="connsiteX165" fmla="*/ 3357069 w 7600769"/>
                    <a:gd name="connsiteY165" fmla="*/ 918780 h 1830200"/>
                    <a:gd name="connsiteX166" fmla="*/ 3421141 w 7600769"/>
                    <a:gd name="connsiteY166" fmla="*/ 918780 h 1830200"/>
                    <a:gd name="connsiteX167" fmla="*/ 3421141 w 7600769"/>
                    <a:gd name="connsiteY167" fmla="*/ 932897 h 1830200"/>
                    <a:gd name="connsiteX168" fmla="*/ 3467046 w 7600769"/>
                    <a:gd name="connsiteY168" fmla="*/ 932897 h 1830200"/>
                    <a:gd name="connsiteX169" fmla="*/ 3467046 w 7600769"/>
                    <a:gd name="connsiteY169" fmla="*/ 948340 h 1830200"/>
                    <a:gd name="connsiteX170" fmla="*/ 3505814 w 7600769"/>
                    <a:gd name="connsiteY170" fmla="*/ 948340 h 1830200"/>
                    <a:gd name="connsiteX171" fmla="*/ 3505814 w 7600769"/>
                    <a:gd name="connsiteY171" fmla="*/ 958355 h 1830200"/>
                    <a:gd name="connsiteX172" fmla="*/ 3528361 w 7600769"/>
                    <a:gd name="connsiteY172" fmla="*/ 958355 h 1830200"/>
                    <a:gd name="connsiteX173" fmla="*/ 3528361 w 7600769"/>
                    <a:gd name="connsiteY173" fmla="*/ 973798 h 1830200"/>
                    <a:gd name="connsiteX174" fmla="*/ 3555450 w 7600769"/>
                    <a:gd name="connsiteY174" fmla="*/ 973798 h 1830200"/>
                    <a:gd name="connsiteX175" fmla="*/ 3555450 w 7600769"/>
                    <a:gd name="connsiteY175" fmla="*/ 986467 h 1830200"/>
                    <a:gd name="connsiteX176" fmla="*/ 3622929 w 7600769"/>
                    <a:gd name="connsiteY176" fmla="*/ 986467 h 1830200"/>
                    <a:gd name="connsiteX177" fmla="*/ 3622929 w 7600769"/>
                    <a:gd name="connsiteY177" fmla="*/ 1004565 h 1830200"/>
                    <a:gd name="connsiteX178" fmla="*/ 3695922 w 7600769"/>
                    <a:gd name="connsiteY178" fmla="*/ 1004565 h 1830200"/>
                    <a:gd name="connsiteX179" fmla="*/ 3695922 w 7600769"/>
                    <a:gd name="connsiteY179" fmla="*/ 1020009 h 1830200"/>
                    <a:gd name="connsiteX180" fmla="*/ 3712143 w 7600769"/>
                    <a:gd name="connsiteY180" fmla="*/ 1020009 h 1830200"/>
                    <a:gd name="connsiteX181" fmla="*/ 3777027 w 7600769"/>
                    <a:gd name="connsiteY181" fmla="*/ 1020009 h 1830200"/>
                    <a:gd name="connsiteX182" fmla="*/ 3777027 w 7600769"/>
                    <a:gd name="connsiteY182" fmla="*/ 1038107 h 1830200"/>
                    <a:gd name="connsiteX183" fmla="*/ 3793248 w 7600769"/>
                    <a:gd name="connsiteY183" fmla="*/ 1038107 h 1830200"/>
                    <a:gd name="connsiteX184" fmla="*/ 3793248 w 7600769"/>
                    <a:gd name="connsiteY184" fmla="*/ 1048121 h 1830200"/>
                    <a:gd name="connsiteX185" fmla="*/ 3833476 w 7600769"/>
                    <a:gd name="connsiteY185" fmla="*/ 1048121 h 1830200"/>
                    <a:gd name="connsiteX186" fmla="*/ 3833476 w 7600769"/>
                    <a:gd name="connsiteY186" fmla="*/ 1066219 h 1830200"/>
                    <a:gd name="connsiteX187" fmla="*/ 3847425 w 7600769"/>
                    <a:gd name="connsiteY187" fmla="*/ 1066219 h 1830200"/>
                    <a:gd name="connsiteX188" fmla="*/ 3847425 w 7600769"/>
                    <a:gd name="connsiteY188" fmla="*/ 1076354 h 1830200"/>
                    <a:gd name="connsiteX189" fmla="*/ 3882462 w 7600769"/>
                    <a:gd name="connsiteY189" fmla="*/ 1076354 h 1830200"/>
                    <a:gd name="connsiteX190" fmla="*/ 3882462 w 7600769"/>
                    <a:gd name="connsiteY190" fmla="*/ 1092401 h 1830200"/>
                    <a:gd name="connsiteX191" fmla="*/ 3901441 w 7600769"/>
                    <a:gd name="connsiteY191" fmla="*/ 1092401 h 1830200"/>
                    <a:gd name="connsiteX192" fmla="*/ 3955456 w 7600769"/>
                    <a:gd name="connsiteY192" fmla="*/ 1092401 h 1830200"/>
                    <a:gd name="connsiteX193" fmla="*/ 3955456 w 7600769"/>
                    <a:gd name="connsiteY193" fmla="*/ 1124616 h 1830200"/>
                    <a:gd name="connsiteX194" fmla="*/ 4001524 w 7600769"/>
                    <a:gd name="connsiteY194" fmla="*/ 1124616 h 1830200"/>
                    <a:gd name="connsiteX195" fmla="*/ 4023746 w 7600769"/>
                    <a:gd name="connsiteY195" fmla="*/ 1124616 h 1830200"/>
                    <a:gd name="connsiteX196" fmla="*/ 4023746 w 7600769"/>
                    <a:gd name="connsiteY196" fmla="*/ 1139094 h 1830200"/>
                    <a:gd name="connsiteX197" fmla="*/ 4048726 w 7600769"/>
                    <a:gd name="connsiteY197" fmla="*/ 1139094 h 1830200"/>
                    <a:gd name="connsiteX198" fmla="*/ 4048726 w 7600769"/>
                    <a:gd name="connsiteY198" fmla="*/ 1145730 h 1830200"/>
                    <a:gd name="connsiteX199" fmla="*/ 4063649 w 7600769"/>
                    <a:gd name="connsiteY199" fmla="*/ 1145730 h 1830200"/>
                    <a:gd name="connsiteX200" fmla="*/ 4063649 w 7600769"/>
                    <a:gd name="connsiteY200" fmla="*/ 1162743 h 1830200"/>
                    <a:gd name="connsiteX201" fmla="*/ 4125126 w 7600769"/>
                    <a:gd name="connsiteY201" fmla="*/ 1162743 h 1830200"/>
                    <a:gd name="connsiteX202" fmla="*/ 4125126 w 7600769"/>
                    <a:gd name="connsiteY202" fmla="*/ 1174808 h 1830200"/>
                    <a:gd name="connsiteX203" fmla="*/ 4148160 w 7600769"/>
                    <a:gd name="connsiteY203" fmla="*/ 1174808 h 1830200"/>
                    <a:gd name="connsiteX204" fmla="*/ 4148160 w 7600769"/>
                    <a:gd name="connsiteY204" fmla="*/ 1187356 h 1830200"/>
                    <a:gd name="connsiteX205" fmla="*/ 4162272 w 7600769"/>
                    <a:gd name="connsiteY205" fmla="*/ 1187356 h 1830200"/>
                    <a:gd name="connsiteX206" fmla="*/ 4162272 w 7600769"/>
                    <a:gd name="connsiteY206" fmla="*/ 1199421 h 1830200"/>
                    <a:gd name="connsiteX207" fmla="*/ 4186604 w 7600769"/>
                    <a:gd name="connsiteY207" fmla="*/ 1199421 h 1830200"/>
                    <a:gd name="connsiteX208" fmla="*/ 4186604 w 7600769"/>
                    <a:gd name="connsiteY208" fmla="*/ 1209074 h 1830200"/>
                    <a:gd name="connsiteX209" fmla="*/ 4446786 w 7600769"/>
                    <a:gd name="connsiteY209" fmla="*/ 1209074 h 1830200"/>
                    <a:gd name="connsiteX210" fmla="*/ 4446786 w 7600769"/>
                    <a:gd name="connsiteY210" fmla="*/ 1219088 h 1830200"/>
                    <a:gd name="connsiteX211" fmla="*/ 4488149 w 7600769"/>
                    <a:gd name="connsiteY211" fmla="*/ 1219088 h 1830200"/>
                    <a:gd name="connsiteX212" fmla="*/ 4488149 w 7600769"/>
                    <a:gd name="connsiteY212" fmla="*/ 1228137 h 1830200"/>
                    <a:gd name="connsiteX213" fmla="*/ 4501613 w 7600769"/>
                    <a:gd name="connsiteY213" fmla="*/ 1228137 h 1830200"/>
                    <a:gd name="connsiteX214" fmla="*/ 4501613 w 7600769"/>
                    <a:gd name="connsiteY214" fmla="*/ 1244184 h 1830200"/>
                    <a:gd name="connsiteX215" fmla="*/ 4571200 w 7600769"/>
                    <a:gd name="connsiteY215" fmla="*/ 1244184 h 1830200"/>
                    <a:gd name="connsiteX216" fmla="*/ 4571200 w 7600769"/>
                    <a:gd name="connsiteY216" fmla="*/ 1255284 h 1830200"/>
                    <a:gd name="connsiteX217" fmla="*/ 4600884 w 7600769"/>
                    <a:gd name="connsiteY217" fmla="*/ 1255284 h 1830200"/>
                    <a:gd name="connsiteX218" fmla="*/ 4600884 w 7600769"/>
                    <a:gd name="connsiteY218" fmla="*/ 1264816 h 1830200"/>
                    <a:gd name="connsiteX219" fmla="*/ 4619214 w 7600769"/>
                    <a:gd name="connsiteY219" fmla="*/ 1264816 h 1830200"/>
                    <a:gd name="connsiteX220" fmla="*/ 4619214 w 7600769"/>
                    <a:gd name="connsiteY220" fmla="*/ 1272900 h 1830200"/>
                    <a:gd name="connsiteX221" fmla="*/ 4707131 w 7600769"/>
                    <a:gd name="connsiteY221" fmla="*/ 1272900 h 1830200"/>
                    <a:gd name="connsiteX222" fmla="*/ 4707131 w 7600769"/>
                    <a:gd name="connsiteY222" fmla="*/ 1281466 h 1830200"/>
                    <a:gd name="connsiteX223" fmla="*/ 4728056 w 7600769"/>
                    <a:gd name="connsiteY223" fmla="*/ 1281466 h 1830200"/>
                    <a:gd name="connsiteX224" fmla="*/ 4728056 w 7600769"/>
                    <a:gd name="connsiteY224" fmla="*/ 1290515 h 1830200"/>
                    <a:gd name="connsiteX225" fmla="*/ 4740222 w 7600769"/>
                    <a:gd name="connsiteY225" fmla="*/ 1290515 h 1830200"/>
                    <a:gd name="connsiteX226" fmla="*/ 4740222 w 7600769"/>
                    <a:gd name="connsiteY226" fmla="*/ 1301012 h 1830200"/>
                    <a:gd name="connsiteX227" fmla="*/ 4817271 w 7600769"/>
                    <a:gd name="connsiteY227" fmla="*/ 1301012 h 1830200"/>
                    <a:gd name="connsiteX228" fmla="*/ 4817271 w 7600769"/>
                    <a:gd name="connsiteY228" fmla="*/ 1312112 h 1830200"/>
                    <a:gd name="connsiteX229" fmla="*/ 4861229 w 7600769"/>
                    <a:gd name="connsiteY229" fmla="*/ 1312112 h 1830200"/>
                    <a:gd name="connsiteX230" fmla="*/ 4861229 w 7600769"/>
                    <a:gd name="connsiteY230" fmla="*/ 1327677 h 1830200"/>
                    <a:gd name="connsiteX231" fmla="*/ 4880045 w 7600769"/>
                    <a:gd name="connsiteY231" fmla="*/ 1327677 h 1830200"/>
                    <a:gd name="connsiteX232" fmla="*/ 4880045 w 7600769"/>
                    <a:gd name="connsiteY232" fmla="*/ 1332744 h 1830200"/>
                    <a:gd name="connsiteX233" fmla="*/ 4919300 w 7600769"/>
                    <a:gd name="connsiteY233" fmla="*/ 1332744 h 1830200"/>
                    <a:gd name="connsiteX234" fmla="*/ 4919300 w 7600769"/>
                    <a:gd name="connsiteY234" fmla="*/ 1341793 h 1830200"/>
                    <a:gd name="connsiteX235" fmla="*/ 4930817 w 7600769"/>
                    <a:gd name="connsiteY235" fmla="*/ 1341793 h 1830200"/>
                    <a:gd name="connsiteX236" fmla="*/ 4930817 w 7600769"/>
                    <a:gd name="connsiteY236" fmla="*/ 1348308 h 1830200"/>
                    <a:gd name="connsiteX237" fmla="*/ 4973964 w 7600769"/>
                    <a:gd name="connsiteY237" fmla="*/ 1348308 h 1830200"/>
                    <a:gd name="connsiteX238" fmla="*/ 4973964 w 7600769"/>
                    <a:gd name="connsiteY238" fmla="*/ 1356875 h 1830200"/>
                    <a:gd name="connsiteX239" fmla="*/ 5032197 w 7600769"/>
                    <a:gd name="connsiteY239" fmla="*/ 1356875 h 1830200"/>
                    <a:gd name="connsiteX240" fmla="*/ 5032197 w 7600769"/>
                    <a:gd name="connsiteY240" fmla="*/ 1365321 h 1830200"/>
                    <a:gd name="connsiteX241" fmla="*/ 5061881 w 7600769"/>
                    <a:gd name="connsiteY241" fmla="*/ 1365321 h 1830200"/>
                    <a:gd name="connsiteX242" fmla="*/ 5061881 w 7600769"/>
                    <a:gd name="connsiteY242" fmla="*/ 1373404 h 1830200"/>
                    <a:gd name="connsiteX243" fmla="*/ 5094323 w 7600769"/>
                    <a:gd name="connsiteY243" fmla="*/ 1373404 h 1830200"/>
                    <a:gd name="connsiteX244" fmla="*/ 5094323 w 7600769"/>
                    <a:gd name="connsiteY244" fmla="*/ 1393071 h 1830200"/>
                    <a:gd name="connsiteX245" fmla="*/ 5150447 w 7600769"/>
                    <a:gd name="connsiteY245" fmla="*/ 1393071 h 1830200"/>
                    <a:gd name="connsiteX246" fmla="*/ 5150447 w 7600769"/>
                    <a:gd name="connsiteY246" fmla="*/ 1406826 h 1830200"/>
                    <a:gd name="connsiteX247" fmla="*/ 5213546 w 7600769"/>
                    <a:gd name="connsiteY247" fmla="*/ 1406826 h 1830200"/>
                    <a:gd name="connsiteX248" fmla="*/ 5213546 w 7600769"/>
                    <a:gd name="connsiteY248" fmla="*/ 1430956 h 1830200"/>
                    <a:gd name="connsiteX249" fmla="*/ 5285567 w 7600769"/>
                    <a:gd name="connsiteY249" fmla="*/ 1430956 h 1830200"/>
                    <a:gd name="connsiteX250" fmla="*/ 5285567 w 7600769"/>
                    <a:gd name="connsiteY250" fmla="*/ 1448331 h 1830200"/>
                    <a:gd name="connsiteX251" fmla="*/ 5339744 w 7600769"/>
                    <a:gd name="connsiteY251" fmla="*/ 1448331 h 1830200"/>
                    <a:gd name="connsiteX252" fmla="*/ 5381107 w 7600769"/>
                    <a:gd name="connsiteY252" fmla="*/ 1448331 h 1830200"/>
                    <a:gd name="connsiteX253" fmla="*/ 5381107 w 7600769"/>
                    <a:gd name="connsiteY253" fmla="*/ 1463050 h 1830200"/>
                    <a:gd name="connsiteX254" fmla="*/ 5433339 w 7600769"/>
                    <a:gd name="connsiteY254" fmla="*/ 1463050 h 1830200"/>
                    <a:gd name="connsiteX255" fmla="*/ 5433339 w 7600769"/>
                    <a:gd name="connsiteY255" fmla="*/ 1477770 h 1830200"/>
                    <a:gd name="connsiteX256" fmla="*/ 5492869 w 7600769"/>
                    <a:gd name="connsiteY256" fmla="*/ 1477770 h 1830200"/>
                    <a:gd name="connsiteX257" fmla="*/ 5492869 w 7600769"/>
                    <a:gd name="connsiteY257" fmla="*/ 1487181 h 1830200"/>
                    <a:gd name="connsiteX258" fmla="*/ 5559537 w 7600769"/>
                    <a:gd name="connsiteY258" fmla="*/ 1487181 h 1830200"/>
                    <a:gd name="connsiteX259" fmla="*/ 5559537 w 7600769"/>
                    <a:gd name="connsiteY259" fmla="*/ 1497919 h 1830200"/>
                    <a:gd name="connsiteX260" fmla="*/ 5631720 w 7600769"/>
                    <a:gd name="connsiteY260" fmla="*/ 1497919 h 1830200"/>
                    <a:gd name="connsiteX261" fmla="*/ 5631720 w 7600769"/>
                    <a:gd name="connsiteY261" fmla="*/ 1511312 h 1830200"/>
                    <a:gd name="connsiteX262" fmla="*/ 5698387 w 7600769"/>
                    <a:gd name="connsiteY262" fmla="*/ 1511312 h 1830200"/>
                    <a:gd name="connsiteX263" fmla="*/ 5698387 w 7600769"/>
                    <a:gd name="connsiteY263" fmla="*/ 1526032 h 1830200"/>
                    <a:gd name="connsiteX264" fmla="*/ 5770408 w 7600769"/>
                    <a:gd name="connsiteY264" fmla="*/ 1526032 h 1830200"/>
                    <a:gd name="connsiteX265" fmla="*/ 5770408 w 7600769"/>
                    <a:gd name="connsiteY265" fmla="*/ 1540872 h 1830200"/>
                    <a:gd name="connsiteX266" fmla="*/ 5811933 w 7600769"/>
                    <a:gd name="connsiteY266" fmla="*/ 1540872 h 1830200"/>
                    <a:gd name="connsiteX267" fmla="*/ 5811933 w 7600769"/>
                    <a:gd name="connsiteY267" fmla="*/ 1562228 h 1830200"/>
                    <a:gd name="connsiteX268" fmla="*/ 5875033 w 7600769"/>
                    <a:gd name="connsiteY268" fmla="*/ 1562228 h 1830200"/>
                    <a:gd name="connsiteX269" fmla="*/ 5927264 w 7600769"/>
                    <a:gd name="connsiteY269" fmla="*/ 1562228 h 1830200"/>
                    <a:gd name="connsiteX270" fmla="*/ 5927264 w 7600769"/>
                    <a:gd name="connsiteY270" fmla="*/ 1579723 h 1830200"/>
                    <a:gd name="connsiteX271" fmla="*/ 5963274 w 7600769"/>
                    <a:gd name="connsiteY271" fmla="*/ 1579723 h 1830200"/>
                    <a:gd name="connsiteX272" fmla="*/ 5963274 w 7600769"/>
                    <a:gd name="connsiteY272" fmla="*/ 1593115 h 1830200"/>
                    <a:gd name="connsiteX273" fmla="*/ 5995716 w 7600769"/>
                    <a:gd name="connsiteY273" fmla="*/ 1593115 h 1830200"/>
                    <a:gd name="connsiteX274" fmla="*/ 5995716 w 7600769"/>
                    <a:gd name="connsiteY274" fmla="*/ 1610489 h 1830200"/>
                    <a:gd name="connsiteX275" fmla="*/ 6183229 w 7600769"/>
                    <a:gd name="connsiteY275" fmla="*/ 1610489 h 1830200"/>
                    <a:gd name="connsiteX276" fmla="*/ 6183229 w 7600769"/>
                    <a:gd name="connsiteY276" fmla="*/ 1626657 h 1830200"/>
                    <a:gd name="connsiteX277" fmla="*/ 6253465 w 7600769"/>
                    <a:gd name="connsiteY277" fmla="*/ 1626657 h 1830200"/>
                    <a:gd name="connsiteX278" fmla="*/ 6253465 w 7600769"/>
                    <a:gd name="connsiteY278" fmla="*/ 1646686 h 1830200"/>
                    <a:gd name="connsiteX279" fmla="*/ 6282338 w 7600769"/>
                    <a:gd name="connsiteY279" fmla="*/ 1646686 h 1830200"/>
                    <a:gd name="connsiteX280" fmla="*/ 6282338 w 7600769"/>
                    <a:gd name="connsiteY280" fmla="*/ 1678900 h 1830200"/>
                    <a:gd name="connsiteX281" fmla="*/ 6321917 w 7600769"/>
                    <a:gd name="connsiteY281" fmla="*/ 1678900 h 1830200"/>
                    <a:gd name="connsiteX282" fmla="*/ 6321917 w 7600769"/>
                    <a:gd name="connsiteY282" fmla="*/ 1701704 h 1830200"/>
                    <a:gd name="connsiteX283" fmla="*/ 6383232 w 7600769"/>
                    <a:gd name="connsiteY283" fmla="*/ 1701704 h 1830200"/>
                    <a:gd name="connsiteX284" fmla="*/ 6383232 w 7600769"/>
                    <a:gd name="connsiteY284" fmla="*/ 1713769 h 1830200"/>
                    <a:gd name="connsiteX285" fmla="*/ 6430111 w 7600769"/>
                    <a:gd name="connsiteY285" fmla="*/ 1713769 h 1830200"/>
                    <a:gd name="connsiteX286" fmla="*/ 6430111 w 7600769"/>
                    <a:gd name="connsiteY286" fmla="*/ 1731143 h 1830200"/>
                    <a:gd name="connsiteX287" fmla="*/ 6550794 w 7600769"/>
                    <a:gd name="connsiteY287" fmla="*/ 1731143 h 1830200"/>
                    <a:gd name="connsiteX288" fmla="*/ 6550794 w 7600769"/>
                    <a:gd name="connsiteY288" fmla="*/ 1759377 h 1830200"/>
                    <a:gd name="connsiteX289" fmla="*/ 6792322 w 7600769"/>
                    <a:gd name="connsiteY289" fmla="*/ 1759377 h 1830200"/>
                    <a:gd name="connsiteX290" fmla="*/ 6792322 w 7600769"/>
                    <a:gd name="connsiteY290" fmla="*/ 1782180 h 1830200"/>
                    <a:gd name="connsiteX291" fmla="*/ 6812112 w 7600769"/>
                    <a:gd name="connsiteY291" fmla="*/ 1782180 h 1830200"/>
                    <a:gd name="connsiteX292" fmla="*/ 6811463 w 7600769"/>
                    <a:gd name="connsiteY292" fmla="*/ 1830200 h 1830200"/>
                    <a:gd name="connsiteX293" fmla="*/ 7007897 w 7600769"/>
                    <a:gd name="connsiteY293" fmla="*/ 1830200 h 1830200"/>
                    <a:gd name="connsiteX294" fmla="*/ 7600770 w 7600769"/>
                    <a:gd name="connsiteY294" fmla="*/ 1830200 h 183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Lst>
                  <a:rect l="l" t="t" r="r" b="b"/>
                  <a:pathLst>
                    <a:path w="7600769" h="1830200">
                      <a:moveTo>
                        <a:pt x="0" y="0"/>
                      </a:moveTo>
                      <a:lnTo>
                        <a:pt x="311116" y="0"/>
                      </a:lnTo>
                      <a:lnTo>
                        <a:pt x="339989" y="0"/>
                      </a:lnTo>
                      <a:lnTo>
                        <a:pt x="339989" y="20632"/>
                      </a:lnTo>
                      <a:lnTo>
                        <a:pt x="363509" y="20632"/>
                      </a:lnTo>
                      <a:lnTo>
                        <a:pt x="363509" y="33301"/>
                      </a:lnTo>
                      <a:lnTo>
                        <a:pt x="383299" y="33301"/>
                      </a:lnTo>
                      <a:lnTo>
                        <a:pt x="383299" y="42712"/>
                      </a:lnTo>
                      <a:lnTo>
                        <a:pt x="415741" y="42712"/>
                      </a:lnTo>
                      <a:lnTo>
                        <a:pt x="415741" y="50071"/>
                      </a:lnTo>
                      <a:lnTo>
                        <a:pt x="556375" y="50071"/>
                      </a:lnTo>
                      <a:lnTo>
                        <a:pt x="556375" y="58155"/>
                      </a:lnTo>
                      <a:lnTo>
                        <a:pt x="605849" y="58155"/>
                      </a:lnTo>
                      <a:lnTo>
                        <a:pt x="605849" y="74926"/>
                      </a:lnTo>
                      <a:lnTo>
                        <a:pt x="647374" y="74926"/>
                      </a:lnTo>
                      <a:lnTo>
                        <a:pt x="647374" y="86268"/>
                      </a:lnTo>
                      <a:lnTo>
                        <a:pt x="714853" y="86268"/>
                      </a:lnTo>
                      <a:lnTo>
                        <a:pt x="714853" y="95679"/>
                      </a:lnTo>
                      <a:lnTo>
                        <a:pt x="769842" y="95679"/>
                      </a:lnTo>
                      <a:lnTo>
                        <a:pt x="769842" y="111122"/>
                      </a:lnTo>
                      <a:lnTo>
                        <a:pt x="817693" y="111122"/>
                      </a:lnTo>
                      <a:lnTo>
                        <a:pt x="817693" y="121137"/>
                      </a:lnTo>
                      <a:lnTo>
                        <a:pt x="887930" y="121137"/>
                      </a:lnTo>
                      <a:lnTo>
                        <a:pt x="887930" y="135253"/>
                      </a:lnTo>
                      <a:lnTo>
                        <a:pt x="1021265" y="135253"/>
                      </a:lnTo>
                      <a:lnTo>
                        <a:pt x="1021265" y="140562"/>
                      </a:lnTo>
                      <a:lnTo>
                        <a:pt x="1067332" y="140562"/>
                      </a:lnTo>
                      <a:lnTo>
                        <a:pt x="1067332" y="151300"/>
                      </a:lnTo>
                      <a:lnTo>
                        <a:pt x="1080796" y="151300"/>
                      </a:lnTo>
                      <a:lnTo>
                        <a:pt x="1080796" y="159987"/>
                      </a:lnTo>
                      <a:lnTo>
                        <a:pt x="1087933" y="159987"/>
                      </a:lnTo>
                      <a:lnTo>
                        <a:pt x="1087933" y="177482"/>
                      </a:lnTo>
                      <a:lnTo>
                        <a:pt x="1097017" y="177482"/>
                      </a:lnTo>
                      <a:lnTo>
                        <a:pt x="1097017" y="184118"/>
                      </a:lnTo>
                      <a:lnTo>
                        <a:pt x="1155574" y="184118"/>
                      </a:lnTo>
                      <a:lnTo>
                        <a:pt x="1155574" y="199562"/>
                      </a:lnTo>
                      <a:lnTo>
                        <a:pt x="1189800" y="199562"/>
                      </a:lnTo>
                      <a:lnTo>
                        <a:pt x="1189800" y="208973"/>
                      </a:lnTo>
                      <a:lnTo>
                        <a:pt x="1260198" y="208973"/>
                      </a:lnTo>
                      <a:lnTo>
                        <a:pt x="1260198" y="218384"/>
                      </a:lnTo>
                      <a:lnTo>
                        <a:pt x="1281772" y="218384"/>
                      </a:lnTo>
                      <a:lnTo>
                        <a:pt x="1281772" y="227071"/>
                      </a:lnTo>
                      <a:lnTo>
                        <a:pt x="1340330" y="227071"/>
                      </a:lnTo>
                      <a:lnTo>
                        <a:pt x="1340330" y="236482"/>
                      </a:lnTo>
                      <a:lnTo>
                        <a:pt x="1361903" y="236482"/>
                      </a:lnTo>
                      <a:lnTo>
                        <a:pt x="1361903" y="243842"/>
                      </a:lnTo>
                      <a:lnTo>
                        <a:pt x="1379097" y="243842"/>
                      </a:lnTo>
                      <a:lnTo>
                        <a:pt x="1379097" y="261216"/>
                      </a:lnTo>
                      <a:lnTo>
                        <a:pt x="1424191" y="261216"/>
                      </a:lnTo>
                      <a:lnTo>
                        <a:pt x="1424191" y="271230"/>
                      </a:lnTo>
                      <a:lnTo>
                        <a:pt x="1434897" y="271230"/>
                      </a:lnTo>
                      <a:lnTo>
                        <a:pt x="1434897" y="276660"/>
                      </a:lnTo>
                      <a:lnTo>
                        <a:pt x="1518759" y="276660"/>
                      </a:lnTo>
                      <a:lnTo>
                        <a:pt x="1518759" y="284020"/>
                      </a:lnTo>
                      <a:lnTo>
                        <a:pt x="1552985" y="284020"/>
                      </a:lnTo>
                      <a:lnTo>
                        <a:pt x="1552985" y="291379"/>
                      </a:lnTo>
                      <a:lnTo>
                        <a:pt x="1584616" y="291379"/>
                      </a:lnTo>
                      <a:lnTo>
                        <a:pt x="1584616" y="299463"/>
                      </a:lnTo>
                      <a:lnTo>
                        <a:pt x="1601648" y="299463"/>
                      </a:lnTo>
                      <a:lnTo>
                        <a:pt x="1601648" y="308874"/>
                      </a:lnTo>
                      <a:lnTo>
                        <a:pt x="1640415" y="308874"/>
                      </a:lnTo>
                      <a:lnTo>
                        <a:pt x="1640415" y="318165"/>
                      </a:lnTo>
                      <a:lnTo>
                        <a:pt x="1672857" y="318165"/>
                      </a:lnTo>
                      <a:lnTo>
                        <a:pt x="1672857" y="326972"/>
                      </a:lnTo>
                      <a:lnTo>
                        <a:pt x="1763856" y="326972"/>
                      </a:lnTo>
                      <a:lnTo>
                        <a:pt x="1763856" y="345070"/>
                      </a:lnTo>
                      <a:lnTo>
                        <a:pt x="1789972" y="345070"/>
                      </a:lnTo>
                      <a:lnTo>
                        <a:pt x="1789972" y="353758"/>
                      </a:lnTo>
                      <a:lnTo>
                        <a:pt x="1807977" y="353758"/>
                      </a:lnTo>
                      <a:lnTo>
                        <a:pt x="1807977" y="366426"/>
                      </a:lnTo>
                      <a:lnTo>
                        <a:pt x="1823387" y="366426"/>
                      </a:lnTo>
                      <a:lnTo>
                        <a:pt x="1823387" y="379216"/>
                      </a:lnTo>
                      <a:lnTo>
                        <a:pt x="1837823" y="379216"/>
                      </a:lnTo>
                      <a:lnTo>
                        <a:pt x="1837823" y="391281"/>
                      </a:lnTo>
                      <a:lnTo>
                        <a:pt x="1851287" y="391281"/>
                      </a:lnTo>
                      <a:lnTo>
                        <a:pt x="1851287" y="396590"/>
                      </a:lnTo>
                      <a:lnTo>
                        <a:pt x="1901733" y="396590"/>
                      </a:lnTo>
                      <a:lnTo>
                        <a:pt x="1901733" y="407328"/>
                      </a:lnTo>
                      <a:lnTo>
                        <a:pt x="1913412" y="407328"/>
                      </a:lnTo>
                      <a:lnTo>
                        <a:pt x="1913412" y="414688"/>
                      </a:lnTo>
                      <a:lnTo>
                        <a:pt x="1935148" y="414688"/>
                      </a:lnTo>
                      <a:lnTo>
                        <a:pt x="1935148" y="434113"/>
                      </a:lnTo>
                      <a:lnTo>
                        <a:pt x="1971159" y="434113"/>
                      </a:lnTo>
                      <a:lnTo>
                        <a:pt x="1971159" y="448230"/>
                      </a:lnTo>
                      <a:lnTo>
                        <a:pt x="2029716" y="448230"/>
                      </a:lnTo>
                      <a:lnTo>
                        <a:pt x="2029716" y="458968"/>
                      </a:lnTo>
                      <a:lnTo>
                        <a:pt x="2054047" y="458968"/>
                      </a:lnTo>
                      <a:lnTo>
                        <a:pt x="2054047" y="468982"/>
                      </a:lnTo>
                      <a:lnTo>
                        <a:pt x="2088273" y="468982"/>
                      </a:lnTo>
                      <a:lnTo>
                        <a:pt x="2088273" y="477790"/>
                      </a:lnTo>
                      <a:lnTo>
                        <a:pt x="2102710" y="477790"/>
                      </a:lnTo>
                      <a:lnTo>
                        <a:pt x="2102710" y="489131"/>
                      </a:lnTo>
                      <a:lnTo>
                        <a:pt x="2118931" y="489131"/>
                      </a:lnTo>
                      <a:lnTo>
                        <a:pt x="2118931" y="500473"/>
                      </a:lnTo>
                      <a:lnTo>
                        <a:pt x="2144235" y="500473"/>
                      </a:lnTo>
                      <a:lnTo>
                        <a:pt x="2144235" y="508557"/>
                      </a:lnTo>
                      <a:lnTo>
                        <a:pt x="2172135" y="508557"/>
                      </a:lnTo>
                      <a:lnTo>
                        <a:pt x="2172135" y="518571"/>
                      </a:lnTo>
                      <a:lnTo>
                        <a:pt x="2191925" y="518571"/>
                      </a:lnTo>
                      <a:lnTo>
                        <a:pt x="2191925" y="529309"/>
                      </a:lnTo>
                      <a:lnTo>
                        <a:pt x="2203604" y="529309"/>
                      </a:lnTo>
                      <a:lnTo>
                        <a:pt x="2203604" y="538720"/>
                      </a:lnTo>
                      <a:lnTo>
                        <a:pt x="2222582" y="538720"/>
                      </a:lnTo>
                      <a:lnTo>
                        <a:pt x="2222582" y="546080"/>
                      </a:lnTo>
                      <a:lnTo>
                        <a:pt x="2247724" y="546080"/>
                      </a:lnTo>
                      <a:lnTo>
                        <a:pt x="2247724" y="557542"/>
                      </a:lnTo>
                      <a:lnTo>
                        <a:pt x="2259566" y="557542"/>
                      </a:lnTo>
                      <a:lnTo>
                        <a:pt x="2259566" y="569607"/>
                      </a:lnTo>
                      <a:lnTo>
                        <a:pt x="2276597" y="569607"/>
                      </a:lnTo>
                      <a:lnTo>
                        <a:pt x="2276597" y="578295"/>
                      </a:lnTo>
                      <a:lnTo>
                        <a:pt x="2294603" y="578295"/>
                      </a:lnTo>
                      <a:lnTo>
                        <a:pt x="2294603" y="590963"/>
                      </a:lnTo>
                      <a:lnTo>
                        <a:pt x="2310013" y="590963"/>
                      </a:lnTo>
                      <a:lnTo>
                        <a:pt x="2310013" y="596996"/>
                      </a:lnTo>
                      <a:lnTo>
                        <a:pt x="2338886" y="596996"/>
                      </a:lnTo>
                      <a:lnTo>
                        <a:pt x="2338886" y="600374"/>
                      </a:lnTo>
                      <a:lnTo>
                        <a:pt x="2363217" y="600374"/>
                      </a:lnTo>
                      <a:lnTo>
                        <a:pt x="2363217" y="611112"/>
                      </a:lnTo>
                      <a:lnTo>
                        <a:pt x="2374896" y="611112"/>
                      </a:lnTo>
                      <a:lnTo>
                        <a:pt x="2374896" y="621127"/>
                      </a:lnTo>
                      <a:lnTo>
                        <a:pt x="2396470" y="621127"/>
                      </a:lnTo>
                      <a:lnTo>
                        <a:pt x="2396470" y="633192"/>
                      </a:lnTo>
                      <a:lnTo>
                        <a:pt x="2406364" y="633192"/>
                      </a:lnTo>
                      <a:lnTo>
                        <a:pt x="2406364" y="648033"/>
                      </a:lnTo>
                      <a:lnTo>
                        <a:pt x="2428911" y="648033"/>
                      </a:lnTo>
                      <a:lnTo>
                        <a:pt x="2428911" y="655996"/>
                      </a:lnTo>
                      <a:lnTo>
                        <a:pt x="2437995" y="655996"/>
                      </a:lnTo>
                      <a:lnTo>
                        <a:pt x="2437995" y="666131"/>
                      </a:lnTo>
                      <a:lnTo>
                        <a:pt x="2476763" y="666131"/>
                      </a:lnTo>
                      <a:lnTo>
                        <a:pt x="2476763" y="674818"/>
                      </a:lnTo>
                      <a:lnTo>
                        <a:pt x="2503689" y="674818"/>
                      </a:lnTo>
                      <a:lnTo>
                        <a:pt x="2503689" y="682178"/>
                      </a:lnTo>
                      <a:lnTo>
                        <a:pt x="2537915" y="682178"/>
                      </a:lnTo>
                      <a:lnTo>
                        <a:pt x="2537915" y="690865"/>
                      </a:lnTo>
                      <a:lnTo>
                        <a:pt x="2547810" y="690865"/>
                      </a:lnTo>
                      <a:lnTo>
                        <a:pt x="2547810" y="702930"/>
                      </a:lnTo>
                      <a:lnTo>
                        <a:pt x="2576683" y="702930"/>
                      </a:lnTo>
                      <a:lnTo>
                        <a:pt x="2576683" y="711014"/>
                      </a:lnTo>
                      <a:lnTo>
                        <a:pt x="2619020" y="711014"/>
                      </a:lnTo>
                      <a:lnTo>
                        <a:pt x="2619020" y="719701"/>
                      </a:lnTo>
                      <a:lnTo>
                        <a:pt x="2663303" y="719701"/>
                      </a:lnTo>
                      <a:lnTo>
                        <a:pt x="2663303" y="727061"/>
                      </a:lnTo>
                      <a:lnTo>
                        <a:pt x="2698340" y="727061"/>
                      </a:lnTo>
                      <a:lnTo>
                        <a:pt x="2698340" y="737799"/>
                      </a:lnTo>
                      <a:lnTo>
                        <a:pt x="2744407" y="737799"/>
                      </a:lnTo>
                      <a:lnTo>
                        <a:pt x="2744407" y="746486"/>
                      </a:lnTo>
                      <a:lnTo>
                        <a:pt x="2770523" y="746486"/>
                      </a:lnTo>
                      <a:lnTo>
                        <a:pt x="2770523" y="757224"/>
                      </a:lnTo>
                      <a:lnTo>
                        <a:pt x="2830864" y="757224"/>
                      </a:lnTo>
                      <a:lnTo>
                        <a:pt x="2830864" y="769290"/>
                      </a:lnTo>
                      <a:lnTo>
                        <a:pt x="2856980" y="769290"/>
                      </a:lnTo>
                      <a:lnTo>
                        <a:pt x="2946195" y="769290"/>
                      </a:lnTo>
                      <a:lnTo>
                        <a:pt x="2946195" y="788112"/>
                      </a:lnTo>
                      <a:lnTo>
                        <a:pt x="3001183" y="788112"/>
                      </a:lnTo>
                      <a:lnTo>
                        <a:pt x="3058767" y="788112"/>
                      </a:lnTo>
                      <a:lnTo>
                        <a:pt x="3058767" y="819603"/>
                      </a:lnTo>
                      <a:lnTo>
                        <a:pt x="3109376" y="819603"/>
                      </a:lnTo>
                      <a:lnTo>
                        <a:pt x="3109376" y="847112"/>
                      </a:lnTo>
                      <a:lnTo>
                        <a:pt x="3188534" y="847112"/>
                      </a:lnTo>
                      <a:lnTo>
                        <a:pt x="3188534" y="860504"/>
                      </a:lnTo>
                      <a:lnTo>
                        <a:pt x="3229086" y="860504"/>
                      </a:lnTo>
                      <a:lnTo>
                        <a:pt x="3229086" y="879930"/>
                      </a:lnTo>
                      <a:lnTo>
                        <a:pt x="3271585" y="879930"/>
                      </a:lnTo>
                      <a:lnTo>
                        <a:pt x="3271585" y="895373"/>
                      </a:lnTo>
                      <a:lnTo>
                        <a:pt x="3357069" y="895373"/>
                      </a:lnTo>
                      <a:lnTo>
                        <a:pt x="3357069" y="918780"/>
                      </a:lnTo>
                      <a:lnTo>
                        <a:pt x="3421141" y="918780"/>
                      </a:lnTo>
                      <a:lnTo>
                        <a:pt x="3421141" y="932897"/>
                      </a:lnTo>
                      <a:lnTo>
                        <a:pt x="3467046" y="932897"/>
                      </a:lnTo>
                      <a:lnTo>
                        <a:pt x="3467046" y="948340"/>
                      </a:lnTo>
                      <a:lnTo>
                        <a:pt x="3505814" y="948340"/>
                      </a:lnTo>
                      <a:lnTo>
                        <a:pt x="3505814" y="958355"/>
                      </a:lnTo>
                      <a:lnTo>
                        <a:pt x="3528361" y="958355"/>
                      </a:lnTo>
                      <a:lnTo>
                        <a:pt x="3528361" y="973798"/>
                      </a:lnTo>
                      <a:lnTo>
                        <a:pt x="3555450" y="973798"/>
                      </a:lnTo>
                      <a:lnTo>
                        <a:pt x="3555450" y="986467"/>
                      </a:lnTo>
                      <a:lnTo>
                        <a:pt x="3622929" y="986467"/>
                      </a:lnTo>
                      <a:lnTo>
                        <a:pt x="3622929" y="1004565"/>
                      </a:lnTo>
                      <a:lnTo>
                        <a:pt x="3695922" y="1004565"/>
                      </a:lnTo>
                      <a:lnTo>
                        <a:pt x="3695922" y="1020009"/>
                      </a:lnTo>
                      <a:lnTo>
                        <a:pt x="3712143" y="1020009"/>
                      </a:lnTo>
                      <a:lnTo>
                        <a:pt x="3777027" y="1020009"/>
                      </a:lnTo>
                      <a:lnTo>
                        <a:pt x="3777027" y="1038107"/>
                      </a:lnTo>
                      <a:lnTo>
                        <a:pt x="3793248" y="1038107"/>
                      </a:lnTo>
                      <a:lnTo>
                        <a:pt x="3793248" y="1048121"/>
                      </a:lnTo>
                      <a:lnTo>
                        <a:pt x="3833476" y="1048121"/>
                      </a:lnTo>
                      <a:lnTo>
                        <a:pt x="3833476" y="1066219"/>
                      </a:lnTo>
                      <a:lnTo>
                        <a:pt x="3847425" y="1066219"/>
                      </a:lnTo>
                      <a:lnTo>
                        <a:pt x="3847425" y="1076354"/>
                      </a:lnTo>
                      <a:lnTo>
                        <a:pt x="3882462" y="1076354"/>
                      </a:lnTo>
                      <a:lnTo>
                        <a:pt x="3882462" y="1092401"/>
                      </a:lnTo>
                      <a:lnTo>
                        <a:pt x="3901441" y="1092401"/>
                      </a:lnTo>
                      <a:lnTo>
                        <a:pt x="3955456" y="1092401"/>
                      </a:lnTo>
                      <a:lnTo>
                        <a:pt x="3955456" y="1124616"/>
                      </a:lnTo>
                      <a:lnTo>
                        <a:pt x="4001524" y="1124616"/>
                      </a:lnTo>
                      <a:lnTo>
                        <a:pt x="4023746" y="1124616"/>
                      </a:lnTo>
                      <a:lnTo>
                        <a:pt x="4023746" y="1139094"/>
                      </a:lnTo>
                      <a:lnTo>
                        <a:pt x="4048726" y="1139094"/>
                      </a:lnTo>
                      <a:lnTo>
                        <a:pt x="4048726" y="1145730"/>
                      </a:lnTo>
                      <a:lnTo>
                        <a:pt x="4063649" y="1145730"/>
                      </a:lnTo>
                      <a:lnTo>
                        <a:pt x="4063649" y="1162743"/>
                      </a:lnTo>
                      <a:lnTo>
                        <a:pt x="4125126" y="1162743"/>
                      </a:lnTo>
                      <a:lnTo>
                        <a:pt x="4125126" y="1174808"/>
                      </a:lnTo>
                      <a:lnTo>
                        <a:pt x="4148160" y="1174808"/>
                      </a:lnTo>
                      <a:lnTo>
                        <a:pt x="4148160" y="1187356"/>
                      </a:lnTo>
                      <a:lnTo>
                        <a:pt x="4162272" y="1187356"/>
                      </a:lnTo>
                      <a:lnTo>
                        <a:pt x="4162272" y="1199421"/>
                      </a:lnTo>
                      <a:lnTo>
                        <a:pt x="4186604" y="1199421"/>
                      </a:lnTo>
                      <a:lnTo>
                        <a:pt x="4186604" y="1209074"/>
                      </a:lnTo>
                      <a:lnTo>
                        <a:pt x="4446786" y="1209074"/>
                      </a:lnTo>
                      <a:lnTo>
                        <a:pt x="4446786" y="1219088"/>
                      </a:lnTo>
                      <a:lnTo>
                        <a:pt x="4488149" y="1219088"/>
                      </a:lnTo>
                      <a:lnTo>
                        <a:pt x="4488149" y="1228137"/>
                      </a:lnTo>
                      <a:lnTo>
                        <a:pt x="4501613" y="1228137"/>
                      </a:lnTo>
                      <a:lnTo>
                        <a:pt x="4501613" y="1244184"/>
                      </a:lnTo>
                      <a:lnTo>
                        <a:pt x="4571200" y="1244184"/>
                      </a:lnTo>
                      <a:lnTo>
                        <a:pt x="4571200" y="1255284"/>
                      </a:lnTo>
                      <a:lnTo>
                        <a:pt x="4600884" y="1255284"/>
                      </a:lnTo>
                      <a:lnTo>
                        <a:pt x="4600884" y="1264816"/>
                      </a:lnTo>
                      <a:lnTo>
                        <a:pt x="4619214" y="1264816"/>
                      </a:lnTo>
                      <a:lnTo>
                        <a:pt x="4619214" y="1272900"/>
                      </a:lnTo>
                      <a:lnTo>
                        <a:pt x="4707131" y="1272900"/>
                      </a:lnTo>
                      <a:lnTo>
                        <a:pt x="4707131" y="1281466"/>
                      </a:lnTo>
                      <a:lnTo>
                        <a:pt x="4728056" y="1281466"/>
                      </a:lnTo>
                      <a:lnTo>
                        <a:pt x="4728056" y="1290515"/>
                      </a:lnTo>
                      <a:lnTo>
                        <a:pt x="4740222" y="1290515"/>
                      </a:lnTo>
                      <a:lnTo>
                        <a:pt x="4740222" y="1301012"/>
                      </a:lnTo>
                      <a:lnTo>
                        <a:pt x="4817271" y="1301012"/>
                      </a:lnTo>
                      <a:lnTo>
                        <a:pt x="4817271" y="1312112"/>
                      </a:lnTo>
                      <a:lnTo>
                        <a:pt x="4861229" y="1312112"/>
                      </a:lnTo>
                      <a:lnTo>
                        <a:pt x="4861229" y="1327677"/>
                      </a:lnTo>
                      <a:lnTo>
                        <a:pt x="4880045" y="1327677"/>
                      </a:lnTo>
                      <a:lnTo>
                        <a:pt x="4880045" y="1332744"/>
                      </a:lnTo>
                      <a:lnTo>
                        <a:pt x="4919300" y="1332744"/>
                      </a:lnTo>
                      <a:lnTo>
                        <a:pt x="4919300" y="1341793"/>
                      </a:lnTo>
                      <a:lnTo>
                        <a:pt x="4930817" y="1341793"/>
                      </a:lnTo>
                      <a:lnTo>
                        <a:pt x="4930817" y="1348308"/>
                      </a:lnTo>
                      <a:lnTo>
                        <a:pt x="4973964" y="1348308"/>
                      </a:lnTo>
                      <a:lnTo>
                        <a:pt x="4973964" y="1356875"/>
                      </a:lnTo>
                      <a:lnTo>
                        <a:pt x="5032197" y="1356875"/>
                      </a:lnTo>
                      <a:lnTo>
                        <a:pt x="5032197" y="1365321"/>
                      </a:lnTo>
                      <a:lnTo>
                        <a:pt x="5061881" y="1365321"/>
                      </a:lnTo>
                      <a:lnTo>
                        <a:pt x="5061881" y="1373404"/>
                      </a:lnTo>
                      <a:lnTo>
                        <a:pt x="5094323" y="1373404"/>
                      </a:lnTo>
                      <a:lnTo>
                        <a:pt x="5094323" y="1393071"/>
                      </a:lnTo>
                      <a:lnTo>
                        <a:pt x="5150447" y="1393071"/>
                      </a:lnTo>
                      <a:lnTo>
                        <a:pt x="5150447" y="1406826"/>
                      </a:lnTo>
                      <a:lnTo>
                        <a:pt x="5213546" y="1406826"/>
                      </a:lnTo>
                      <a:lnTo>
                        <a:pt x="5213546" y="1430956"/>
                      </a:lnTo>
                      <a:lnTo>
                        <a:pt x="5285567" y="1430956"/>
                      </a:lnTo>
                      <a:lnTo>
                        <a:pt x="5285567" y="1448331"/>
                      </a:lnTo>
                      <a:lnTo>
                        <a:pt x="5339744" y="1448331"/>
                      </a:lnTo>
                      <a:lnTo>
                        <a:pt x="5381107" y="1448331"/>
                      </a:lnTo>
                      <a:lnTo>
                        <a:pt x="5381107" y="1463050"/>
                      </a:lnTo>
                      <a:lnTo>
                        <a:pt x="5433339" y="1463050"/>
                      </a:lnTo>
                      <a:lnTo>
                        <a:pt x="5433339" y="1477770"/>
                      </a:lnTo>
                      <a:lnTo>
                        <a:pt x="5492869" y="1477770"/>
                      </a:lnTo>
                      <a:lnTo>
                        <a:pt x="5492869" y="1487181"/>
                      </a:lnTo>
                      <a:lnTo>
                        <a:pt x="5559537" y="1487181"/>
                      </a:lnTo>
                      <a:lnTo>
                        <a:pt x="5559537" y="1497919"/>
                      </a:lnTo>
                      <a:lnTo>
                        <a:pt x="5631720" y="1497919"/>
                      </a:lnTo>
                      <a:lnTo>
                        <a:pt x="5631720" y="1511312"/>
                      </a:lnTo>
                      <a:lnTo>
                        <a:pt x="5698387" y="1511312"/>
                      </a:lnTo>
                      <a:lnTo>
                        <a:pt x="5698387" y="1526032"/>
                      </a:lnTo>
                      <a:lnTo>
                        <a:pt x="5770408" y="1526032"/>
                      </a:lnTo>
                      <a:lnTo>
                        <a:pt x="5770408" y="1540872"/>
                      </a:lnTo>
                      <a:lnTo>
                        <a:pt x="5811933" y="1540872"/>
                      </a:lnTo>
                      <a:lnTo>
                        <a:pt x="5811933" y="1562228"/>
                      </a:lnTo>
                      <a:lnTo>
                        <a:pt x="5875033" y="1562228"/>
                      </a:lnTo>
                      <a:lnTo>
                        <a:pt x="5927264" y="1562228"/>
                      </a:lnTo>
                      <a:lnTo>
                        <a:pt x="5927264" y="1579723"/>
                      </a:lnTo>
                      <a:lnTo>
                        <a:pt x="5963274" y="1579723"/>
                      </a:lnTo>
                      <a:lnTo>
                        <a:pt x="5963274" y="1593115"/>
                      </a:lnTo>
                      <a:lnTo>
                        <a:pt x="5995716" y="1593115"/>
                      </a:lnTo>
                      <a:lnTo>
                        <a:pt x="5995716" y="1610489"/>
                      </a:lnTo>
                      <a:lnTo>
                        <a:pt x="6183229" y="1610489"/>
                      </a:lnTo>
                      <a:lnTo>
                        <a:pt x="6183229" y="1626657"/>
                      </a:lnTo>
                      <a:lnTo>
                        <a:pt x="6253465" y="1626657"/>
                      </a:lnTo>
                      <a:lnTo>
                        <a:pt x="6253465" y="1646686"/>
                      </a:lnTo>
                      <a:lnTo>
                        <a:pt x="6282338" y="1646686"/>
                      </a:lnTo>
                      <a:lnTo>
                        <a:pt x="6282338" y="1678900"/>
                      </a:lnTo>
                      <a:lnTo>
                        <a:pt x="6321917" y="1678900"/>
                      </a:lnTo>
                      <a:lnTo>
                        <a:pt x="6321917" y="1701704"/>
                      </a:lnTo>
                      <a:lnTo>
                        <a:pt x="6383232" y="1701704"/>
                      </a:lnTo>
                      <a:lnTo>
                        <a:pt x="6383232" y="1713769"/>
                      </a:lnTo>
                      <a:lnTo>
                        <a:pt x="6430111" y="1713769"/>
                      </a:lnTo>
                      <a:lnTo>
                        <a:pt x="6430111" y="1731143"/>
                      </a:lnTo>
                      <a:lnTo>
                        <a:pt x="6550794" y="1731143"/>
                      </a:lnTo>
                      <a:lnTo>
                        <a:pt x="6550794" y="1759377"/>
                      </a:lnTo>
                      <a:lnTo>
                        <a:pt x="6792322" y="1759377"/>
                      </a:lnTo>
                      <a:lnTo>
                        <a:pt x="6792322" y="1782180"/>
                      </a:lnTo>
                      <a:lnTo>
                        <a:pt x="6812112" y="1782180"/>
                      </a:lnTo>
                      <a:lnTo>
                        <a:pt x="6811463" y="1830200"/>
                      </a:lnTo>
                      <a:lnTo>
                        <a:pt x="7007897" y="1830200"/>
                      </a:lnTo>
                      <a:lnTo>
                        <a:pt x="7600770" y="1830200"/>
                      </a:lnTo>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3" name="Freeform: Shape 92">
                  <a:extLst>
                    <a:ext uri="{FF2B5EF4-FFF2-40B4-BE49-F238E27FC236}">
                      <a16:creationId xmlns:a16="http://schemas.microsoft.com/office/drawing/2014/main" id="{AB56C117-05BC-3ED6-9ADE-DAAA5D623130}"/>
                    </a:ext>
                  </a:extLst>
                </p:cNvPr>
                <p:cNvSpPr/>
                <p:nvPr/>
              </p:nvSpPr>
              <p:spPr>
                <a:xfrm>
                  <a:off x="3544388" y="1787735"/>
                  <a:ext cx="47364" cy="35230"/>
                </a:xfrm>
                <a:custGeom>
                  <a:avLst/>
                  <a:gdLst>
                    <a:gd name="connsiteX0" fmla="*/ 47452 w 47364"/>
                    <a:gd name="connsiteY0" fmla="*/ 17634 h 35230"/>
                    <a:gd name="connsiteX1" fmla="*/ 23770 w 47364"/>
                    <a:gd name="connsiteY1" fmla="*/ 35249 h 35230"/>
                    <a:gd name="connsiteX2" fmla="*/ 87 w 47364"/>
                    <a:gd name="connsiteY2" fmla="*/ 17634 h 35230"/>
                    <a:gd name="connsiteX3" fmla="*/ 23770 w 47364"/>
                    <a:gd name="connsiteY3" fmla="*/ 18 h 35230"/>
                    <a:gd name="connsiteX4" fmla="*/ 47452 w 47364"/>
                    <a:gd name="connsiteY4" fmla="*/ 17634 h 35230"/>
                    <a:gd name="connsiteX5" fmla="*/ 47452 w 47364"/>
                    <a:gd name="connsiteY5" fmla="*/ 17634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452" y="17634"/>
                      </a:moveTo>
                      <a:cubicBezTo>
                        <a:pt x="47452" y="27407"/>
                        <a:pt x="36909" y="35249"/>
                        <a:pt x="23770" y="35249"/>
                      </a:cubicBezTo>
                      <a:cubicBezTo>
                        <a:pt x="10631" y="35249"/>
                        <a:pt x="87" y="27407"/>
                        <a:pt x="87" y="17634"/>
                      </a:cubicBezTo>
                      <a:cubicBezTo>
                        <a:pt x="87" y="7861"/>
                        <a:pt x="10631" y="18"/>
                        <a:pt x="23770" y="18"/>
                      </a:cubicBezTo>
                      <a:cubicBezTo>
                        <a:pt x="36909" y="18"/>
                        <a:pt x="47452" y="7861"/>
                        <a:pt x="47452" y="17634"/>
                      </a:cubicBezTo>
                      <a:lnTo>
                        <a:pt x="47452" y="17634"/>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4" name="Freeform: Shape 93">
                  <a:extLst>
                    <a:ext uri="{FF2B5EF4-FFF2-40B4-BE49-F238E27FC236}">
                      <a16:creationId xmlns:a16="http://schemas.microsoft.com/office/drawing/2014/main" id="{6CC52D5A-CE4A-B41F-D9C4-81654FEC0DC0}"/>
                    </a:ext>
                  </a:extLst>
                </p:cNvPr>
                <p:cNvSpPr/>
                <p:nvPr/>
              </p:nvSpPr>
              <p:spPr>
                <a:xfrm>
                  <a:off x="3830524" y="1864230"/>
                  <a:ext cx="47364" cy="35230"/>
                </a:xfrm>
                <a:custGeom>
                  <a:avLst/>
                  <a:gdLst>
                    <a:gd name="connsiteX0" fmla="*/ 47470 w 47364"/>
                    <a:gd name="connsiteY0" fmla="*/ 17640 h 35230"/>
                    <a:gd name="connsiteX1" fmla="*/ 23787 w 47364"/>
                    <a:gd name="connsiteY1" fmla="*/ 35256 h 35230"/>
                    <a:gd name="connsiteX2" fmla="*/ 105 w 47364"/>
                    <a:gd name="connsiteY2" fmla="*/ 17640 h 35230"/>
                    <a:gd name="connsiteX3" fmla="*/ 23787 w 47364"/>
                    <a:gd name="connsiteY3" fmla="*/ 25 h 35230"/>
                    <a:gd name="connsiteX4" fmla="*/ 47470 w 47364"/>
                    <a:gd name="connsiteY4" fmla="*/ 17640 h 35230"/>
                    <a:gd name="connsiteX5" fmla="*/ 47470 w 47364"/>
                    <a:gd name="connsiteY5" fmla="*/ 17640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470" y="17640"/>
                      </a:moveTo>
                      <a:cubicBezTo>
                        <a:pt x="47470" y="27413"/>
                        <a:pt x="36926" y="35256"/>
                        <a:pt x="23787" y="35256"/>
                      </a:cubicBezTo>
                      <a:cubicBezTo>
                        <a:pt x="10648" y="35256"/>
                        <a:pt x="105" y="27413"/>
                        <a:pt x="105" y="17640"/>
                      </a:cubicBezTo>
                      <a:cubicBezTo>
                        <a:pt x="105" y="7867"/>
                        <a:pt x="10648" y="25"/>
                        <a:pt x="23787" y="25"/>
                      </a:cubicBezTo>
                      <a:cubicBezTo>
                        <a:pt x="36926" y="25"/>
                        <a:pt x="47470" y="7867"/>
                        <a:pt x="47470" y="17640"/>
                      </a:cubicBezTo>
                      <a:lnTo>
                        <a:pt x="47470" y="17640"/>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5" name="Freeform: Shape 94">
                  <a:extLst>
                    <a:ext uri="{FF2B5EF4-FFF2-40B4-BE49-F238E27FC236}">
                      <a16:creationId xmlns:a16="http://schemas.microsoft.com/office/drawing/2014/main" id="{4A8B048D-F2F9-F9B7-8D35-DC8C012B6BE4}"/>
                    </a:ext>
                  </a:extLst>
                </p:cNvPr>
                <p:cNvSpPr/>
                <p:nvPr/>
              </p:nvSpPr>
              <p:spPr>
                <a:xfrm>
                  <a:off x="4065726" y="1948688"/>
                  <a:ext cx="47364" cy="35230"/>
                </a:xfrm>
                <a:custGeom>
                  <a:avLst/>
                  <a:gdLst>
                    <a:gd name="connsiteX0" fmla="*/ 47484 w 47364"/>
                    <a:gd name="connsiteY0" fmla="*/ 17647 h 35230"/>
                    <a:gd name="connsiteX1" fmla="*/ 23802 w 47364"/>
                    <a:gd name="connsiteY1" fmla="*/ 35263 h 35230"/>
                    <a:gd name="connsiteX2" fmla="*/ 119 w 47364"/>
                    <a:gd name="connsiteY2" fmla="*/ 17647 h 35230"/>
                    <a:gd name="connsiteX3" fmla="*/ 23802 w 47364"/>
                    <a:gd name="connsiteY3" fmla="*/ 32 h 35230"/>
                    <a:gd name="connsiteX4" fmla="*/ 47484 w 47364"/>
                    <a:gd name="connsiteY4" fmla="*/ 17647 h 35230"/>
                    <a:gd name="connsiteX5" fmla="*/ 47484 w 47364"/>
                    <a:gd name="connsiteY5" fmla="*/ 17647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484" y="17647"/>
                      </a:moveTo>
                      <a:cubicBezTo>
                        <a:pt x="47484" y="27420"/>
                        <a:pt x="36941" y="35263"/>
                        <a:pt x="23802" y="35263"/>
                      </a:cubicBezTo>
                      <a:cubicBezTo>
                        <a:pt x="10663" y="35263"/>
                        <a:pt x="119" y="27420"/>
                        <a:pt x="119" y="17647"/>
                      </a:cubicBezTo>
                      <a:cubicBezTo>
                        <a:pt x="119" y="7874"/>
                        <a:pt x="10663" y="32"/>
                        <a:pt x="23802" y="32"/>
                      </a:cubicBezTo>
                      <a:cubicBezTo>
                        <a:pt x="36941" y="32"/>
                        <a:pt x="47484" y="7874"/>
                        <a:pt x="47484" y="17647"/>
                      </a:cubicBezTo>
                      <a:lnTo>
                        <a:pt x="47484" y="17647"/>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6" name="Freeform: Shape 95">
                  <a:extLst>
                    <a:ext uri="{FF2B5EF4-FFF2-40B4-BE49-F238E27FC236}">
                      <a16:creationId xmlns:a16="http://schemas.microsoft.com/office/drawing/2014/main" id="{EE6B190A-5772-5721-86B2-2C7CE5047A4D}"/>
                    </a:ext>
                  </a:extLst>
                </p:cNvPr>
                <p:cNvSpPr/>
                <p:nvPr/>
              </p:nvSpPr>
              <p:spPr>
                <a:xfrm>
                  <a:off x="5112134" y="2319337"/>
                  <a:ext cx="47364" cy="35230"/>
                </a:xfrm>
                <a:custGeom>
                  <a:avLst/>
                  <a:gdLst>
                    <a:gd name="connsiteX0" fmla="*/ 47549 w 47364"/>
                    <a:gd name="connsiteY0" fmla="*/ 17678 h 35230"/>
                    <a:gd name="connsiteX1" fmla="*/ 23866 w 47364"/>
                    <a:gd name="connsiteY1" fmla="*/ 35293 h 35230"/>
                    <a:gd name="connsiteX2" fmla="*/ 184 w 47364"/>
                    <a:gd name="connsiteY2" fmla="*/ 17678 h 35230"/>
                    <a:gd name="connsiteX3" fmla="*/ 23866 w 47364"/>
                    <a:gd name="connsiteY3" fmla="*/ 62 h 35230"/>
                    <a:gd name="connsiteX4" fmla="*/ 47549 w 47364"/>
                    <a:gd name="connsiteY4" fmla="*/ 17678 h 35230"/>
                    <a:gd name="connsiteX5" fmla="*/ 47549 w 47364"/>
                    <a:gd name="connsiteY5" fmla="*/ 1767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549" y="17678"/>
                      </a:moveTo>
                      <a:cubicBezTo>
                        <a:pt x="47549" y="27451"/>
                        <a:pt x="37005" y="35293"/>
                        <a:pt x="23866" y="35293"/>
                      </a:cubicBezTo>
                      <a:cubicBezTo>
                        <a:pt x="10727" y="35293"/>
                        <a:pt x="184" y="27451"/>
                        <a:pt x="184" y="17678"/>
                      </a:cubicBezTo>
                      <a:cubicBezTo>
                        <a:pt x="184" y="7905"/>
                        <a:pt x="10727" y="62"/>
                        <a:pt x="23866" y="62"/>
                      </a:cubicBezTo>
                      <a:cubicBezTo>
                        <a:pt x="37005" y="62"/>
                        <a:pt x="47549" y="7905"/>
                        <a:pt x="47549" y="17678"/>
                      </a:cubicBezTo>
                      <a:lnTo>
                        <a:pt x="47549" y="17678"/>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7" name="Freeform: Shape 96">
                  <a:extLst>
                    <a:ext uri="{FF2B5EF4-FFF2-40B4-BE49-F238E27FC236}">
                      <a16:creationId xmlns:a16="http://schemas.microsoft.com/office/drawing/2014/main" id="{F06ACEAC-2F6A-D58D-E226-7A33BFC745BE}"/>
                    </a:ext>
                  </a:extLst>
                </p:cNvPr>
                <p:cNvSpPr/>
                <p:nvPr/>
              </p:nvSpPr>
              <p:spPr>
                <a:xfrm>
                  <a:off x="5332413" y="2397038"/>
                  <a:ext cx="47364" cy="35230"/>
                </a:xfrm>
                <a:custGeom>
                  <a:avLst/>
                  <a:gdLst>
                    <a:gd name="connsiteX0" fmla="*/ 47562 w 47364"/>
                    <a:gd name="connsiteY0" fmla="*/ 17684 h 35230"/>
                    <a:gd name="connsiteX1" fmla="*/ 23880 w 47364"/>
                    <a:gd name="connsiteY1" fmla="*/ 35300 h 35230"/>
                    <a:gd name="connsiteX2" fmla="*/ 197 w 47364"/>
                    <a:gd name="connsiteY2" fmla="*/ 17684 h 35230"/>
                    <a:gd name="connsiteX3" fmla="*/ 23880 w 47364"/>
                    <a:gd name="connsiteY3" fmla="*/ 69 h 35230"/>
                    <a:gd name="connsiteX4" fmla="*/ 47562 w 47364"/>
                    <a:gd name="connsiteY4" fmla="*/ 17684 h 35230"/>
                    <a:gd name="connsiteX5" fmla="*/ 47562 w 47364"/>
                    <a:gd name="connsiteY5" fmla="*/ 17684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562" y="17684"/>
                      </a:moveTo>
                      <a:cubicBezTo>
                        <a:pt x="47562" y="27457"/>
                        <a:pt x="37019" y="35300"/>
                        <a:pt x="23880" y="35300"/>
                      </a:cubicBezTo>
                      <a:cubicBezTo>
                        <a:pt x="10741" y="35300"/>
                        <a:pt x="197" y="27457"/>
                        <a:pt x="197" y="17684"/>
                      </a:cubicBezTo>
                      <a:cubicBezTo>
                        <a:pt x="197" y="7911"/>
                        <a:pt x="10741" y="69"/>
                        <a:pt x="23880" y="69"/>
                      </a:cubicBezTo>
                      <a:cubicBezTo>
                        <a:pt x="37019" y="69"/>
                        <a:pt x="47562" y="7911"/>
                        <a:pt x="47562" y="17684"/>
                      </a:cubicBezTo>
                      <a:lnTo>
                        <a:pt x="47562" y="17684"/>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8" name="Freeform: Shape 97">
                  <a:extLst>
                    <a:ext uri="{FF2B5EF4-FFF2-40B4-BE49-F238E27FC236}">
                      <a16:creationId xmlns:a16="http://schemas.microsoft.com/office/drawing/2014/main" id="{3BA59D53-96FA-12BC-4BCA-DDD09B86C431}"/>
                    </a:ext>
                  </a:extLst>
                </p:cNvPr>
                <p:cNvSpPr/>
                <p:nvPr/>
              </p:nvSpPr>
              <p:spPr>
                <a:xfrm>
                  <a:off x="5618549" y="2480772"/>
                  <a:ext cx="47364" cy="35230"/>
                </a:xfrm>
                <a:custGeom>
                  <a:avLst/>
                  <a:gdLst>
                    <a:gd name="connsiteX0" fmla="*/ 47580 w 47364"/>
                    <a:gd name="connsiteY0" fmla="*/ 17691 h 35230"/>
                    <a:gd name="connsiteX1" fmla="*/ 23898 w 47364"/>
                    <a:gd name="connsiteY1" fmla="*/ 35307 h 35230"/>
                    <a:gd name="connsiteX2" fmla="*/ 215 w 47364"/>
                    <a:gd name="connsiteY2" fmla="*/ 17691 h 35230"/>
                    <a:gd name="connsiteX3" fmla="*/ 23898 w 47364"/>
                    <a:gd name="connsiteY3" fmla="*/ 76 h 35230"/>
                    <a:gd name="connsiteX4" fmla="*/ 47580 w 47364"/>
                    <a:gd name="connsiteY4" fmla="*/ 17691 h 35230"/>
                    <a:gd name="connsiteX5" fmla="*/ 47580 w 47364"/>
                    <a:gd name="connsiteY5" fmla="*/ 17691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580" y="17691"/>
                      </a:moveTo>
                      <a:cubicBezTo>
                        <a:pt x="47580" y="27464"/>
                        <a:pt x="37036" y="35307"/>
                        <a:pt x="23898" y="35307"/>
                      </a:cubicBezTo>
                      <a:cubicBezTo>
                        <a:pt x="10759" y="35307"/>
                        <a:pt x="215" y="27464"/>
                        <a:pt x="215" y="17691"/>
                      </a:cubicBezTo>
                      <a:cubicBezTo>
                        <a:pt x="215" y="7918"/>
                        <a:pt x="10759" y="76"/>
                        <a:pt x="23898" y="76"/>
                      </a:cubicBezTo>
                      <a:cubicBezTo>
                        <a:pt x="37036" y="76"/>
                        <a:pt x="47580" y="7918"/>
                        <a:pt x="47580" y="17691"/>
                      </a:cubicBezTo>
                      <a:lnTo>
                        <a:pt x="47580" y="17691"/>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9" name="Freeform: Shape 98">
                  <a:extLst>
                    <a:ext uri="{FF2B5EF4-FFF2-40B4-BE49-F238E27FC236}">
                      <a16:creationId xmlns:a16="http://schemas.microsoft.com/office/drawing/2014/main" id="{05509B56-FDFF-7E7B-B33A-0469CA844CE9}"/>
                    </a:ext>
                  </a:extLst>
                </p:cNvPr>
                <p:cNvSpPr/>
                <p:nvPr/>
              </p:nvSpPr>
              <p:spPr>
                <a:xfrm>
                  <a:off x="5708575" y="2504420"/>
                  <a:ext cx="47364" cy="35230"/>
                </a:xfrm>
                <a:custGeom>
                  <a:avLst/>
                  <a:gdLst>
                    <a:gd name="connsiteX0" fmla="*/ 47586 w 47364"/>
                    <a:gd name="connsiteY0" fmla="*/ 17693 h 35230"/>
                    <a:gd name="connsiteX1" fmla="*/ 23903 w 47364"/>
                    <a:gd name="connsiteY1" fmla="*/ 35309 h 35230"/>
                    <a:gd name="connsiteX2" fmla="*/ 221 w 47364"/>
                    <a:gd name="connsiteY2" fmla="*/ 17693 h 35230"/>
                    <a:gd name="connsiteX3" fmla="*/ 23903 w 47364"/>
                    <a:gd name="connsiteY3" fmla="*/ 78 h 35230"/>
                    <a:gd name="connsiteX4" fmla="*/ 47586 w 47364"/>
                    <a:gd name="connsiteY4" fmla="*/ 17693 h 35230"/>
                    <a:gd name="connsiteX5" fmla="*/ 47586 w 47364"/>
                    <a:gd name="connsiteY5" fmla="*/ 17693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586" y="17693"/>
                      </a:moveTo>
                      <a:cubicBezTo>
                        <a:pt x="47586" y="27466"/>
                        <a:pt x="37042" y="35309"/>
                        <a:pt x="23903" y="35309"/>
                      </a:cubicBezTo>
                      <a:cubicBezTo>
                        <a:pt x="10764" y="35309"/>
                        <a:pt x="221" y="27466"/>
                        <a:pt x="221" y="17693"/>
                      </a:cubicBezTo>
                      <a:cubicBezTo>
                        <a:pt x="221" y="7920"/>
                        <a:pt x="10764" y="78"/>
                        <a:pt x="23903" y="78"/>
                      </a:cubicBezTo>
                      <a:cubicBezTo>
                        <a:pt x="37042" y="78"/>
                        <a:pt x="47586" y="7920"/>
                        <a:pt x="47586" y="17693"/>
                      </a:cubicBezTo>
                      <a:lnTo>
                        <a:pt x="47586" y="17693"/>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0" name="Freeform: Shape 99">
                  <a:extLst>
                    <a:ext uri="{FF2B5EF4-FFF2-40B4-BE49-F238E27FC236}">
                      <a16:creationId xmlns:a16="http://schemas.microsoft.com/office/drawing/2014/main" id="{6C926CA0-F3CD-8A32-3C31-C6766FC587BB}"/>
                    </a:ext>
                  </a:extLst>
                </p:cNvPr>
                <p:cNvSpPr/>
                <p:nvPr/>
              </p:nvSpPr>
              <p:spPr>
                <a:xfrm>
                  <a:off x="6271114" y="2712428"/>
                  <a:ext cx="47364" cy="35230"/>
                </a:xfrm>
                <a:custGeom>
                  <a:avLst/>
                  <a:gdLst>
                    <a:gd name="connsiteX0" fmla="*/ 47620 w 47364"/>
                    <a:gd name="connsiteY0" fmla="*/ 17710 h 35230"/>
                    <a:gd name="connsiteX1" fmla="*/ 23938 w 47364"/>
                    <a:gd name="connsiteY1" fmla="*/ 35326 h 35230"/>
                    <a:gd name="connsiteX2" fmla="*/ 255 w 47364"/>
                    <a:gd name="connsiteY2" fmla="*/ 17710 h 35230"/>
                    <a:gd name="connsiteX3" fmla="*/ 23938 w 47364"/>
                    <a:gd name="connsiteY3" fmla="*/ 95 h 35230"/>
                    <a:gd name="connsiteX4" fmla="*/ 47620 w 47364"/>
                    <a:gd name="connsiteY4" fmla="*/ 17710 h 35230"/>
                    <a:gd name="connsiteX5" fmla="*/ 47620 w 47364"/>
                    <a:gd name="connsiteY5" fmla="*/ 17710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20" y="17710"/>
                      </a:moveTo>
                      <a:cubicBezTo>
                        <a:pt x="47620" y="27483"/>
                        <a:pt x="37077" y="35326"/>
                        <a:pt x="23938" y="35326"/>
                      </a:cubicBezTo>
                      <a:cubicBezTo>
                        <a:pt x="10799" y="35326"/>
                        <a:pt x="255" y="27483"/>
                        <a:pt x="255" y="17710"/>
                      </a:cubicBezTo>
                      <a:cubicBezTo>
                        <a:pt x="255" y="7937"/>
                        <a:pt x="10799" y="95"/>
                        <a:pt x="23938" y="95"/>
                      </a:cubicBezTo>
                      <a:cubicBezTo>
                        <a:pt x="37077" y="95"/>
                        <a:pt x="47620" y="7937"/>
                        <a:pt x="47620" y="17710"/>
                      </a:cubicBezTo>
                      <a:lnTo>
                        <a:pt x="47620" y="17710"/>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1" name="Freeform: Shape 100">
                  <a:extLst>
                    <a:ext uri="{FF2B5EF4-FFF2-40B4-BE49-F238E27FC236}">
                      <a16:creationId xmlns:a16="http://schemas.microsoft.com/office/drawing/2014/main" id="{1EADA9B5-5ADA-B54C-CBA2-79E36B68382C}"/>
                    </a:ext>
                  </a:extLst>
                </p:cNvPr>
                <p:cNvSpPr/>
                <p:nvPr/>
              </p:nvSpPr>
              <p:spPr>
                <a:xfrm>
                  <a:off x="6692370" y="2779391"/>
                  <a:ext cx="47364" cy="35230"/>
                </a:xfrm>
                <a:custGeom>
                  <a:avLst/>
                  <a:gdLst>
                    <a:gd name="connsiteX0" fmla="*/ 47646 w 47364"/>
                    <a:gd name="connsiteY0" fmla="*/ 17716 h 35230"/>
                    <a:gd name="connsiteX1" fmla="*/ 23964 w 47364"/>
                    <a:gd name="connsiteY1" fmla="*/ 35331 h 35230"/>
                    <a:gd name="connsiteX2" fmla="*/ 281 w 47364"/>
                    <a:gd name="connsiteY2" fmla="*/ 17716 h 35230"/>
                    <a:gd name="connsiteX3" fmla="*/ 23964 w 47364"/>
                    <a:gd name="connsiteY3" fmla="*/ 100 h 35230"/>
                    <a:gd name="connsiteX4" fmla="*/ 47646 w 47364"/>
                    <a:gd name="connsiteY4" fmla="*/ 17716 h 35230"/>
                    <a:gd name="connsiteX5" fmla="*/ 47646 w 47364"/>
                    <a:gd name="connsiteY5" fmla="*/ 1771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46" y="17716"/>
                      </a:moveTo>
                      <a:cubicBezTo>
                        <a:pt x="47646" y="27489"/>
                        <a:pt x="37103" y="35331"/>
                        <a:pt x="23964" y="35331"/>
                      </a:cubicBezTo>
                      <a:cubicBezTo>
                        <a:pt x="10825" y="35331"/>
                        <a:pt x="281" y="27489"/>
                        <a:pt x="281" y="17716"/>
                      </a:cubicBezTo>
                      <a:cubicBezTo>
                        <a:pt x="281" y="7943"/>
                        <a:pt x="10825" y="100"/>
                        <a:pt x="23964" y="100"/>
                      </a:cubicBezTo>
                      <a:cubicBezTo>
                        <a:pt x="37103" y="100"/>
                        <a:pt x="47646" y="7943"/>
                        <a:pt x="47646" y="17716"/>
                      </a:cubicBezTo>
                      <a:lnTo>
                        <a:pt x="47646" y="1771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2" name="Freeform: Shape 101">
                  <a:extLst>
                    <a:ext uri="{FF2B5EF4-FFF2-40B4-BE49-F238E27FC236}">
                      <a16:creationId xmlns:a16="http://schemas.microsoft.com/office/drawing/2014/main" id="{54ED906D-8102-D3DC-1515-B97DF3DF2C41}"/>
                    </a:ext>
                  </a:extLst>
                </p:cNvPr>
                <p:cNvSpPr/>
                <p:nvPr/>
              </p:nvSpPr>
              <p:spPr>
                <a:xfrm>
                  <a:off x="7283944" y="2925261"/>
                  <a:ext cx="47364" cy="35230"/>
                </a:xfrm>
                <a:custGeom>
                  <a:avLst/>
                  <a:gdLst>
                    <a:gd name="connsiteX0" fmla="*/ 47683 w 47364"/>
                    <a:gd name="connsiteY0" fmla="*/ 17728 h 35230"/>
                    <a:gd name="connsiteX1" fmla="*/ 24000 w 47364"/>
                    <a:gd name="connsiteY1" fmla="*/ 35343 h 35230"/>
                    <a:gd name="connsiteX2" fmla="*/ 318 w 47364"/>
                    <a:gd name="connsiteY2" fmla="*/ 17728 h 35230"/>
                    <a:gd name="connsiteX3" fmla="*/ 24000 w 47364"/>
                    <a:gd name="connsiteY3" fmla="*/ 112 h 35230"/>
                    <a:gd name="connsiteX4" fmla="*/ 47683 w 47364"/>
                    <a:gd name="connsiteY4" fmla="*/ 17728 h 35230"/>
                    <a:gd name="connsiteX5" fmla="*/ 47683 w 47364"/>
                    <a:gd name="connsiteY5" fmla="*/ 1772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83" y="17728"/>
                      </a:moveTo>
                      <a:cubicBezTo>
                        <a:pt x="47683" y="27501"/>
                        <a:pt x="37139" y="35343"/>
                        <a:pt x="24000" y="35343"/>
                      </a:cubicBezTo>
                      <a:cubicBezTo>
                        <a:pt x="10861" y="35343"/>
                        <a:pt x="318" y="27501"/>
                        <a:pt x="318" y="17728"/>
                      </a:cubicBezTo>
                      <a:cubicBezTo>
                        <a:pt x="318" y="7955"/>
                        <a:pt x="10861" y="112"/>
                        <a:pt x="24000" y="112"/>
                      </a:cubicBezTo>
                      <a:cubicBezTo>
                        <a:pt x="37139" y="112"/>
                        <a:pt x="47683" y="7955"/>
                        <a:pt x="47683" y="17728"/>
                      </a:cubicBezTo>
                      <a:lnTo>
                        <a:pt x="47683" y="17728"/>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3" name="Freeform: Shape 102">
                  <a:extLst>
                    <a:ext uri="{FF2B5EF4-FFF2-40B4-BE49-F238E27FC236}">
                      <a16:creationId xmlns:a16="http://schemas.microsoft.com/office/drawing/2014/main" id="{712EAC63-2BD9-F3EB-8C9C-4D9C3BF8A4A5}"/>
                    </a:ext>
                  </a:extLst>
                </p:cNvPr>
                <p:cNvSpPr/>
                <p:nvPr/>
              </p:nvSpPr>
              <p:spPr>
                <a:xfrm>
                  <a:off x="7328876" y="2942877"/>
                  <a:ext cx="47364" cy="35230"/>
                </a:xfrm>
                <a:custGeom>
                  <a:avLst/>
                  <a:gdLst>
                    <a:gd name="connsiteX0" fmla="*/ 47685 w 47364"/>
                    <a:gd name="connsiteY0" fmla="*/ 17729 h 35230"/>
                    <a:gd name="connsiteX1" fmla="*/ 24003 w 47364"/>
                    <a:gd name="connsiteY1" fmla="*/ 35345 h 35230"/>
                    <a:gd name="connsiteX2" fmla="*/ 321 w 47364"/>
                    <a:gd name="connsiteY2" fmla="*/ 17729 h 35230"/>
                    <a:gd name="connsiteX3" fmla="*/ 24003 w 47364"/>
                    <a:gd name="connsiteY3" fmla="*/ 114 h 35230"/>
                    <a:gd name="connsiteX4" fmla="*/ 47685 w 47364"/>
                    <a:gd name="connsiteY4" fmla="*/ 17729 h 35230"/>
                    <a:gd name="connsiteX5" fmla="*/ 47685 w 47364"/>
                    <a:gd name="connsiteY5" fmla="*/ 17729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85" y="17729"/>
                      </a:moveTo>
                      <a:cubicBezTo>
                        <a:pt x="47685" y="27502"/>
                        <a:pt x="37142" y="35345"/>
                        <a:pt x="24003" y="35345"/>
                      </a:cubicBezTo>
                      <a:cubicBezTo>
                        <a:pt x="10864" y="35345"/>
                        <a:pt x="321" y="27502"/>
                        <a:pt x="321" y="17729"/>
                      </a:cubicBezTo>
                      <a:cubicBezTo>
                        <a:pt x="321" y="7956"/>
                        <a:pt x="10864" y="114"/>
                        <a:pt x="24003" y="114"/>
                      </a:cubicBezTo>
                      <a:cubicBezTo>
                        <a:pt x="37142" y="114"/>
                        <a:pt x="47685" y="7956"/>
                        <a:pt x="47685" y="17729"/>
                      </a:cubicBezTo>
                      <a:lnTo>
                        <a:pt x="47685" y="17729"/>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4" name="Freeform: Shape 103">
                  <a:extLst>
                    <a:ext uri="{FF2B5EF4-FFF2-40B4-BE49-F238E27FC236}">
                      <a16:creationId xmlns:a16="http://schemas.microsoft.com/office/drawing/2014/main" id="{EC860A48-BC23-1AA8-03C5-51922518E8F3}"/>
                    </a:ext>
                  </a:extLst>
                </p:cNvPr>
                <p:cNvSpPr/>
                <p:nvPr/>
              </p:nvSpPr>
              <p:spPr>
                <a:xfrm>
                  <a:off x="7384352" y="2960492"/>
                  <a:ext cx="47364" cy="35230"/>
                </a:xfrm>
                <a:custGeom>
                  <a:avLst/>
                  <a:gdLst>
                    <a:gd name="connsiteX0" fmla="*/ 47689 w 47364"/>
                    <a:gd name="connsiteY0" fmla="*/ 17731 h 35230"/>
                    <a:gd name="connsiteX1" fmla="*/ 24006 w 47364"/>
                    <a:gd name="connsiteY1" fmla="*/ 35346 h 35230"/>
                    <a:gd name="connsiteX2" fmla="*/ 324 w 47364"/>
                    <a:gd name="connsiteY2" fmla="*/ 17731 h 35230"/>
                    <a:gd name="connsiteX3" fmla="*/ 24006 w 47364"/>
                    <a:gd name="connsiteY3" fmla="*/ 115 h 35230"/>
                    <a:gd name="connsiteX4" fmla="*/ 47689 w 47364"/>
                    <a:gd name="connsiteY4" fmla="*/ 17731 h 35230"/>
                    <a:gd name="connsiteX5" fmla="*/ 47689 w 47364"/>
                    <a:gd name="connsiteY5" fmla="*/ 17731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89" y="17731"/>
                      </a:moveTo>
                      <a:cubicBezTo>
                        <a:pt x="47689" y="27504"/>
                        <a:pt x="37145" y="35346"/>
                        <a:pt x="24006" y="35346"/>
                      </a:cubicBezTo>
                      <a:cubicBezTo>
                        <a:pt x="10867" y="35346"/>
                        <a:pt x="324" y="27504"/>
                        <a:pt x="324" y="17731"/>
                      </a:cubicBezTo>
                      <a:cubicBezTo>
                        <a:pt x="324" y="7958"/>
                        <a:pt x="10867" y="115"/>
                        <a:pt x="24006" y="115"/>
                      </a:cubicBezTo>
                      <a:cubicBezTo>
                        <a:pt x="37145" y="115"/>
                        <a:pt x="47689" y="7958"/>
                        <a:pt x="47689" y="17731"/>
                      </a:cubicBezTo>
                      <a:lnTo>
                        <a:pt x="47689" y="17731"/>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5" name="Freeform: Shape 104">
                  <a:extLst>
                    <a:ext uri="{FF2B5EF4-FFF2-40B4-BE49-F238E27FC236}">
                      <a16:creationId xmlns:a16="http://schemas.microsoft.com/office/drawing/2014/main" id="{D12423F8-6BB4-A55D-5505-7A93AEDAD5B7}"/>
                    </a:ext>
                  </a:extLst>
                </p:cNvPr>
                <p:cNvSpPr/>
                <p:nvPr/>
              </p:nvSpPr>
              <p:spPr>
                <a:xfrm>
                  <a:off x="7409332" y="2967008"/>
                  <a:ext cx="47364" cy="35230"/>
                </a:xfrm>
                <a:custGeom>
                  <a:avLst/>
                  <a:gdLst>
                    <a:gd name="connsiteX0" fmla="*/ 47690 w 47364"/>
                    <a:gd name="connsiteY0" fmla="*/ 17731 h 35230"/>
                    <a:gd name="connsiteX1" fmla="*/ 24008 w 47364"/>
                    <a:gd name="connsiteY1" fmla="*/ 35347 h 35230"/>
                    <a:gd name="connsiteX2" fmla="*/ 325 w 47364"/>
                    <a:gd name="connsiteY2" fmla="*/ 17731 h 35230"/>
                    <a:gd name="connsiteX3" fmla="*/ 24008 w 47364"/>
                    <a:gd name="connsiteY3" fmla="*/ 116 h 35230"/>
                    <a:gd name="connsiteX4" fmla="*/ 47690 w 47364"/>
                    <a:gd name="connsiteY4" fmla="*/ 17731 h 35230"/>
                    <a:gd name="connsiteX5" fmla="*/ 47690 w 47364"/>
                    <a:gd name="connsiteY5" fmla="*/ 17731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90" y="17731"/>
                      </a:moveTo>
                      <a:cubicBezTo>
                        <a:pt x="47690" y="27504"/>
                        <a:pt x="37147" y="35347"/>
                        <a:pt x="24008" y="35347"/>
                      </a:cubicBezTo>
                      <a:cubicBezTo>
                        <a:pt x="10869" y="35347"/>
                        <a:pt x="325" y="27504"/>
                        <a:pt x="325" y="17731"/>
                      </a:cubicBezTo>
                      <a:cubicBezTo>
                        <a:pt x="325" y="7958"/>
                        <a:pt x="10869" y="116"/>
                        <a:pt x="24008" y="116"/>
                      </a:cubicBezTo>
                      <a:cubicBezTo>
                        <a:pt x="37147" y="116"/>
                        <a:pt x="47690" y="7958"/>
                        <a:pt x="47690" y="17731"/>
                      </a:cubicBezTo>
                      <a:lnTo>
                        <a:pt x="47690" y="17731"/>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6" name="Freeform: Shape 105">
                  <a:extLst>
                    <a:ext uri="{FF2B5EF4-FFF2-40B4-BE49-F238E27FC236}">
                      <a16:creationId xmlns:a16="http://schemas.microsoft.com/office/drawing/2014/main" id="{DA9AB458-3755-DC39-35BC-18994343C4B5}"/>
                    </a:ext>
                  </a:extLst>
                </p:cNvPr>
                <p:cNvSpPr/>
                <p:nvPr/>
              </p:nvSpPr>
              <p:spPr>
                <a:xfrm>
                  <a:off x="7433014" y="2972558"/>
                  <a:ext cx="47364" cy="35230"/>
                </a:xfrm>
                <a:custGeom>
                  <a:avLst/>
                  <a:gdLst>
                    <a:gd name="connsiteX0" fmla="*/ 47692 w 47364"/>
                    <a:gd name="connsiteY0" fmla="*/ 17732 h 35230"/>
                    <a:gd name="connsiteX1" fmla="*/ 24009 w 47364"/>
                    <a:gd name="connsiteY1" fmla="*/ 35347 h 35230"/>
                    <a:gd name="connsiteX2" fmla="*/ 327 w 47364"/>
                    <a:gd name="connsiteY2" fmla="*/ 17732 h 35230"/>
                    <a:gd name="connsiteX3" fmla="*/ 24009 w 47364"/>
                    <a:gd name="connsiteY3" fmla="*/ 116 h 35230"/>
                    <a:gd name="connsiteX4" fmla="*/ 47692 w 47364"/>
                    <a:gd name="connsiteY4" fmla="*/ 17732 h 35230"/>
                    <a:gd name="connsiteX5" fmla="*/ 47692 w 47364"/>
                    <a:gd name="connsiteY5" fmla="*/ 17732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92" y="17732"/>
                      </a:moveTo>
                      <a:cubicBezTo>
                        <a:pt x="47692" y="27505"/>
                        <a:pt x="37148" y="35347"/>
                        <a:pt x="24009" y="35347"/>
                      </a:cubicBezTo>
                      <a:cubicBezTo>
                        <a:pt x="10870" y="35347"/>
                        <a:pt x="327" y="27505"/>
                        <a:pt x="327" y="17732"/>
                      </a:cubicBezTo>
                      <a:cubicBezTo>
                        <a:pt x="327" y="7959"/>
                        <a:pt x="10870" y="116"/>
                        <a:pt x="24009" y="116"/>
                      </a:cubicBezTo>
                      <a:cubicBezTo>
                        <a:pt x="37148" y="116"/>
                        <a:pt x="47692" y="7959"/>
                        <a:pt x="47692" y="17732"/>
                      </a:cubicBezTo>
                      <a:lnTo>
                        <a:pt x="47692" y="17732"/>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7" name="Freeform: Shape 106">
                  <a:extLst>
                    <a:ext uri="{FF2B5EF4-FFF2-40B4-BE49-F238E27FC236}">
                      <a16:creationId xmlns:a16="http://schemas.microsoft.com/office/drawing/2014/main" id="{6330A84E-F75C-C5BD-FB32-463B4235FDB8}"/>
                    </a:ext>
                  </a:extLst>
                </p:cNvPr>
                <p:cNvSpPr/>
                <p:nvPr/>
              </p:nvSpPr>
              <p:spPr>
                <a:xfrm>
                  <a:off x="7481677" y="2984623"/>
                  <a:ext cx="47364" cy="35230"/>
                </a:xfrm>
                <a:custGeom>
                  <a:avLst/>
                  <a:gdLst>
                    <a:gd name="connsiteX0" fmla="*/ 47695 w 47364"/>
                    <a:gd name="connsiteY0" fmla="*/ 17733 h 35230"/>
                    <a:gd name="connsiteX1" fmla="*/ 24012 w 47364"/>
                    <a:gd name="connsiteY1" fmla="*/ 35348 h 35230"/>
                    <a:gd name="connsiteX2" fmla="*/ 330 w 47364"/>
                    <a:gd name="connsiteY2" fmla="*/ 17733 h 35230"/>
                    <a:gd name="connsiteX3" fmla="*/ 24012 w 47364"/>
                    <a:gd name="connsiteY3" fmla="*/ 117 h 35230"/>
                    <a:gd name="connsiteX4" fmla="*/ 47695 w 47364"/>
                    <a:gd name="connsiteY4" fmla="*/ 17733 h 35230"/>
                    <a:gd name="connsiteX5" fmla="*/ 47695 w 47364"/>
                    <a:gd name="connsiteY5" fmla="*/ 17733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95" y="17733"/>
                      </a:moveTo>
                      <a:cubicBezTo>
                        <a:pt x="47695" y="27506"/>
                        <a:pt x="37151" y="35348"/>
                        <a:pt x="24012" y="35348"/>
                      </a:cubicBezTo>
                      <a:cubicBezTo>
                        <a:pt x="10873" y="35348"/>
                        <a:pt x="330" y="27506"/>
                        <a:pt x="330" y="17733"/>
                      </a:cubicBezTo>
                      <a:cubicBezTo>
                        <a:pt x="330" y="7960"/>
                        <a:pt x="10873" y="117"/>
                        <a:pt x="24012" y="117"/>
                      </a:cubicBezTo>
                      <a:cubicBezTo>
                        <a:pt x="37151" y="117"/>
                        <a:pt x="47695" y="7960"/>
                        <a:pt x="47695" y="17733"/>
                      </a:cubicBezTo>
                      <a:lnTo>
                        <a:pt x="47695" y="17733"/>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8" name="Freeform: Shape 107">
                  <a:extLst>
                    <a:ext uri="{FF2B5EF4-FFF2-40B4-BE49-F238E27FC236}">
                      <a16:creationId xmlns:a16="http://schemas.microsoft.com/office/drawing/2014/main" id="{4AC07A30-CCED-078B-3875-5FCFACE8AD71}"/>
                    </a:ext>
                  </a:extLst>
                </p:cNvPr>
                <p:cNvSpPr/>
                <p:nvPr/>
              </p:nvSpPr>
              <p:spPr>
                <a:xfrm>
                  <a:off x="7530339" y="2996688"/>
                  <a:ext cx="47364" cy="35230"/>
                </a:xfrm>
                <a:custGeom>
                  <a:avLst/>
                  <a:gdLst>
                    <a:gd name="connsiteX0" fmla="*/ 47698 w 47364"/>
                    <a:gd name="connsiteY0" fmla="*/ 17734 h 35230"/>
                    <a:gd name="connsiteX1" fmla="*/ 24015 w 47364"/>
                    <a:gd name="connsiteY1" fmla="*/ 35349 h 35230"/>
                    <a:gd name="connsiteX2" fmla="*/ 333 w 47364"/>
                    <a:gd name="connsiteY2" fmla="*/ 17734 h 35230"/>
                    <a:gd name="connsiteX3" fmla="*/ 24015 w 47364"/>
                    <a:gd name="connsiteY3" fmla="*/ 118 h 35230"/>
                    <a:gd name="connsiteX4" fmla="*/ 47698 w 47364"/>
                    <a:gd name="connsiteY4" fmla="*/ 17734 h 35230"/>
                    <a:gd name="connsiteX5" fmla="*/ 47698 w 47364"/>
                    <a:gd name="connsiteY5" fmla="*/ 17734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98" y="17734"/>
                      </a:moveTo>
                      <a:cubicBezTo>
                        <a:pt x="47698" y="27507"/>
                        <a:pt x="37154" y="35349"/>
                        <a:pt x="24015" y="35349"/>
                      </a:cubicBezTo>
                      <a:cubicBezTo>
                        <a:pt x="10876" y="35349"/>
                        <a:pt x="333" y="27507"/>
                        <a:pt x="333" y="17734"/>
                      </a:cubicBezTo>
                      <a:cubicBezTo>
                        <a:pt x="333" y="7961"/>
                        <a:pt x="10876" y="118"/>
                        <a:pt x="24015" y="118"/>
                      </a:cubicBezTo>
                      <a:cubicBezTo>
                        <a:pt x="37154" y="118"/>
                        <a:pt x="47698" y="7961"/>
                        <a:pt x="47698" y="17734"/>
                      </a:cubicBezTo>
                      <a:lnTo>
                        <a:pt x="47698" y="17734"/>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9" name="Freeform: Shape 108">
                  <a:extLst>
                    <a:ext uri="{FF2B5EF4-FFF2-40B4-BE49-F238E27FC236}">
                      <a16:creationId xmlns:a16="http://schemas.microsoft.com/office/drawing/2014/main" id="{66E90FF5-7E5D-5807-53E6-387EFD5FDDDE}"/>
                    </a:ext>
                  </a:extLst>
                </p:cNvPr>
                <p:cNvSpPr/>
                <p:nvPr/>
              </p:nvSpPr>
              <p:spPr>
                <a:xfrm>
                  <a:off x="7579002" y="3008754"/>
                  <a:ext cx="47364" cy="35230"/>
                </a:xfrm>
                <a:custGeom>
                  <a:avLst/>
                  <a:gdLst>
                    <a:gd name="connsiteX0" fmla="*/ 47701 w 47364"/>
                    <a:gd name="connsiteY0" fmla="*/ 17735 h 35230"/>
                    <a:gd name="connsiteX1" fmla="*/ 24018 w 47364"/>
                    <a:gd name="connsiteY1" fmla="*/ 35350 h 35230"/>
                    <a:gd name="connsiteX2" fmla="*/ 336 w 47364"/>
                    <a:gd name="connsiteY2" fmla="*/ 17735 h 35230"/>
                    <a:gd name="connsiteX3" fmla="*/ 24018 w 47364"/>
                    <a:gd name="connsiteY3" fmla="*/ 119 h 35230"/>
                    <a:gd name="connsiteX4" fmla="*/ 47701 w 47364"/>
                    <a:gd name="connsiteY4" fmla="*/ 17735 h 35230"/>
                    <a:gd name="connsiteX5" fmla="*/ 47701 w 47364"/>
                    <a:gd name="connsiteY5" fmla="*/ 1773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01" y="17735"/>
                      </a:moveTo>
                      <a:cubicBezTo>
                        <a:pt x="47701" y="27508"/>
                        <a:pt x="37157" y="35350"/>
                        <a:pt x="24018" y="35350"/>
                      </a:cubicBezTo>
                      <a:cubicBezTo>
                        <a:pt x="10879" y="35350"/>
                        <a:pt x="336" y="27508"/>
                        <a:pt x="336" y="17735"/>
                      </a:cubicBezTo>
                      <a:cubicBezTo>
                        <a:pt x="336" y="7962"/>
                        <a:pt x="10879" y="119"/>
                        <a:pt x="24018" y="119"/>
                      </a:cubicBezTo>
                      <a:cubicBezTo>
                        <a:pt x="37157" y="119"/>
                        <a:pt x="47701" y="7962"/>
                        <a:pt x="47701" y="17735"/>
                      </a:cubicBezTo>
                      <a:lnTo>
                        <a:pt x="47701" y="17735"/>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0" name="Freeform: Shape 109">
                  <a:extLst>
                    <a:ext uri="{FF2B5EF4-FFF2-40B4-BE49-F238E27FC236}">
                      <a16:creationId xmlns:a16="http://schemas.microsoft.com/office/drawing/2014/main" id="{50713E0D-A487-60C8-D332-DF1BDF901C3D}"/>
                    </a:ext>
                  </a:extLst>
                </p:cNvPr>
                <p:cNvSpPr/>
                <p:nvPr/>
              </p:nvSpPr>
              <p:spPr>
                <a:xfrm>
                  <a:off x="7627664" y="3020819"/>
                  <a:ext cx="47364" cy="35230"/>
                </a:xfrm>
                <a:custGeom>
                  <a:avLst/>
                  <a:gdLst>
                    <a:gd name="connsiteX0" fmla="*/ 47704 w 47364"/>
                    <a:gd name="connsiteY0" fmla="*/ 17736 h 35230"/>
                    <a:gd name="connsiteX1" fmla="*/ 24021 w 47364"/>
                    <a:gd name="connsiteY1" fmla="*/ 35351 h 35230"/>
                    <a:gd name="connsiteX2" fmla="*/ 339 w 47364"/>
                    <a:gd name="connsiteY2" fmla="*/ 17736 h 35230"/>
                    <a:gd name="connsiteX3" fmla="*/ 24021 w 47364"/>
                    <a:gd name="connsiteY3" fmla="*/ 120 h 35230"/>
                    <a:gd name="connsiteX4" fmla="*/ 47704 w 47364"/>
                    <a:gd name="connsiteY4" fmla="*/ 17736 h 35230"/>
                    <a:gd name="connsiteX5" fmla="*/ 47704 w 47364"/>
                    <a:gd name="connsiteY5" fmla="*/ 1773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04" y="17736"/>
                      </a:moveTo>
                      <a:cubicBezTo>
                        <a:pt x="47704" y="27509"/>
                        <a:pt x="37160" y="35351"/>
                        <a:pt x="24021" y="35351"/>
                      </a:cubicBezTo>
                      <a:cubicBezTo>
                        <a:pt x="10882" y="35351"/>
                        <a:pt x="339" y="27509"/>
                        <a:pt x="339" y="17736"/>
                      </a:cubicBezTo>
                      <a:cubicBezTo>
                        <a:pt x="339" y="7963"/>
                        <a:pt x="10882" y="120"/>
                        <a:pt x="24021" y="120"/>
                      </a:cubicBezTo>
                      <a:cubicBezTo>
                        <a:pt x="37160" y="120"/>
                        <a:pt x="47704" y="7963"/>
                        <a:pt x="47704" y="17736"/>
                      </a:cubicBezTo>
                      <a:lnTo>
                        <a:pt x="47704" y="1773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1" name="Freeform: Shape 110">
                  <a:extLst>
                    <a:ext uri="{FF2B5EF4-FFF2-40B4-BE49-F238E27FC236}">
                      <a16:creationId xmlns:a16="http://schemas.microsoft.com/office/drawing/2014/main" id="{D48FA987-5CF2-2530-FCE7-A0BEF61FFDD1}"/>
                    </a:ext>
                  </a:extLst>
                </p:cNvPr>
                <p:cNvSpPr/>
                <p:nvPr/>
              </p:nvSpPr>
              <p:spPr>
                <a:xfrm>
                  <a:off x="7676327" y="3032885"/>
                  <a:ext cx="47364" cy="35230"/>
                </a:xfrm>
                <a:custGeom>
                  <a:avLst/>
                  <a:gdLst>
                    <a:gd name="connsiteX0" fmla="*/ 47707 w 47364"/>
                    <a:gd name="connsiteY0" fmla="*/ 17737 h 35230"/>
                    <a:gd name="connsiteX1" fmla="*/ 24024 w 47364"/>
                    <a:gd name="connsiteY1" fmla="*/ 35352 h 35230"/>
                    <a:gd name="connsiteX2" fmla="*/ 342 w 47364"/>
                    <a:gd name="connsiteY2" fmla="*/ 17737 h 35230"/>
                    <a:gd name="connsiteX3" fmla="*/ 24024 w 47364"/>
                    <a:gd name="connsiteY3" fmla="*/ 121 h 35230"/>
                    <a:gd name="connsiteX4" fmla="*/ 47707 w 47364"/>
                    <a:gd name="connsiteY4" fmla="*/ 17737 h 35230"/>
                    <a:gd name="connsiteX5" fmla="*/ 47707 w 47364"/>
                    <a:gd name="connsiteY5" fmla="*/ 17737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07" y="17737"/>
                      </a:moveTo>
                      <a:cubicBezTo>
                        <a:pt x="47707" y="27510"/>
                        <a:pt x="37163" y="35352"/>
                        <a:pt x="24024" y="35352"/>
                      </a:cubicBezTo>
                      <a:cubicBezTo>
                        <a:pt x="10885" y="35352"/>
                        <a:pt x="342" y="27510"/>
                        <a:pt x="342" y="17737"/>
                      </a:cubicBezTo>
                      <a:cubicBezTo>
                        <a:pt x="342" y="7964"/>
                        <a:pt x="10885" y="121"/>
                        <a:pt x="24024" y="121"/>
                      </a:cubicBezTo>
                      <a:cubicBezTo>
                        <a:pt x="37163" y="121"/>
                        <a:pt x="47707" y="7964"/>
                        <a:pt x="47707" y="17737"/>
                      </a:cubicBezTo>
                      <a:lnTo>
                        <a:pt x="47707" y="17737"/>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2" name="Freeform: Shape 111">
                  <a:extLst>
                    <a:ext uri="{FF2B5EF4-FFF2-40B4-BE49-F238E27FC236}">
                      <a16:creationId xmlns:a16="http://schemas.microsoft.com/office/drawing/2014/main" id="{29F3A320-D248-F491-18B4-F443BB393287}"/>
                    </a:ext>
                  </a:extLst>
                </p:cNvPr>
                <p:cNvSpPr/>
                <p:nvPr/>
              </p:nvSpPr>
              <p:spPr>
                <a:xfrm>
                  <a:off x="7724990" y="3044950"/>
                  <a:ext cx="47364" cy="35230"/>
                </a:xfrm>
                <a:custGeom>
                  <a:avLst/>
                  <a:gdLst>
                    <a:gd name="connsiteX0" fmla="*/ 47710 w 47364"/>
                    <a:gd name="connsiteY0" fmla="*/ 17738 h 35230"/>
                    <a:gd name="connsiteX1" fmla="*/ 24027 w 47364"/>
                    <a:gd name="connsiteY1" fmla="*/ 35353 h 35230"/>
                    <a:gd name="connsiteX2" fmla="*/ 345 w 47364"/>
                    <a:gd name="connsiteY2" fmla="*/ 17738 h 35230"/>
                    <a:gd name="connsiteX3" fmla="*/ 24027 w 47364"/>
                    <a:gd name="connsiteY3" fmla="*/ 122 h 35230"/>
                    <a:gd name="connsiteX4" fmla="*/ 47710 w 47364"/>
                    <a:gd name="connsiteY4" fmla="*/ 17738 h 35230"/>
                    <a:gd name="connsiteX5" fmla="*/ 47710 w 47364"/>
                    <a:gd name="connsiteY5" fmla="*/ 1773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10" y="17738"/>
                      </a:moveTo>
                      <a:cubicBezTo>
                        <a:pt x="47710" y="27511"/>
                        <a:pt x="37166" y="35353"/>
                        <a:pt x="24027" y="35353"/>
                      </a:cubicBezTo>
                      <a:cubicBezTo>
                        <a:pt x="10888" y="35353"/>
                        <a:pt x="345" y="27511"/>
                        <a:pt x="345" y="17738"/>
                      </a:cubicBezTo>
                      <a:cubicBezTo>
                        <a:pt x="345" y="7965"/>
                        <a:pt x="10888" y="122"/>
                        <a:pt x="24027" y="122"/>
                      </a:cubicBezTo>
                      <a:cubicBezTo>
                        <a:pt x="37166" y="122"/>
                        <a:pt x="47710" y="7965"/>
                        <a:pt x="47710" y="17738"/>
                      </a:cubicBezTo>
                      <a:lnTo>
                        <a:pt x="47710" y="17738"/>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3" name="Freeform: Shape 112">
                  <a:extLst>
                    <a:ext uri="{FF2B5EF4-FFF2-40B4-BE49-F238E27FC236}">
                      <a16:creationId xmlns:a16="http://schemas.microsoft.com/office/drawing/2014/main" id="{C9DDA434-D4C8-F9C9-42BB-81031AB99F22}"/>
                    </a:ext>
                  </a:extLst>
                </p:cNvPr>
                <p:cNvSpPr/>
                <p:nvPr/>
              </p:nvSpPr>
              <p:spPr>
                <a:xfrm>
                  <a:off x="7757431" y="3044950"/>
                  <a:ext cx="47364" cy="35230"/>
                </a:xfrm>
                <a:custGeom>
                  <a:avLst/>
                  <a:gdLst>
                    <a:gd name="connsiteX0" fmla="*/ 47712 w 47364"/>
                    <a:gd name="connsiteY0" fmla="*/ 17738 h 35230"/>
                    <a:gd name="connsiteX1" fmla="*/ 24029 w 47364"/>
                    <a:gd name="connsiteY1" fmla="*/ 35353 h 35230"/>
                    <a:gd name="connsiteX2" fmla="*/ 347 w 47364"/>
                    <a:gd name="connsiteY2" fmla="*/ 17738 h 35230"/>
                    <a:gd name="connsiteX3" fmla="*/ 24029 w 47364"/>
                    <a:gd name="connsiteY3" fmla="*/ 122 h 35230"/>
                    <a:gd name="connsiteX4" fmla="*/ 47712 w 47364"/>
                    <a:gd name="connsiteY4" fmla="*/ 17738 h 35230"/>
                    <a:gd name="connsiteX5" fmla="*/ 47712 w 47364"/>
                    <a:gd name="connsiteY5" fmla="*/ 1773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12" y="17738"/>
                      </a:moveTo>
                      <a:cubicBezTo>
                        <a:pt x="47712" y="27511"/>
                        <a:pt x="37168" y="35353"/>
                        <a:pt x="24029" y="35353"/>
                      </a:cubicBezTo>
                      <a:cubicBezTo>
                        <a:pt x="10890" y="35353"/>
                        <a:pt x="347" y="27511"/>
                        <a:pt x="347" y="17738"/>
                      </a:cubicBezTo>
                      <a:cubicBezTo>
                        <a:pt x="347" y="7965"/>
                        <a:pt x="10890" y="122"/>
                        <a:pt x="24029" y="122"/>
                      </a:cubicBezTo>
                      <a:cubicBezTo>
                        <a:pt x="37168" y="122"/>
                        <a:pt x="47712" y="7965"/>
                        <a:pt x="47712" y="17738"/>
                      </a:cubicBezTo>
                      <a:lnTo>
                        <a:pt x="47712" y="17738"/>
                      </a:lnTo>
                      <a:close/>
                    </a:path>
                  </a:pathLst>
                </a:custGeom>
                <a:noFill/>
                <a:ln w="16202"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4" name="Freeform: Shape 113">
                  <a:extLst>
                    <a:ext uri="{FF2B5EF4-FFF2-40B4-BE49-F238E27FC236}">
                      <a16:creationId xmlns:a16="http://schemas.microsoft.com/office/drawing/2014/main" id="{87CA0B99-51E3-A71C-0447-1DE1B43C5024}"/>
                    </a:ext>
                  </a:extLst>
                </p:cNvPr>
                <p:cNvSpPr/>
                <p:nvPr/>
              </p:nvSpPr>
              <p:spPr>
                <a:xfrm>
                  <a:off x="7757431" y="3044950"/>
                  <a:ext cx="47364" cy="35230"/>
                </a:xfrm>
                <a:custGeom>
                  <a:avLst/>
                  <a:gdLst>
                    <a:gd name="connsiteX0" fmla="*/ 47712 w 47364"/>
                    <a:gd name="connsiteY0" fmla="*/ 17738 h 35230"/>
                    <a:gd name="connsiteX1" fmla="*/ 24029 w 47364"/>
                    <a:gd name="connsiteY1" fmla="*/ 35353 h 35230"/>
                    <a:gd name="connsiteX2" fmla="*/ 347 w 47364"/>
                    <a:gd name="connsiteY2" fmla="*/ 17738 h 35230"/>
                    <a:gd name="connsiteX3" fmla="*/ 24029 w 47364"/>
                    <a:gd name="connsiteY3" fmla="*/ 122 h 35230"/>
                    <a:gd name="connsiteX4" fmla="*/ 47712 w 47364"/>
                    <a:gd name="connsiteY4" fmla="*/ 17738 h 35230"/>
                    <a:gd name="connsiteX5" fmla="*/ 47712 w 47364"/>
                    <a:gd name="connsiteY5" fmla="*/ 1773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12" y="17738"/>
                      </a:moveTo>
                      <a:cubicBezTo>
                        <a:pt x="47712" y="27511"/>
                        <a:pt x="37168" y="35353"/>
                        <a:pt x="24029" y="35353"/>
                      </a:cubicBezTo>
                      <a:cubicBezTo>
                        <a:pt x="10890" y="35353"/>
                        <a:pt x="347" y="27511"/>
                        <a:pt x="347" y="17738"/>
                      </a:cubicBezTo>
                      <a:cubicBezTo>
                        <a:pt x="347" y="7965"/>
                        <a:pt x="10890" y="122"/>
                        <a:pt x="24029" y="122"/>
                      </a:cubicBezTo>
                      <a:cubicBezTo>
                        <a:pt x="37168" y="122"/>
                        <a:pt x="47712" y="7965"/>
                        <a:pt x="47712" y="17738"/>
                      </a:cubicBezTo>
                      <a:lnTo>
                        <a:pt x="47712" y="17738"/>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5" name="Freeform: Shape 114">
                  <a:extLst>
                    <a:ext uri="{FF2B5EF4-FFF2-40B4-BE49-F238E27FC236}">
                      <a16:creationId xmlns:a16="http://schemas.microsoft.com/office/drawing/2014/main" id="{A985FE57-C14B-A0EB-78BD-0C10BC386AFB}"/>
                    </a:ext>
                  </a:extLst>
                </p:cNvPr>
                <p:cNvSpPr/>
                <p:nvPr/>
              </p:nvSpPr>
              <p:spPr>
                <a:xfrm>
                  <a:off x="7789873" y="3044950"/>
                  <a:ext cx="47364" cy="35230"/>
                </a:xfrm>
                <a:custGeom>
                  <a:avLst/>
                  <a:gdLst>
                    <a:gd name="connsiteX0" fmla="*/ 47714 w 47364"/>
                    <a:gd name="connsiteY0" fmla="*/ 17738 h 35230"/>
                    <a:gd name="connsiteX1" fmla="*/ 24031 w 47364"/>
                    <a:gd name="connsiteY1" fmla="*/ 35353 h 35230"/>
                    <a:gd name="connsiteX2" fmla="*/ 349 w 47364"/>
                    <a:gd name="connsiteY2" fmla="*/ 17738 h 35230"/>
                    <a:gd name="connsiteX3" fmla="*/ 24031 w 47364"/>
                    <a:gd name="connsiteY3" fmla="*/ 122 h 35230"/>
                    <a:gd name="connsiteX4" fmla="*/ 47714 w 47364"/>
                    <a:gd name="connsiteY4" fmla="*/ 17738 h 35230"/>
                    <a:gd name="connsiteX5" fmla="*/ 47714 w 47364"/>
                    <a:gd name="connsiteY5" fmla="*/ 1773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14" y="17738"/>
                      </a:moveTo>
                      <a:cubicBezTo>
                        <a:pt x="47714" y="27511"/>
                        <a:pt x="37170" y="35353"/>
                        <a:pt x="24031" y="35353"/>
                      </a:cubicBezTo>
                      <a:cubicBezTo>
                        <a:pt x="10892" y="35353"/>
                        <a:pt x="349" y="27511"/>
                        <a:pt x="349" y="17738"/>
                      </a:cubicBezTo>
                      <a:cubicBezTo>
                        <a:pt x="349" y="7965"/>
                        <a:pt x="10892" y="122"/>
                        <a:pt x="24031" y="122"/>
                      </a:cubicBezTo>
                      <a:cubicBezTo>
                        <a:pt x="37170" y="122"/>
                        <a:pt x="47714" y="7965"/>
                        <a:pt x="47714" y="17738"/>
                      </a:cubicBezTo>
                      <a:lnTo>
                        <a:pt x="47714" y="17738"/>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6" name="Freeform: Shape 115">
                  <a:extLst>
                    <a:ext uri="{FF2B5EF4-FFF2-40B4-BE49-F238E27FC236}">
                      <a16:creationId xmlns:a16="http://schemas.microsoft.com/office/drawing/2014/main" id="{5796C1E8-BB97-BECF-32A1-8FA404D6EC77}"/>
                    </a:ext>
                  </a:extLst>
                </p:cNvPr>
                <p:cNvSpPr/>
                <p:nvPr/>
              </p:nvSpPr>
              <p:spPr>
                <a:xfrm>
                  <a:off x="7838536" y="3044950"/>
                  <a:ext cx="47364" cy="35230"/>
                </a:xfrm>
                <a:custGeom>
                  <a:avLst/>
                  <a:gdLst>
                    <a:gd name="connsiteX0" fmla="*/ 47717 w 47364"/>
                    <a:gd name="connsiteY0" fmla="*/ 17738 h 35230"/>
                    <a:gd name="connsiteX1" fmla="*/ 24034 w 47364"/>
                    <a:gd name="connsiteY1" fmla="*/ 35353 h 35230"/>
                    <a:gd name="connsiteX2" fmla="*/ 352 w 47364"/>
                    <a:gd name="connsiteY2" fmla="*/ 17738 h 35230"/>
                    <a:gd name="connsiteX3" fmla="*/ 24034 w 47364"/>
                    <a:gd name="connsiteY3" fmla="*/ 122 h 35230"/>
                    <a:gd name="connsiteX4" fmla="*/ 47717 w 47364"/>
                    <a:gd name="connsiteY4" fmla="*/ 17738 h 35230"/>
                    <a:gd name="connsiteX5" fmla="*/ 47717 w 47364"/>
                    <a:gd name="connsiteY5" fmla="*/ 1773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17" y="17738"/>
                      </a:moveTo>
                      <a:cubicBezTo>
                        <a:pt x="47717" y="27511"/>
                        <a:pt x="37173" y="35353"/>
                        <a:pt x="24034" y="35353"/>
                      </a:cubicBezTo>
                      <a:cubicBezTo>
                        <a:pt x="10895" y="35353"/>
                        <a:pt x="352" y="27511"/>
                        <a:pt x="352" y="17738"/>
                      </a:cubicBezTo>
                      <a:cubicBezTo>
                        <a:pt x="352" y="7965"/>
                        <a:pt x="10895" y="122"/>
                        <a:pt x="24034" y="122"/>
                      </a:cubicBezTo>
                      <a:cubicBezTo>
                        <a:pt x="37173" y="122"/>
                        <a:pt x="47717" y="7965"/>
                        <a:pt x="47717" y="17738"/>
                      </a:cubicBezTo>
                      <a:lnTo>
                        <a:pt x="47717" y="17738"/>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7" name="Freeform: Shape 116">
                  <a:extLst>
                    <a:ext uri="{FF2B5EF4-FFF2-40B4-BE49-F238E27FC236}">
                      <a16:creationId xmlns:a16="http://schemas.microsoft.com/office/drawing/2014/main" id="{BA39E95B-C85D-4BD8-6F7D-73052F057A89}"/>
                    </a:ext>
                  </a:extLst>
                </p:cNvPr>
                <p:cNvSpPr/>
                <p:nvPr/>
              </p:nvSpPr>
              <p:spPr>
                <a:xfrm>
                  <a:off x="7822315" y="3044950"/>
                  <a:ext cx="47364" cy="35230"/>
                </a:xfrm>
                <a:custGeom>
                  <a:avLst/>
                  <a:gdLst>
                    <a:gd name="connsiteX0" fmla="*/ 47716 w 47364"/>
                    <a:gd name="connsiteY0" fmla="*/ 17738 h 35230"/>
                    <a:gd name="connsiteX1" fmla="*/ 24033 w 47364"/>
                    <a:gd name="connsiteY1" fmla="*/ 35353 h 35230"/>
                    <a:gd name="connsiteX2" fmla="*/ 351 w 47364"/>
                    <a:gd name="connsiteY2" fmla="*/ 17738 h 35230"/>
                    <a:gd name="connsiteX3" fmla="*/ 24033 w 47364"/>
                    <a:gd name="connsiteY3" fmla="*/ 122 h 35230"/>
                    <a:gd name="connsiteX4" fmla="*/ 47716 w 47364"/>
                    <a:gd name="connsiteY4" fmla="*/ 17738 h 35230"/>
                    <a:gd name="connsiteX5" fmla="*/ 47716 w 47364"/>
                    <a:gd name="connsiteY5" fmla="*/ 1773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16" y="17738"/>
                      </a:moveTo>
                      <a:cubicBezTo>
                        <a:pt x="47716" y="27511"/>
                        <a:pt x="37172" y="35353"/>
                        <a:pt x="24033" y="35353"/>
                      </a:cubicBezTo>
                      <a:cubicBezTo>
                        <a:pt x="10894" y="35353"/>
                        <a:pt x="351" y="27511"/>
                        <a:pt x="351" y="17738"/>
                      </a:cubicBezTo>
                      <a:cubicBezTo>
                        <a:pt x="351" y="7965"/>
                        <a:pt x="10894" y="122"/>
                        <a:pt x="24033" y="122"/>
                      </a:cubicBezTo>
                      <a:cubicBezTo>
                        <a:pt x="37172" y="122"/>
                        <a:pt x="47716" y="7965"/>
                        <a:pt x="47716" y="17738"/>
                      </a:cubicBezTo>
                      <a:lnTo>
                        <a:pt x="47716" y="17738"/>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8" name="Freeform: Shape 117">
                  <a:extLst>
                    <a:ext uri="{FF2B5EF4-FFF2-40B4-BE49-F238E27FC236}">
                      <a16:creationId xmlns:a16="http://schemas.microsoft.com/office/drawing/2014/main" id="{44CD69E9-157E-9FCE-7456-EFBECC2662A0}"/>
                    </a:ext>
                  </a:extLst>
                </p:cNvPr>
                <p:cNvSpPr/>
                <p:nvPr/>
              </p:nvSpPr>
              <p:spPr>
                <a:xfrm>
                  <a:off x="7870977" y="3057015"/>
                  <a:ext cx="47364" cy="35230"/>
                </a:xfrm>
                <a:custGeom>
                  <a:avLst/>
                  <a:gdLst>
                    <a:gd name="connsiteX0" fmla="*/ 47719 w 47364"/>
                    <a:gd name="connsiteY0" fmla="*/ 17739 h 35230"/>
                    <a:gd name="connsiteX1" fmla="*/ 24036 w 47364"/>
                    <a:gd name="connsiteY1" fmla="*/ 35354 h 35230"/>
                    <a:gd name="connsiteX2" fmla="*/ 354 w 47364"/>
                    <a:gd name="connsiteY2" fmla="*/ 17739 h 35230"/>
                    <a:gd name="connsiteX3" fmla="*/ 24036 w 47364"/>
                    <a:gd name="connsiteY3" fmla="*/ 123 h 35230"/>
                    <a:gd name="connsiteX4" fmla="*/ 47719 w 47364"/>
                    <a:gd name="connsiteY4" fmla="*/ 17739 h 35230"/>
                    <a:gd name="connsiteX5" fmla="*/ 47719 w 47364"/>
                    <a:gd name="connsiteY5" fmla="*/ 17739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19" y="17739"/>
                      </a:moveTo>
                      <a:cubicBezTo>
                        <a:pt x="47719" y="27512"/>
                        <a:pt x="37175" y="35354"/>
                        <a:pt x="24036" y="35354"/>
                      </a:cubicBezTo>
                      <a:cubicBezTo>
                        <a:pt x="10897" y="35354"/>
                        <a:pt x="354" y="27512"/>
                        <a:pt x="354" y="17739"/>
                      </a:cubicBezTo>
                      <a:cubicBezTo>
                        <a:pt x="354" y="7966"/>
                        <a:pt x="10897" y="123"/>
                        <a:pt x="24036" y="123"/>
                      </a:cubicBezTo>
                      <a:cubicBezTo>
                        <a:pt x="37175" y="123"/>
                        <a:pt x="47719" y="7966"/>
                        <a:pt x="47719" y="17739"/>
                      </a:cubicBezTo>
                      <a:lnTo>
                        <a:pt x="47719" y="17739"/>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9" name="Freeform: Shape 118">
                  <a:extLst>
                    <a:ext uri="{FF2B5EF4-FFF2-40B4-BE49-F238E27FC236}">
                      <a16:creationId xmlns:a16="http://schemas.microsoft.com/office/drawing/2014/main" id="{46E029E8-16BF-9CB9-78A4-AA200479DE2E}"/>
                    </a:ext>
                  </a:extLst>
                </p:cNvPr>
                <p:cNvSpPr/>
                <p:nvPr/>
              </p:nvSpPr>
              <p:spPr>
                <a:xfrm>
                  <a:off x="7887198" y="3069081"/>
                  <a:ext cx="47364" cy="35230"/>
                </a:xfrm>
                <a:custGeom>
                  <a:avLst/>
                  <a:gdLst>
                    <a:gd name="connsiteX0" fmla="*/ 47720 w 47364"/>
                    <a:gd name="connsiteY0" fmla="*/ 17740 h 35230"/>
                    <a:gd name="connsiteX1" fmla="*/ 24037 w 47364"/>
                    <a:gd name="connsiteY1" fmla="*/ 35355 h 35230"/>
                    <a:gd name="connsiteX2" fmla="*/ 355 w 47364"/>
                    <a:gd name="connsiteY2" fmla="*/ 17740 h 35230"/>
                    <a:gd name="connsiteX3" fmla="*/ 24037 w 47364"/>
                    <a:gd name="connsiteY3" fmla="*/ 124 h 35230"/>
                    <a:gd name="connsiteX4" fmla="*/ 47720 w 47364"/>
                    <a:gd name="connsiteY4" fmla="*/ 17740 h 35230"/>
                    <a:gd name="connsiteX5" fmla="*/ 47720 w 47364"/>
                    <a:gd name="connsiteY5" fmla="*/ 17740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20" y="17740"/>
                      </a:moveTo>
                      <a:cubicBezTo>
                        <a:pt x="47720" y="27513"/>
                        <a:pt x="37176" y="35355"/>
                        <a:pt x="24037" y="35355"/>
                      </a:cubicBezTo>
                      <a:cubicBezTo>
                        <a:pt x="10898" y="35355"/>
                        <a:pt x="355" y="27513"/>
                        <a:pt x="355" y="17740"/>
                      </a:cubicBezTo>
                      <a:cubicBezTo>
                        <a:pt x="355" y="7967"/>
                        <a:pt x="10898" y="124"/>
                        <a:pt x="24037" y="124"/>
                      </a:cubicBezTo>
                      <a:cubicBezTo>
                        <a:pt x="37176" y="124"/>
                        <a:pt x="47720" y="7967"/>
                        <a:pt x="47720" y="17740"/>
                      </a:cubicBezTo>
                      <a:lnTo>
                        <a:pt x="47720" y="17740"/>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0" name="Freeform: Shape 119">
                  <a:extLst>
                    <a:ext uri="{FF2B5EF4-FFF2-40B4-BE49-F238E27FC236}">
                      <a16:creationId xmlns:a16="http://schemas.microsoft.com/office/drawing/2014/main" id="{DE6D0F80-2D42-666A-D1D1-69F32E5A4C51}"/>
                    </a:ext>
                  </a:extLst>
                </p:cNvPr>
                <p:cNvSpPr/>
                <p:nvPr/>
              </p:nvSpPr>
              <p:spPr>
                <a:xfrm>
                  <a:off x="7903419" y="3069081"/>
                  <a:ext cx="47364" cy="35230"/>
                </a:xfrm>
                <a:custGeom>
                  <a:avLst/>
                  <a:gdLst>
                    <a:gd name="connsiteX0" fmla="*/ 47721 w 47364"/>
                    <a:gd name="connsiteY0" fmla="*/ 17740 h 35230"/>
                    <a:gd name="connsiteX1" fmla="*/ 24038 w 47364"/>
                    <a:gd name="connsiteY1" fmla="*/ 35355 h 35230"/>
                    <a:gd name="connsiteX2" fmla="*/ 356 w 47364"/>
                    <a:gd name="connsiteY2" fmla="*/ 17740 h 35230"/>
                    <a:gd name="connsiteX3" fmla="*/ 24038 w 47364"/>
                    <a:gd name="connsiteY3" fmla="*/ 124 h 35230"/>
                    <a:gd name="connsiteX4" fmla="*/ 47721 w 47364"/>
                    <a:gd name="connsiteY4" fmla="*/ 17740 h 35230"/>
                    <a:gd name="connsiteX5" fmla="*/ 47721 w 47364"/>
                    <a:gd name="connsiteY5" fmla="*/ 17740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21" y="17740"/>
                      </a:moveTo>
                      <a:cubicBezTo>
                        <a:pt x="47721" y="27513"/>
                        <a:pt x="37177" y="35355"/>
                        <a:pt x="24038" y="35355"/>
                      </a:cubicBezTo>
                      <a:cubicBezTo>
                        <a:pt x="10899" y="35355"/>
                        <a:pt x="356" y="27513"/>
                        <a:pt x="356" y="17740"/>
                      </a:cubicBezTo>
                      <a:cubicBezTo>
                        <a:pt x="356" y="7967"/>
                        <a:pt x="10899" y="124"/>
                        <a:pt x="24038" y="124"/>
                      </a:cubicBezTo>
                      <a:cubicBezTo>
                        <a:pt x="37177" y="124"/>
                        <a:pt x="47721" y="7967"/>
                        <a:pt x="47721" y="17740"/>
                      </a:cubicBezTo>
                      <a:lnTo>
                        <a:pt x="47721" y="17740"/>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1" name="Freeform: Shape 120">
                  <a:extLst>
                    <a:ext uri="{FF2B5EF4-FFF2-40B4-BE49-F238E27FC236}">
                      <a16:creationId xmlns:a16="http://schemas.microsoft.com/office/drawing/2014/main" id="{831B47A2-EFC9-E074-E93C-F3E296DA762B}"/>
                    </a:ext>
                  </a:extLst>
                </p:cNvPr>
                <p:cNvSpPr/>
                <p:nvPr/>
              </p:nvSpPr>
              <p:spPr>
                <a:xfrm>
                  <a:off x="7952082" y="3081146"/>
                  <a:ext cx="47364" cy="35230"/>
                </a:xfrm>
                <a:custGeom>
                  <a:avLst/>
                  <a:gdLst>
                    <a:gd name="connsiteX0" fmla="*/ 47724 w 47364"/>
                    <a:gd name="connsiteY0" fmla="*/ 17741 h 35230"/>
                    <a:gd name="connsiteX1" fmla="*/ 24041 w 47364"/>
                    <a:gd name="connsiteY1" fmla="*/ 35356 h 35230"/>
                    <a:gd name="connsiteX2" fmla="*/ 359 w 47364"/>
                    <a:gd name="connsiteY2" fmla="*/ 17741 h 35230"/>
                    <a:gd name="connsiteX3" fmla="*/ 24041 w 47364"/>
                    <a:gd name="connsiteY3" fmla="*/ 125 h 35230"/>
                    <a:gd name="connsiteX4" fmla="*/ 47724 w 47364"/>
                    <a:gd name="connsiteY4" fmla="*/ 17741 h 35230"/>
                    <a:gd name="connsiteX5" fmla="*/ 47724 w 47364"/>
                    <a:gd name="connsiteY5" fmla="*/ 17741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24" y="17741"/>
                      </a:moveTo>
                      <a:cubicBezTo>
                        <a:pt x="47724" y="27514"/>
                        <a:pt x="37180" y="35356"/>
                        <a:pt x="24041" y="35356"/>
                      </a:cubicBezTo>
                      <a:cubicBezTo>
                        <a:pt x="10902" y="35356"/>
                        <a:pt x="359" y="27514"/>
                        <a:pt x="359" y="17741"/>
                      </a:cubicBezTo>
                      <a:cubicBezTo>
                        <a:pt x="359" y="7968"/>
                        <a:pt x="10902" y="125"/>
                        <a:pt x="24041" y="125"/>
                      </a:cubicBezTo>
                      <a:cubicBezTo>
                        <a:pt x="37180" y="125"/>
                        <a:pt x="47724" y="7968"/>
                        <a:pt x="47724" y="17741"/>
                      </a:cubicBezTo>
                      <a:lnTo>
                        <a:pt x="47724" y="17741"/>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2" name="Freeform: Shape 121">
                  <a:extLst>
                    <a:ext uri="{FF2B5EF4-FFF2-40B4-BE49-F238E27FC236}">
                      <a16:creationId xmlns:a16="http://schemas.microsoft.com/office/drawing/2014/main" id="{137659D9-8B44-49BE-3A20-6D12D29AC34E}"/>
                    </a:ext>
                  </a:extLst>
                </p:cNvPr>
                <p:cNvSpPr/>
                <p:nvPr/>
              </p:nvSpPr>
              <p:spPr>
                <a:xfrm>
                  <a:off x="7968302" y="3093212"/>
                  <a:ext cx="47364" cy="35230"/>
                </a:xfrm>
                <a:custGeom>
                  <a:avLst/>
                  <a:gdLst>
                    <a:gd name="connsiteX0" fmla="*/ 47725 w 47364"/>
                    <a:gd name="connsiteY0" fmla="*/ 17742 h 35230"/>
                    <a:gd name="connsiteX1" fmla="*/ 24042 w 47364"/>
                    <a:gd name="connsiteY1" fmla="*/ 35357 h 35230"/>
                    <a:gd name="connsiteX2" fmla="*/ 360 w 47364"/>
                    <a:gd name="connsiteY2" fmla="*/ 17742 h 35230"/>
                    <a:gd name="connsiteX3" fmla="*/ 24042 w 47364"/>
                    <a:gd name="connsiteY3" fmla="*/ 126 h 35230"/>
                    <a:gd name="connsiteX4" fmla="*/ 47725 w 47364"/>
                    <a:gd name="connsiteY4" fmla="*/ 17742 h 35230"/>
                    <a:gd name="connsiteX5" fmla="*/ 47725 w 47364"/>
                    <a:gd name="connsiteY5" fmla="*/ 17742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25" y="17742"/>
                      </a:moveTo>
                      <a:cubicBezTo>
                        <a:pt x="47725" y="27515"/>
                        <a:pt x="37181" y="35357"/>
                        <a:pt x="24042" y="35357"/>
                      </a:cubicBezTo>
                      <a:cubicBezTo>
                        <a:pt x="10903" y="35357"/>
                        <a:pt x="360" y="27515"/>
                        <a:pt x="360" y="17742"/>
                      </a:cubicBezTo>
                      <a:cubicBezTo>
                        <a:pt x="360" y="7969"/>
                        <a:pt x="10903" y="126"/>
                        <a:pt x="24042" y="126"/>
                      </a:cubicBezTo>
                      <a:cubicBezTo>
                        <a:pt x="37181" y="126"/>
                        <a:pt x="47725" y="7969"/>
                        <a:pt x="47725" y="17742"/>
                      </a:cubicBezTo>
                      <a:lnTo>
                        <a:pt x="47725" y="17742"/>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3" name="Freeform: Shape 122">
                  <a:extLst>
                    <a:ext uri="{FF2B5EF4-FFF2-40B4-BE49-F238E27FC236}">
                      <a16:creationId xmlns:a16="http://schemas.microsoft.com/office/drawing/2014/main" id="{2914F8EC-7D83-0E06-8034-B36F0426B04D}"/>
                    </a:ext>
                  </a:extLst>
                </p:cNvPr>
                <p:cNvSpPr/>
                <p:nvPr/>
              </p:nvSpPr>
              <p:spPr>
                <a:xfrm>
                  <a:off x="8000744" y="3105277"/>
                  <a:ext cx="47364" cy="35230"/>
                </a:xfrm>
                <a:custGeom>
                  <a:avLst/>
                  <a:gdLst>
                    <a:gd name="connsiteX0" fmla="*/ 47727 w 47364"/>
                    <a:gd name="connsiteY0" fmla="*/ 17743 h 35230"/>
                    <a:gd name="connsiteX1" fmla="*/ 24044 w 47364"/>
                    <a:gd name="connsiteY1" fmla="*/ 35358 h 35230"/>
                    <a:gd name="connsiteX2" fmla="*/ 362 w 47364"/>
                    <a:gd name="connsiteY2" fmla="*/ 17743 h 35230"/>
                    <a:gd name="connsiteX3" fmla="*/ 24044 w 47364"/>
                    <a:gd name="connsiteY3" fmla="*/ 127 h 35230"/>
                    <a:gd name="connsiteX4" fmla="*/ 47727 w 47364"/>
                    <a:gd name="connsiteY4" fmla="*/ 17743 h 35230"/>
                    <a:gd name="connsiteX5" fmla="*/ 47727 w 47364"/>
                    <a:gd name="connsiteY5" fmla="*/ 17743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27" y="17743"/>
                      </a:moveTo>
                      <a:cubicBezTo>
                        <a:pt x="47727" y="27516"/>
                        <a:pt x="37183" y="35358"/>
                        <a:pt x="24044" y="35358"/>
                      </a:cubicBezTo>
                      <a:cubicBezTo>
                        <a:pt x="10905" y="35358"/>
                        <a:pt x="362" y="27516"/>
                        <a:pt x="362" y="17743"/>
                      </a:cubicBezTo>
                      <a:cubicBezTo>
                        <a:pt x="362" y="7970"/>
                        <a:pt x="10905" y="127"/>
                        <a:pt x="24044" y="127"/>
                      </a:cubicBezTo>
                      <a:cubicBezTo>
                        <a:pt x="37183" y="127"/>
                        <a:pt x="47727" y="7970"/>
                        <a:pt x="47727" y="17743"/>
                      </a:cubicBezTo>
                      <a:lnTo>
                        <a:pt x="47727" y="17743"/>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4" name="Freeform: Shape 123">
                  <a:extLst>
                    <a:ext uri="{FF2B5EF4-FFF2-40B4-BE49-F238E27FC236}">
                      <a16:creationId xmlns:a16="http://schemas.microsoft.com/office/drawing/2014/main" id="{C7B05D1D-37A5-E6F2-0B2D-DA2AEA7CA791}"/>
                    </a:ext>
                  </a:extLst>
                </p:cNvPr>
                <p:cNvSpPr/>
                <p:nvPr/>
              </p:nvSpPr>
              <p:spPr>
                <a:xfrm>
                  <a:off x="8016965" y="3105277"/>
                  <a:ext cx="47364" cy="35230"/>
                </a:xfrm>
                <a:custGeom>
                  <a:avLst/>
                  <a:gdLst>
                    <a:gd name="connsiteX0" fmla="*/ 47728 w 47364"/>
                    <a:gd name="connsiteY0" fmla="*/ 17743 h 35230"/>
                    <a:gd name="connsiteX1" fmla="*/ 24045 w 47364"/>
                    <a:gd name="connsiteY1" fmla="*/ 35358 h 35230"/>
                    <a:gd name="connsiteX2" fmla="*/ 363 w 47364"/>
                    <a:gd name="connsiteY2" fmla="*/ 17743 h 35230"/>
                    <a:gd name="connsiteX3" fmla="*/ 24045 w 47364"/>
                    <a:gd name="connsiteY3" fmla="*/ 127 h 35230"/>
                    <a:gd name="connsiteX4" fmla="*/ 47728 w 47364"/>
                    <a:gd name="connsiteY4" fmla="*/ 17743 h 35230"/>
                    <a:gd name="connsiteX5" fmla="*/ 47728 w 47364"/>
                    <a:gd name="connsiteY5" fmla="*/ 17743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28" y="17743"/>
                      </a:moveTo>
                      <a:cubicBezTo>
                        <a:pt x="47728" y="27516"/>
                        <a:pt x="37184" y="35358"/>
                        <a:pt x="24045" y="35358"/>
                      </a:cubicBezTo>
                      <a:cubicBezTo>
                        <a:pt x="10906" y="35358"/>
                        <a:pt x="363" y="27516"/>
                        <a:pt x="363" y="17743"/>
                      </a:cubicBezTo>
                      <a:cubicBezTo>
                        <a:pt x="363" y="7970"/>
                        <a:pt x="10906" y="127"/>
                        <a:pt x="24045" y="127"/>
                      </a:cubicBezTo>
                      <a:cubicBezTo>
                        <a:pt x="37184" y="127"/>
                        <a:pt x="47728" y="7970"/>
                        <a:pt x="47728" y="17743"/>
                      </a:cubicBezTo>
                      <a:lnTo>
                        <a:pt x="47728" y="17743"/>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5" name="Freeform: Shape 124">
                  <a:extLst>
                    <a:ext uri="{FF2B5EF4-FFF2-40B4-BE49-F238E27FC236}">
                      <a16:creationId xmlns:a16="http://schemas.microsoft.com/office/drawing/2014/main" id="{428AC11D-83A2-8272-BB90-ED04F47BF04B}"/>
                    </a:ext>
                  </a:extLst>
                </p:cNvPr>
                <p:cNvSpPr/>
                <p:nvPr/>
              </p:nvSpPr>
              <p:spPr>
                <a:xfrm>
                  <a:off x="8049407" y="3105277"/>
                  <a:ext cx="47364" cy="35230"/>
                </a:xfrm>
                <a:custGeom>
                  <a:avLst/>
                  <a:gdLst>
                    <a:gd name="connsiteX0" fmla="*/ 47730 w 47364"/>
                    <a:gd name="connsiteY0" fmla="*/ 17743 h 35230"/>
                    <a:gd name="connsiteX1" fmla="*/ 24047 w 47364"/>
                    <a:gd name="connsiteY1" fmla="*/ 35358 h 35230"/>
                    <a:gd name="connsiteX2" fmla="*/ 365 w 47364"/>
                    <a:gd name="connsiteY2" fmla="*/ 17743 h 35230"/>
                    <a:gd name="connsiteX3" fmla="*/ 24047 w 47364"/>
                    <a:gd name="connsiteY3" fmla="*/ 127 h 35230"/>
                    <a:gd name="connsiteX4" fmla="*/ 47730 w 47364"/>
                    <a:gd name="connsiteY4" fmla="*/ 17743 h 35230"/>
                    <a:gd name="connsiteX5" fmla="*/ 47730 w 47364"/>
                    <a:gd name="connsiteY5" fmla="*/ 17743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30" y="17743"/>
                      </a:moveTo>
                      <a:cubicBezTo>
                        <a:pt x="47730" y="27516"/>
                        <a:pt x="37186" y="35358"/>
                        <a:pt x="24047" y="35358"/>
                      </a:cubicBezTo>
                      <a:cubicBezTo>
                        <a:pt x="10908" y="35358"/>
                        <a:pt x="365" y="27516"/>
                        <a:pt x="365" y="17743"/>
                      </a:cubicBezTo>
                      <a:cubicBezTo>
                        <a:pt x="365" y="7970"/>
                        <a:pt x="10908" y="127"/>
                        <a:pt x="24047" y="127"/>
                      </a:cubicBezTo>
                      <a:cubicBezTo>
                        <a:pt x="37186" y="127"/>
                        <a:pt x="47730" y="7970"/>
                        <a:pt x="47730" y="17743"/>
                      </a:cubicBezTo>
                      <a:lnTo>
                        <a:pt x="47730" y="17743"/>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6" name="Freeform: Shape 125">
                  <a:extLst>
                    <a:ext uri="{FF2B5EF4-FFF2-40B4-BE49-F238E27FC236}">
                      <a16:creationId xmlns:a16="http://schemas.microsoft.com/office/drawing/2014/main" id="{D938EE55-DF8C-FAFF-8A30-02EE9B0F4F12}"/>
                    </a:ext>
                  </a:extLst>
                </p:cNvPr>
                <p:cNvSpPr/>
                <p:nvPr/>
              </p:nvSpPr>
              <p:spPr>
                <a:xfrm>
                  <a:off x="8081848" y="3117342"/>
                  <a:ext cx="47364" cy="35230"/>
                </a:xfrm>
                <a:custGeom>
                  <a:avLst/>
                  <a:gdLst>
                    <a:gd name="connsiteX0" fmla="*/ 47732 w 47364"/>
                    <a:gd name="connsiteY0" fmla="*/ 17744 h 35230"/>
                    <a:gd name="connsiteX1" fmla="*/ 24049 w 47364"/>
                    <a:gd name="connsiteY1" fmla="*/ 35359 h 35230"/>
                    <a:gd name="connsiteX2" fmla="*/ 367 w 47364"/>
                    <a:gd name="connsiteY2" fmla="*/ 17744 h 35230"/>
                    <a:gd name="connsiteX3" fmla="*/ 24049 w 47364"/>
                    <a:gd name="connsiteY3" fmla="*/ 128 h 35230"/>
                    <a:gd name="connsiteX4" fmla="*/ 47732 w 47364"/>
                    <a:gd name="connsiteY4" fmla="*/ 17744 h 35230"/>
                    <a:gd name="connsiteX5" fmla="*/ 47732 w 47364"/>
                    <a:gd name="connsiteY5" fmla="*/ 17744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32" y="17744"/>
                      </a:moveTo>
                      <a:cubicBezTo>
                        <a:pt x="47732" y="27517"/>
                        <a:pt x="37188" y="35359"/>
                        <a:pt x="24049" y="35359"/>
                      </a:cubicBezTo>
                      <a:cubicBezTo>
                        <a:pt x="10910" y="35359"/>
                        <a:pt x="367" y="27517"/>
                        <a:pt x="367" y="17744"/>
                      </a:cubicBezTo>
                      <a:cubicBezTo>
                        <a:pt x="367" y="7971"/>
                        <a:pt x="10910" y="128"/>
                        <a:pt x="24049" y="128"/>
                      </a:cubicBezTo>
                      <a:cubicBezTo>
                        <a:pt x="37188" y="128"/>
                        <a:pt x="47732" y="7971"/>
                        <a:pt x="47732" y="17744"/>
                      </a:cubicBezTo>
                      <a:lnTo>
                        <a:pt x="47732" y="17744"/>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7" name="Freeform: Shape 126">
                  <a:extLst>
                    <a:ext uri="{FF2B5EF4-FFF2-40B4-BE49-F238E27FC236}">
                      <a16:creationId xmlns:a16="http://schemas.microsoft.com/office/drawing/2014/main" id="{7ED0E903-DC8B-C71A-39DD-D209BE392E3C}"/>
                    </a:ext>
                  </a:extLst>
                </p:cNvPr>
                <p:cNvSpPr/>
                <p:nvPr/>
              </p:nvSpPr>
              <p:spPr>
                <a:xfrm>
                  <a:off x="8073089" y="3111792"/>
                  <a:ext cx="47364" cy="35230"/>
                </a:xfrm>
                <a:custGeom>
                  <a:avLst/>
                  <a:gdLst>
                    <a:gd name="connsiteX0" fmla="*/ 47731 w 47364"/>
                    <a:gd name="connsiteY0" fmla="*/ 17743 h 35230"/>
                    <a:gd name="connsiteX1" fmla="*/ 24049 w 47364"/>
                    <a:gd name="connsiteY1" fmla="*/ 35359 h 35230"/>
                    <a:gd name="connsiteX2" fmla="*/ 366 w 47364"/>
                    <a:gd name="connsiteY2" fmla="*/ 17743 h 35230"/>
                    <a:gd name="connsiteX3" fmla="*/ 24049 w 47364"/>
                    <a:gd name="connsiteY3" fmla="*/ 128 h 35230"/>
                    <a:gd name="connsiteX4" fmla="*/ 47731 w 47364"/>
                    <a:gd name="connsiteY4" fmla="*/ 17743 h 35230"/>
                    <a:gd name="connsiteX5" fmla="*/ 47731 w 47364"/>
                    <a:gd name="connsiteY5" fmla="*/ 17743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31" y="17743"/>
                      </a:moveTo>
                      <a:cubicBezTo>
                        <a:pt x="47731" y="27516"/>
                        <a:pt x="37188" y="35359"/>
                        <a:pt x="24049" y="35359"/>
                      </a:cubicBezTo>
                      <a:cubicBezTo>
                        <a:pt x="10910" y="35359"/>
                        <a:pt x="366" y="27516"/>
                        <a:pt x="366" y="17743"/>
                      </a:cubicBezTo>
                      <a:cubicBezTo>
                        <a:pt x="366" y="7970"/>
                        <a:pt x="10910" y="128"/>
                        <a:pt x="24049" y="128"/>
                      </a:cubicBezTo>
                      <a:cubicBezTo>
                        <a:pt x="37188" y="128"/>
                        <a:pt x="47731" y="7970"/>
                        <a:pt x="47731" y="17743"/>
                      </a:cubicBezTo>
                      <a:lnTo>
                        <a:pt x="47731" y="17743"/>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8" name="Freeform: Shape 127">
                  <a:extLst>
                    <a:ext uri="{FF2B5EF4-FFF2-40B4-BE49-F238E27FC236}">
                      <a16:creationId xmlns:a16="http://schemas.microsoft.com/office/drawing/2014/main" id="{728E19F4-1EF5-F337-4037-A21DCFAA96F4}"/>
                    </a:ext>
                  </a:extLst>
                </p:cNvPr>
                <p:cNvSpPr/>
                <p:nvPr/>
              </p:nvSpPr>
              <p:spPr>
                <a:xfrm>
                  <a:off x="8130511" y="3129408"/>
                  <a:ext cx="47364" cy="35230"/>
                </a:xfrm>
                <a:custGeom>
                  <a:avLst/>
                  <a:gdLst>
                    <a:gd name="connsiteX0" fmla="*/ 47735 w 47364"/>
                    <a:gd name="connsiteY0" fmla="*/ 17745 h 35230"/>
                    <a:gd name="connsiteX1" fmla="*/ 24052 w 47364"/>
                    <a:gd name="connsiteY1" fmla="*/ 35360 h 35230"/>
                    <a:gd name="connsiteX2" fmla="*/ 370 w 47364"/>
                    <a:gd name="connsiteY2" fmla="*/ 17745 h 35230"/>
                    <a:gd name="connsiteX3" fmla="*/ 24052 w 47364"/>
                    <a:gd name="connsiteY3" fmla="*/ 129 h 35230"/>
                    <a:gd name="connsiteX4" fmla="*/ 47735 w 47364"/>
                    <a:gd name="connsiteY4" fmla="*/ 17745 h 35230"/>
                    <a:gd name="connsiteX5" fmla="*/ 47735 w 47364"/>
                    <a:gd name="connsiteY5" fmla="*/ 1774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35" y="17745"/>
                      </a:moveTo>
                      <a:cubicBezTo>
                        <a:pt x="47735" y="27518"/>
                        <a:pt x="37191" y="35360"/>
                        <a:pt x="24052" y="35360"/>
                      </a:cubicBezTo>
                      <a:cubicBezTo>
                        <a:pt x="10913" y="35360"/>
                        <a:pt x="370" y="27518"/>
                        <a:pt x="370" y="17745"/>
                      </a:cubicBezTo>
                      <a:cubicBezTo>
                        <a:pt x="370" y="7972"/>
                        <a:pt x="10913" y="129"/>
                        <a:pt x="24052" y="129"/>
                      </a:cubicBezTo>
                      <a:cubicBezTo>
                        <a:pt x="37191" y="129"/>
                        <a:pt x="47735" y="7972"/>
                        <a:pt x="47735" y="17745"/>
                      </a:cubicBezTo>
                      <a:lnTo>
                        <a:pt x="47735" y="17745"/>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9" name="Freeform: Shape 128">
                  <a:extLst>
                    <a:ext uri="{FF2B5EF4-FFF2-40B4-BE49-F238E27FC236}">
                      <a16:creationId xmlns:a16="http://schemas.microsoft.com/office/drawing/2014/main" id="{490CE5E3-5DE8-EA86-F8DE-247A45DCF65E}"/>
                    </a:ext>
                  </a:extLst>
                </p:cNvPr>
                <p:cNvSpPr/>
                <p:nvPr/>
              </p:nvSpPr>
              <p:spPr>
                <a:xfrm>
                  <a:off x="8155653" y="3134958"/>
                  <a:ext cx="47364" cy="35230"/>
                </a:xfrm>
                <a:custGeom>
                  <a:avLst/>
                  <a:gdLst>
                    <a:gd name="connsiteX0" fmla="*/ 47736 w 47364"/>
                    <a:gd name="connsiteY0" fmla="*/ 17745 h 35230"/>
                    <a:gd name="connsiteX1" fmla="*/ 24054 w 47364"/>
                    <a:gd name="connsiteY1" fmla="*/ 35361 h 35230"/>
                    <a:gd name="connsiteX2" fmla="*/ 371 w 47364"/>
                    <a:gd name="connsiteY2" fmla="*/ 17745 h 35230"/>
                    <a:gd name="connsiteX3" fmla="*/ 24054 w 47364"/>
                    <a:gd name="connsiteY3" fmla="*/ 130 h 35230"/>
                    <a:gd name="connsiteX4" fmla="*/ 47736 w 47364"/>
                    <a:gd name="connsiteY4" fmla="*/ 17745 h 35230"/>
                    <a:gd name="connsiteX5" fmla="*/ 47736 w 47364"/>
                    <a:gd name="connsiteY5" fmla="*/ 1774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36" y="17745"/>
                      </a:moveTo>
                      <a:cubicBezTo>
                        <a:pt x="47736" y="27518"/>
                        <a:pt x="37193" y="35361"/>
                        <a:pt x="24054" y="35361"/>
                      </a:cubicBezTo>
                      <a:cubicBezTo>
                        <a:pt x="10915" y="35361"/>
                        <a:pt x="371" y="27518"/>
                        <a:pt x="371" y="17745"/>
                      </a:cubicBezTo>
                      <a:cubicBezTo>
                        <a:pt x="371" y="7972"/>
                        <a:pt x="10915" y="130"/>
                        <a:pt x="24054" y="130"/>
                      </a:cubicBezTo>
                      <a:cubicBezTo>
                        <a:pt x="37193" y="130"/>
                        <a:pt x="47736" y="7972"/>
                        <a:pt x="47736" y="17745"/>
                      </a:cubicBezTo>
                      <a:lnTo>
                        <a:pt x="47736" y="17745"/>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0" name="Freeform: Shape 129">
                  <a:extLst>
                    <a:ext uri="{FF2B5EF4-FFF2-40B4-BE49-F238E27FC236}">
                      <a16:creationId xmlns:a16="http://schemas.microsoft.com/office/drawing/2014/main" id="{106F8A5E-2E3F-EB56-1DA3-998FC92B1813}"/>
                    </a:ext>
                  </a:extLst>
                </p:cNvPr>
                <p:cNvSpPr/>
                <p:nvPr/>
              </p:nvSpPr>
              <p:spPr>
                <a:xfrm>
                  <a:off x="8179174" y="3141473"/>
                  <a:ext cx="47364" cy="35230"/>
                </a:xfrm>
                <a:custGeom>
                  <a:avLst/>
                  <a:gdLst>
                    <a:gd name="connsiteX0" fmla="*/ 47738 w 47364"/>
                    <a:gd name="connsiteY0" fmla="*/ 17746 h 35230"/>
                    <a:gd name="connsiteX1" fmla="*/ 24055 w 47364"/>
                    <a:gd name="connsiteY1" fmla="*/ 35361 h 35230"/>
                    <a:gd name="connsiteX2" fmla="*/ 373 w 47364"/>
                    <a:gd name="connsiteY2" fmla="*/ 17746 h 35230"/>
                    <a:gd name="connsiteX3" fmla="*/ 24055 w 47364"/>
                    <a:gd name="connsiteY3" fmla="*/ 130 h 35230"/>
                    <a:gd name="connsiteX4" fmla="*/ 47738 w 47364"/>
                    <a:gd name="connsiteY4" fmla="*/ 17746 h 35230"/>
                    <a:gd name="connsiteX5" fmla="*/ 47738 w 47364"/>
                    <a:gd name="connsiteY5" fmla="*/ 1774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38" y="17746"/>
                      </a:moveTo>
                      <a:cubicBezTo>
                        <a:pt x="47738" y="27519"/>
                        <a:pt x="37194" y="35361"/>
                        <a:pt x="24055" y="35361"/>
                      </a:cubicBezTo>
                      <a:cubicBezTo>
                        <a:pt x="10916" y="35361"/>
                        <a:pt x="373" y="27519"/>
                        <a:pt x="373" y="17746"/>
                      </a:cubicBezTo>
                      <a:cubicBezTo>
                        <a:pt x="373" y="7973"/>
                        <a:pt x="10916" y="130"/>
                        <a:pt x="24055" y="130"/>
                      </a:cubicBezTo>
                      <a:cubicBezTo>
                        <a:pt x="37194" y="130"/>
                        <a:pt x="47738" y="7973"/>
                        <a:pt x="47738" y="17746"/>
                      </a:cubicBezTo>
                      <a:lnTo>
                        <a:pt x="47738" y="1774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1" name="Freeform: Shape 130">
                  <a:extLst>
                    <a:ext uri="{FF2B5EF4-FFF2-40B4-BE49-F238E27FC236}">
                      <a16:creationId xmlns:a16="http://schemas.microsoft.com/office/drawing/2014/main" id="{CC2E290D-0705-F9E7-2CA4-4A903F9884BC}"/>
                    </a:ext>
                  </a:extLst>
                </p:cNvPr>
                <p:cNvSpPr/>
                <p:nvPr/>
              </p:nvSpPr>
              <p:spPr>
                <a:xfrm>
                  <a:off x="8211615" y="3153539"/>
                  <a:ext cx="47364" cy="35230"/>
                </a:xfrm>
                <a:custGeom>
                  <a:avLst/>
                  <a:gdLst>
                    <a:gd name="connsiteX0" fmla="*/ 47740 w 47364"/>
                    <a:gd name="connsiteY0" fmla="*/ 17747 h 35230"/>
                    <a:gd name="connsiteX1" fmla="*/ 24057 w 47364"/>
                    <a:gd name="connsiteY1" fmla="*/ 35362 h 35230"/>
                    <a:gd name="connsiteX2" fmla="*/ 375 w 47364"/>
                    <a:gd name="connsiteY2" fmla="*/ 17747 h 35230"/>
                    <a:gd name="connsiteX3" fmla="*/ 24057 w 47364"/>
                    <a:gd name="connsiteY3" fmla="*/ 131 h 35230"/>
                    <a:gd name="connsiteX4" fmla="*/ 47740 w 47364"/>
                    <a:gd name="connsiteY4" fmla="*/ 17747 h 35230"/>
                    <a:gd name="connsiteX5" fmla="*/ 47740 w 47364"/>
                    <a:gd name="connsiteY5" fmla="*/ 17747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40" y="17747"/>
                      </a:moveTo>
                      <a:cubicBezTo>
                        <a:pt x="47740" y="27520"/>
                        <a:pt x="37196" y="35362"/>
                        <a:pt x="24057" y="35362"/>
                      </a:cubicBezTo>
                      <a:cubicBezTo>
                        <a:pt x="10918" y="35362"/>
                        <a:pt x="375" y="27520"/>
                        <a:pt x="375" y="17747"/>
                      </a:cubicBezTo>
                      <a:cubicBezTo>
                        <a:pt x="375" y="7974"/>
                        <a:pt x="10918" y="131"/>
                        <a:pt x="24057" y="131"/>
                      </a:cubicBezTo>
                      <a:cubicBezTo>
                        <a:pt x="37196" y="131"/>
                        <a:pt x="47740" y="7974"/>
                        <a:pt x="47740" y="17747"/>
                      </a:cubicBezTo>
                      <a:lnTo>
                        <a:pt x="47740" y="17747"/>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2" name="Freeform: Shape 131">
                  <a:extLst>
                    <a:ext uri="{FF2B5EF4-FFF2-40B4-BE49-F238E27FC236}">
                      <a16:creationId xmlns:a16="http://schemas.microsoft.com/office/drawing/2014/main" id="{2910120E-2E41-B842-E10B-AE7F87FEC9E7}"/>
                    </a:ext>
                  </a:extLst>
                </p:cNvPr>
                <p:cNvSpPr/>
                <p:nvPr/>
              </p:nvSpPr>
              <p:spPr>
                <a:xfrm>
                  <a:off x="8244057" y="3165604"/>
                  <a:ext cx="47364" cy="35230"/>
                </a:xfrm>
                <a:custGeom>
                  <a:avLst/>
                  <a:gdLst>
                    <a:gd name="connsiteX0" fmla="*/ 47742 w 47364"/>
                    <a:gd name="connsiteY0" fmla="*/ 17748 h 35230"/>
                    <a:gd name="connsiteX1" fmla="*/ 24059 w 47364"/>
                    <a:gd name="connsiteY1" fmla="*/ 35363 h 35230"/>
                    <a:gd name="connsiteX2" fmla="*/ 377 w 47364"/>
                    <a:gd name="connsiteY2" fmla="*/ 17748 h 35230"/>
                    <a:gd name="connsiteX3" fmla="*/ 24059 w 47364"/>
                    <a:gd name="connsiteY3" fmla="*/ 132 h 35230"/>
                    <a:gd name="connsiteX4" fmla="*/ 47742 w 47364"/>
                    <a:gd name="connsiteY4" fmla="*/ 17748 h 35230"/>
                    <a:gd name="connsiteX5" fmla="*/ 47742 w 47364"/>
                    <a:gd name="connsiteY5" fmla="*/ 1774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42" y="17748"/>
                      </a:moveTo>
                      <a:cubicBezTo>
                        <a:pt x="47742" y="27521"/>
                        <a:pt x="37198" y="35363"/>
                        <a:pt x="24059" y="35363"/>
                      </a:cubicBezTo>
                      <a:cubicBezTo>
                        <a:pt x="10920" y="35363"/>
                        <a:pt x="377" y="27521"/>
                        <a:pt x="377" y="17748"/>
                      </a:cubicBezTo>
                      <a:cubicBezTo>
                        <a:pt x="377" y="7975"/>
                        <a:pt x="10920" y="132"/>
                        <a:pt x="24059" y="132"/>
                      </a:cubicBezTo>
                      <a:cubicBezTo>
                        <a:pt x="37198" y="132"/>
                        <a:pt x="47742" y="7975"/>
                        <a:pt x="47742" y="17748"/>
                      </a:cubicBezTo>
                      <a:lnTo>
                        <a:pt x="47742" y="17748"/>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3" name="Freeform: Shape 132">
                  <a:extLst>
                    <a:ext uri="{FF2B5EF4-FFF2-40B4-BE49-F238E27FC236}">
                      <a16:creationId xmlns:a16="http://schemas.microsoft.com/office/drawing/2014/main" id="{EFA9F21F-E506-EB94-623D-B7D44ADA0DF7}"/>
                    </a:ext>
                  </a:extLst>
                </p:cNvPr>
                <p:cNvSpPr/>
                <p:nvPr/>
              </p:nvSpPr>
              <p:spPr>
                <a:xfrm>
                  <a:off x="8276499" y="3165604"/>
                  <a:ext cx="47364" cy="35230"/>
                </a:xfrm>
                <a:custGeom>
                  <a:avLst/>
                  <a:gdLst>
                    <a:gd name="connsiteX0" fmla="*/ 47744 w 47364"/>
                    <a:gd name="connsiteY0" fmla="*/ 17748 h 35230"/>
                    <a:gd name="connsiteX1" fmla="*/ 24061 w 47364"/>
                    <a:gd name="connsiteY1" fmla="*/ 35363 h 35230"/>
                    <a:gd name="connsiteX2" fmla="*/ 379 w 47364"/>
                    <a:gd name="connsiteY2" fmla="*/ 17748 h 35230"/>
                    <a:gd name="connsiteX3" fmla="*/ 24061 w 47364"/>
                    <a:gd name="connsiteY3" fmla="*/ 132 h 35230"/>
                    <a:gd name="connsiteX4" fmla="*/ 47744 w 47364"/>
                    <a:gd name="connsiteY4" fmla="*/ 17748 h 35230"/>
                    <a:gd name="connsiteX5" fmla="*/ 47744 w 47364"/>
                    <a:gd name="connsiteY5" fmla="*/ 1774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44" y="17748"/>
                      </a:moveTo>
                      <a:cubicBezTo>
                        <a:pt x="47744" y="27521"/>
                        <a:pt x="37200" y="35363"/>
                        <a:pt x="24061" y="35363"/>
                      </a:cubicBezTo>
                      <a:cubicBezTo>
                        <a:pt x="10922" y="35363"/>
                        <a:pt x="379" y="27521"/>
                        <a:pt x="379" y="17748"/>
                      </a:cubicBezTo>
                      <a:cubicBezTo>
                        <a:pt x="379" y="7975"/>
                        <a:pt x="10922" y="132"/>
                        <a:pt x="24061" y="132"/>
                      </a:cubicBezTo>
                      <a:cubicBezTo>
                        <a:pt x="37200" y="132"/>
                        <a:pt x="47744" y="7975"/>
                        <a:pt x="47744" y="17748"/>
                      </a:cubicBezTo>
                      <a:lnTo>
                        <a:pt x="47744" y="17748"/>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4" name="Freeform: Shape 133">
                  <a:extLst>
                    <a:ext uri="{FF2B5EF4-FFF2-40B4-BE49-F238E27FC236}">
                      <a16:creationId xmlns:a16="http://schemas.microsoft.com/office/drawing/2014/main" id="{714FF5E1-6C64-5544-298D-E49847F7AFC4}"/>
                    </a:ext>
                  </a:extLst>
                </p:cNvPr>
                <p:cNvSpPr/>
                <p:nvPr/>
              </p:nvSpPr>
              <p:spPr>
                <a:xfrm>
                  <a:off x="8325161" y="3165604"/>
                  <a:ext cx="47364" cy="35230"/>
                </a:xfrm>
                <a:custGeom>
                  <a:avLst/>
                  <a:gdLst>
                    <a:gd name="connsiteX0" fmla="*/ 47747 w 47364"/>
                    <a:gd name="connsiteY0" fmla="*/ 17748 h 35230"/>
                    <a:gd name="connsiteX1" fmla="*/ 24064 w 47364"/>
                    <a:gd name="connsiteY1" fmla="*/ 35363 h 35230"/>
                    <a:gd name="connsiteX2" fmla="*/ 382 w 47364"/>
                    <a:gd name="connsiteY2" fmla="*/ 17748 h 35230"/>
                    <a:gd name="connsiteX3" fmla="*/ 24064 w 47364"/>
                    <a:gd name="connsiteY3" fmla="*/ 132 h 35230"/>
                    <a:gd name="connsiteX4" fmla="*/ 47747 w 47364"/>
                    <a:gd name="connsiteY4" fmla="*/ 17748 h 35230"/>
                    <a:gd name="connsiteX5" fmla="*/ 47747 w 47364"/>
                    <a:gd name="connsiteY5" fmla="*/ 1774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47" y="17748"/>
                      </a:moveTo>
                      <a:cubicBezTo>
                        <a:pt x="47747" y="27521"/>
                        <a:pt x="37203" y="35363"/>
                        <a:pt x="24064" y="35363"/>
                      </a:cubicBezTo>
                      <a:cubicBezTo>
                        <a:pt x="10925" y="35363"/>
                        <a:pt x="382" y="27521"/>
                        <a:pt x="382" y="17748"/>
                      </a:cubicBezTo>
                      <a:cubicBezTo>
                        <a:pt x="382" y="7975"/>
                        <a:pt x="10925" y="132"/>
                        <a:pt x="24064" y="132"/>
                      </a:cubicBezTo>
                      <a:cubicBezTo>
                        <a:pt x="37203" y="132"/>
                        <a:pt x="47747" y="7975"/>
                        <a:pt x="47747" y="17748"/>
                      </a:cubicBezTo>
                      <a:lnTo>
                        <a:pt x="47747" y="17748"/>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5" name="Freeform: Shape 134">
                  <a:extLst>
                    <a:ext uri="{FF2B5EF4-FFF2-40B4-BE49-F238E27FC236}">
                      <a16:creationId xmlns:a16="http://schemas.microsoft.com/office/drawing/2014/main" id="{60113D37-0916-A496-4498-2647410FA63A}"/>
                    </a:ext>
                  </a:extLst>
                </p:cNvPr>
                <p:cNvSpPr/>
                <p:nvPr/>
              </p:nvSpPr>
              <p:spPr>
                <a:xfrm>
                  <a:off x="8373824" y="3165604"/>
                  <a:ext cx="47364" cy="35230"/>
                </a:xfrm>
                <a:custGeom>
                  <a:avLst/>
                  <a:gdLst>
                    <a:gd name="connsiteX0" fmla="*/ 47750 w 47364"/>
                    <a:gd name="connsiteY0" fmla="*/ 17748 h 35230"/>
                    <a:gd name="connsiteX1" fmla="*/ 24067 w 47364"/>
                    <a:gd name="connsiteY1" fmla="*/ 35363 h 35230"/>
                    <a:gd name="connsiteX2" fmla="*/ 385 w 47364"/>
                    <a:gd name="connsiteY2" fmla="*/ 17748 h 35230"/>
                    <a:gd name="connsiteX3" fmla="*/ 24067 w 47364"/>
                    <a:gd name="connsiteY3" fmla="*/ 132 h 35230"/>
                    <a:gd name="connsiteX4" fmla="*/ 47750 w 47364"/>
                    <a:gd name="connsiteY4" fmla="*/ 17748 h 35230"/>
                    <a:gd name="connsiteX5" fmla="*/ 47750 w 47364"/>
                    <a:gd name="connsiteY5" fmla="*/ 1774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50" y="17748"/>
                      </a:moveTo>
                      <a:cubicBezTo>
                        <a:pt x="47750" y="27521"/>
                        <a:pt x="37206" y="35363"/>
                        <a:pt x="24067" y="35363"/>
                      </a:cubicBezTo>
                      <a:cubicBezTo>
                        <a:pt x="10928" y="35363"/>
                        <a:pt x="385" y="27521"/>
                        <a:pt x="385" y="17748"/>
                      </a:cubicBezTo>
                      <a:cubicBezTo>
                        <a:pt x="385" y="7975"/>
                        <a:pt x="10928" y="132"/>
                        <a:pt x="24067" y="132"/>
                      </a:cubicBezTo>
                      <a:cubicBezTo>
                        <a:pt x="37206" y="132"/>
                        <a:pt x="47750" y="7975"/>
                        <a:pt x="47750" y="17748"/>
                      </a:cubicBezTo>
                      <a:lnTo>
                        <a:pt x="47750" y="17748"/>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6" name="Freeform: Shape 135">
                  <a:extLst>
                    <a:ext uri="{FF2B5EF4-FFF2-40B4-BE49-F238E27FC236}">
                      <a16:creationId xmlns:a16="http://schemas.microsoft.com/office/drawing/2014/main" id="{E88644AC-F285-35EA-382E-FC2615CC785D}"/>
                    </a:ext>
                  </a:extLst>
                </p:cNvPr>
                <p:cNvSpPr/>
                <p:nvPr/>
              </p:nvSpPr>
              <p:spPr>
                <a:xfrm>
                  <a:off x="8422649" y="3177669"/>
                  <a:ext cx="47364" cy="35230"/>
                </a:xfrm>
                <a:custGeom>
                  <a:avLst/>
                  <a:gdLst>
                    <a:gd name="connsiteX0" fmla="*/ 47753 w 47364"/>
                    <a:gd name="connsiteY0" fmla="*/ 17749 h 35230"/>
                    <a:gd name="connsiteX1" fmla="*/ 24070 w 47364"/>
                    <a:gd name="connsiteY1" fmla="*/ 35364 h 35230"/>
                    <a:gd name="connsiteX2" fmla="*/ 388 w 47364"/>
                    <a:gd name="connsiteY2" fmla="*/ 17749 h 35230"/>
                    <a:gd name="connsiteX3" fmla="*/ 24070 w 47364"/>
                    <a:gd name="connsiteY3" fmla="*/ 133 h 35230"/>
                    <a:gd name="connsiteX4" fmla="*/ 47753 w 47364"/>
                    <a:gd name="connsiteY4" fmla="*/ 17749 h 35230"/>
                    <a:gd name="connsiteX5" fmla="*/ 47753 w 47364"/>
                    <a:gd name="connsiteY5" fmla="*/ 17749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53" y="17749"/>
                      </a:moveTo>
                      <a:cubicBezTo>
                        <a:pt x="47753" y="27522"/>
                        <a:pt x="37209" y="35364"/>
                        <a:pt x="24070" y="35364"/>
                      </a:cubicBezTo>
                      <a:cubicBezTo>
                        <a:pt x="10932" y="35364"/>
                        <a:pt x="388" y="27522"/>
                        <a:pt x="388" y="17749"/>
                      </a:cubicBezTo>
                      <a:cubicBezTo>
                        <a:pt x="388" y="7976"/>
                        <a:pt x="10932" y="133"/>
                        <a:pt x="24070" y="133"/>
                      </a:cubicBezTo>
                      <a:cubicBezTo>
                        <a:pt x="37209" y="133"/>
                        <a:pt x="47753" y="7976"/>
                        <a:pt x="47753" y="17749"/>
                      </a:cubicBezTo>
                      <a:lnTo>
                        <a:pt x="47753" y="17749"/>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7" name="Freeform: Shape 136">
                  <a:extLst>
                    <a:ext uri="{FF2B5EF4-FFF2-40B4-BE49-F238E27FC236}">
                      <a16:creationId xmlns:a16="http://schemas.microsoft.com/office/drawing/2014/main" id="{95EB77A2-CCA9-0FFB-64DD-B9028BE671CC}"/>
                    </a:ext>
                  </a:extLst>
                </p:cNvPr>
                <p:cNvSpPr/>
                <p:nvPr/>
              </p:nvSpPr>
              <p:spPr>
                <a:xfrm>
                  <a:off x="8455090" y="3189735"/>
                  <a:ext cx="47364" cy="35230"/>
                </a:xfrm>
                <a:custGeom>
                  <a:avLst/>
                  <a:gdLst>
                    <a:gd name="connsiteX0" fmla="*/ 47755 w 47364"/>
                    <a:gd name="connsiteY0" fmla="*/ 17750 h 35230"/>
                    <a:gd name="connsiteX1" fmla="*/ 24072 w 47364"/>
                    <a:gd name="connsiteY1" fmla="*/ 35365 h 35230"/>
                    <a:gd name="connsiteX2" fmla="*/ 390 w 47364"/>
                    <a:gd name="connsiteY2" fmla="*/ 17750 h 35230"/>
                    <a:gd name="connsiteX3" fmla="*/ 24072 w 47364"/>
                    <a:gd name="connsiteY3" fmla="*/ 134 h 35230"/>
                    <a:gd name="connsiteX4" fmla="*/ 47755 w 47364"/>
                    <a:gd name="connsiteY4" fmla="*/ 17750 h 35230"/>
                    <a:gd name="connsiteX5" fmla="*/ 47755 w 47364"/>
                    <a:gd name="connsiteY5" fmla="*/ 17750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55" y="17750"/>
                      </a:moveTo>
                      <a:cubicBezTo>
                        <a:pt x="47755" y="27523"/>
                        <a:pt x="37211" y="35365"/>
                        <a:pt x="24072" y="35365"/>
                      </a:cubicBezTo>
                      <a:cubicBezTo>
                        <a:pt x="10934" y="35365"/>
                        <a:pt x="390" y="27523"/>
                        <a:pt x="390" y="17750"/>
                      </a:cubicBezTo>
                      <a:cubicBezTo>
                        <a:pt x="390" y="7977"/>
                        <a:pt x="10934" y="134"/>
                        <a:pt x="24072" y="134"/>
                      </a:cubicBezTo>
                      <a:cubicBezTo>
                        <a:pt x="37211" y="134"/>
                        <a:pt x="47755" y="7977"/>
                        <a:pt x="47755" y="17750"/>
                      </a:cubicBezTo>
                      <a:lnTo>
                        <a:pt x="47755" y="17750"/>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8" name="Freeform: Shape 137">
                  <a:extLst>
                    <a:ext uri="{FF2B5EF4-FFF2-40B4-BE49-F238E27FC236}">
                      <a16:creationId xmlns:a16="http://schemas.microsoft.com/office/drawing/2014/main" id="{1B85E795-0EAF-165D-E01A-D4AECE3596E1}"/>
                    </a:ext>
                  </a:extLst>
                </p:cNvPr>
                <p:cNvSpPr/>
                <p:nvPr/>
              </p:nvSpPr>
              <p:spPr>
                <a:xfrm>
                  <a:off x="8487532" y="3225931"/>
                  <a:ext cx="47364" cy="35230"/>
                </a:xfrm>
                <a:custGeom>
                  <a:avLst/>
                  <a:gdLst>
                    <a:gd name="connsiteX0" fmla="*/ 47757 w 47364"/>
                    <a:gd name="connsiteY0" fmla="*/ 17753 h 35230"/>
                    <a:gd name="connsiteX1" fmla="*/ 24074 w 47364"/>
                    <a:gd name="connsiteY1" fmla="*/ 35368 h 35230"/>
                    <a:gd name="connsiteX2" fmla="*/ 392 w 47364"/>
                    <a:gd name="connsiteY2" fmla="*/ 17753 h 35230"/>
                    <a:gd name="connsiteX3" fmla="*/ 24074 w 47364"/>
                    <a:gd name="connsiteY3" fmla="*/ 137 h 35230"/>
                    <a:gd name="connsiteX4" fmla="*/ 47757 w 47364"/>
                    <a:gd name="connsiteY4" fmla="*/ 17753 h 35230"/>
                    <a:gd name="connsiteX5" fmla="*/ 47757 w 47364"/>
                    <a:gd name="connsiteY5" fmla="*/ 17753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57" y="17753"/>
                      </a:moveTo>
                      <a:cubicBezTo>
                        <a:pt x="47757" y="27526"/>
                        <a:pt x="37213" y="35368"/>
                        <a:pt x="24074" y="35368"/>
                      </a:cubicBezTo>
                      <a:cubicBezTo>
                        <a:pt x="10936" y="35368"/>
                        <a:pt x="392" y="27526"/>
                        <a:pt x="392" y="17753"/>
                      </a:cubicBezTo>
                      <a:cubicBezTo>
                        <a:pt x="392" y="7980"/>
                        <a:pt x="10936" y="137"/>
                        <a:pt x="24074" y="137"/>
                      </a:cubicBezTo>
                      <a:cubicBezTo>
                        <a:pt x="37213" y="137"/>
                        <a:pt x="47757" y="7980"/>
                        <a:pt x="47757" y="17753"/>
                      </a:cubicBezTo>
                      <a:lnTo>
                        <a:pt x="47757" y="17753"/>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9" name="Freeform: Shape 138">
                  <a:extLst>
                    <a:ext uri="{FF2B5EF4-FFF2-40B4-BE49-F238E27FC236}">
                      <a16:creationId xmlns:a16="http://schemas.microsoft.com/office/drawing/2014/main" id="{4146C110-C44A-B730-39AC-005CDA052247}"/>
                    </a:ext>
                  </a:extLst>
                </p:cNvPr>
                <p:cNvSpPr/>
                <p:nvPr/>
              </p:nvSpPr>
              <p:spPr>
                <a:xfrm>
                  <a:off x="8536195" y="3250062"/>
                  <a:ext cx="47364" cy="35230"/>
                </a:xfrm>
                <a:custGeom>
                  <a:avLst/>
                  <a:gdLst>
                    <a:gd name="connsiteX0" fmla="*/ 47760 w 47364"/>
                    <a:gd name="connsiteY0" fmla="*/ 17755 h 35230"/>
                    <a:gd name="connsiteX1" fmla="*/ 24077 w 47364"/>
                    <a:gd name="connsiteY1" fmla="*/ 35370 h 35230"/>
                    <a:gd name="connsiteX2" fmla="*/ 395 w 47364"/>
                    <a:gd name="connsiteY2" fmla="*/ 17755 h 35230"/>
                    <a:gd name="connsiteX3" fmla="*/ 24077 w 47364"/>
                    <a:gd name="connsiteY3" fmla="*/ 139 h 35230"/>
                    <a:gd name="connsiteX4" fmla="*/ 47760 w 47364"/>
                    <a:gd name="connsiteY4" fmla="*/ 17755 h 35230"/>
                    <a:gd name="connsiteX5" fmla="*/ 47760 w 47364"/>
                    <a:gd name="connsiteY5" fmla="*/ 1775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60" y="17755"/>
                      </a:moveTo>
                      <a:cubicBezTo>
                        <a:pt x="47760" y="27528"/>
                        <a:pt x="37216" y="35370"/>
                        <a:pt x="24077" y="35370"/>
                      </a:cubicBezTo>
                      <a:cubicBezTo>
                        <a:pt x="10939" y="35370"/>
                        <a:pt x="395" y="27528"/>
                        <a:pt x="395" y="17755"/>
                      </a:cubicBezTo>
                      <a:cubicBezTo>
                        <a:pt x="395" y="7982"/>
                        <a:pt x="10939" y="139"/>
                        <a:pt x="24077" y="139"/>
                      </a:cubicBezTo>
                      <a:cubicBezTo>
                        <a:pt x="37216" y="139"/>
                        <a:pt x="47760" y="7982"/>
                        <a:pt x="47760" y="17755"/>
                      </a:cubicBezTo>
                      <a:lnTo>
                        <a:pt x="47760" y="17755"/>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0" name="Freeform: Shape 139">
                  <a:extLst>
                    <a:ext uri="{FF2B5EF4-FFF2-40B4-BE49-F238E27FC236}">
                      <a16:creationId xmlns:a16="http://schemas.microsoft.com/office/drawing/2014/main" id="{701C3A90-AADA-E636-9F7D-CA59D401543A}"/>
                    </a:ext>
                  </a:extLst>
                </p:cNvPr>
                <p:cNvSpPr/>
                <p:nvPr/>
              </p:nvSpPr>
              <p:spPr>
                <a:xfrm>
                  <a:off x="8584857" y="3262127"/>
                  <a:ext cx="47364" cy="35230"/>
                </a:xfrm>
                <a:custGeom>
                  <a:avLst/>
                  <a:gdLst>
                    <a:gd name="connsiteX0" fmla="*/ 47763 w 47364"/>
                    <a:gd name="connsiteY0" fmla="*/ 17756 h 35230"/>
                    <a:gd name="connsiteX1" fmla="*/ 24080 w 47364"/>
                    <a:gd name="connsiteY1" fmla="*/ 35371 h 35230"/>
                    <a:gd name="connsiteX2" fmla="*/ 398 w 47364"/>
                    <a:gd name="connsiteY2" fmla="*/ 17756 h 35230"/>
                    <a:gd name="connsiteX3" fmla="*/ 24080 w 47364"/>
                    <a:gd name="connsiteY3" fmla="*/ 140 h 35230"/>
                    <a:gd name="connsiteX4" fmla="*/ 47763 w 47364"/>
                    <a:gd name="connsiteY4" fmla="*/ 17756 h 35230"/>
                    <a:gd name="connsiteX5" fmla="*/ 47763 w 47364"/>
                    <a:gd name="connsiteY5" fmla="*/ 1775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63" y="17756"/>
                      </a:moveTo>
                      <a:cubicBezTo>
                        <a:pt x="47763" y="27529"/>
                        <a:pt x="37219" y="35371"/>
                        <a:pt x="24080" y="35371"/>
                      </a:cubicBezTo>
                      <a:cubicBezTo>
                        <a:pt x="10942" y="35371"/>
                        <a:pt x="398" y="27529"/>
                        <a:pt x="398" y="17756"/>
                      </a:cubicBezTo>
                      <a:cubicBezTo>
                        <a:pt x="398" y="7983"/>
                        <a:pt x="10942" y="140"/>
                        <a:pt x="24080" y="140"/>
                      </a:cubicBezTo>
                      <a:cubicBezTo>
                        <a:pt x="37219" y="140"/>
                        <a:pt x="47763" y="7983"/>
                        <a:pt x="47763" y="17756"/>
                      </a:cubicBezTo>
                      <a:lnTo>
                        <a:pt x="47763" y="1775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1" name="Freeform: Shape 140">
                  <a:extLst>
                    <a:ext uri="{FF2B5EF4-FFF2-40B4-BE49-F238E27FC236}">
                      <a16:creationId xmlns:a16="http://schemas.microsoft.com/office/drawing/2014/main" id="{361F927E-C4FB-3A01-BCED-36ADFA256C79}"/>
                    </a:ext>
                  </a:extLst>
                </p:cNvPr>
                <p:cNvSpPr/>
                <p:nvPr/>
              </p:nvSpPr>
              <p:spPr>
                <a:xfrm>
                  <a:off x="8633520" y="3274193"/>
                  <a:ext cx="47364" cy="35230"/>
                </a:xfrm>
                <a:custGeom>
                  <a:avLst/>
                  <a:gdLst>
                    <a:gd name="connsiteX0" fmla="*/ 47766 w 47364"/>
                    <a:gd name="connsiteY0" fmla="*/ 17757 h 35230"/>
                    <a:gd name="connsiteX1" fmla="*/ 24083 w 47364"/>
                    <a:gd name="connsiteY1" fmla="*/ 35372 h 35230"/>
                    <a:gd name="connsiteX2" fmla="*/ 401 w 47364"/>
                    <a:gd name="connsiteY2" fmla="*/ 17757 h 35230"/>
                    <a:gd name="connsiteX3" fmla="*/ 24083 w 47364"/>
                    <a:gd name="connsiteY3" fmla="*/ 141 h 35230"/>
                    <a:gd name="connsiteX4" fmla="*/ 47766 w 47364"/>
                    <a:gd name="connsiteY4" fmla="*/ 17757 h 35230"/>
                    <a:gd name="connsiteX5" fmla="*/ 47766 w 47364"/>
                    <a:gd name="connsiteY5" fmla="*/ 17757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66" y="17757"/>
                      </a:moveTo>
                      <a:cubicBezTo>
                        <a:pt x="47766" y="27530"/>
                        <a:pt x="37222" y="35372"/>
                        <a:pt x="24083" y="35372"/>
                      </a:cubicBezTo>
                      <a:cubicBezTo>
                        <a:pt x="10945" y="35372"/>
                        <a:pt x="401" y="27530"/>
                        <a:pt x="401" y="17757"/>
                      </a:cubicBezTo>
                      <a:cubicBezTo>
                        <a:pt x="401" y="7984"/>
                        <a:pt x="10945" y="141"/>
                        <a:pt x="24083" y="141"/>
                      </a:cubicBezTo>
                      <a:cubicBezTo>
                        <a:pt x="37222" y="141"/>
                        <a:pt x="47766" y="7984"/>
                        <a:pt x="47766" y="17757"/>
                      </a:cubicBezTo>
                      <a:lnTo>
                        <a:pt x="47766" y="17757"/>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2" name="Freeform: Shape 141">
                  <a:extLst>
                    <a:ext uri="{FF2B5EF4-FFF2-40B4-BE49-F238E27FC236}">
                      <a16:creationId xmlns:a16="http://schemas.microsoft.com/office/drawing/2014/main" id="{C4905E3B-DDCC-98BF-DE97-42348949410A}"/>
                    </a:ext>
                  </a:extLst>
                </p:cNvPr>
                <p:cNvSpPr/>
                <p:nvPr/>
              </p:nvSpPr>
              <p:spPr>
                <a:xfrm>
                  <a:off x="8682182" y="3286258"/>
                  <a:ext cx="47364" cy="35230"/>
                </a:xfrm>
                <a:custGeom>
                  <a:avLst/>
                  <a:gdLst>
                    <a:gd name="connsiteX0" fmla="*/ 47769 w 47364"/>
                    <a:gd name="connsiteY0" fmla="*/ 17758 h 35230"/>
                    <a:gd name="connsiteX1" fmla="*/ 24086 w 47364"/>
                    <a:gd name="connsiteY1" fmla="*/ 35373 h 35230"/>
                    <a:gd name="connsiteX2" fmla="*/ 404 w 47364"/>
                    <a:gd name="connsiteY2" fmla="*/ 17758 h 35230"/>
                    <a:gd name="connsiteX3" fmla="*/ 24086 w 47364"/>
                    <a:gd name="connsiteY3" fmla="*/ 142 h 35230"/>
                    <a:gd name="connsiteX4" fmla="*/ 47769 w 47364"/>
                    <a:gd name="connsiteY4" fmla="*/ 17758 h 35230"/>
                    <a:gd name="connsiteX5" fmla="*/ 47769 w 47364"/>
                    <a:gd name="connsiteY5" fmla="*/ 1775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69" y="17758"/>
                      </a:moveTo>
                      <a:cubicBezTo>
                        <a:pt x="47769" y="27531"/>
                        <a:pt x="37225" y="35373"/>
                        <a:pt x="24086" y="35373"/>
                      </a:cubicBezTo>
                      <a:cubicBezTo>
                        <a:pt x="10948" y="35373"/>
                        <a:pt x="404" y="27531"/>
                        <a:pt x="404" y="17758"/>
                      </a:cubicBezTo>
                      <a:cubicBezTo>
                        <a:pt x="404" y="7985"/>
                        <a:pt x="10948" y="142"/>
                        <a:pt x="24086" y="142"/>
                      </a:cubicBezTo>
                      <a:cubicBezTo>
                        <a:pt x="37225" y="142"/>
                        <a:pt x="47769" y="7985"/>
                        <a:pt x="47769" y="17758"/>
                      </a:cubicBezTo>
                      <a:lnTo>
                        <a:pt x="47769" y="17758"/>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3" name="Freeform: Shape 142">
                  <a:extLst>
                    <a:ext uri="{FF2B5EF4-FFF2-40B4-BE49-F238E27FC236}">
                      <a16:creationId xmlns:a16="http://schemas.microsoft.com/office/drawing/2014/main" id="{1FB18289-5461-15CD-10F9-977DBB83E0D6}"/>
                    </a:ext>
                  </a:extLst>
                </p:cNvPr>
                <p:cNvSpPr/>
                <p:nvPr/>
              </p:nvSpPr>
              <p:spPr>
                <a:xfrm>
                  <a:off x="8713813" y="3292773"/>
                  <a:ext cx="47364" cy="35230"/>
                </a:xfrm>
                <a:custGeom>
                  <a:avLst/>
                  <a:gdLst>
                    <a:gd name="connsiteX0" fmla="*/ 47771 w 47364"/>
                    <a:gd name="connsiteY0" fmla="*/ 17758 h 35230"/>
                    <a:gd name="connsiteX1" fmla="*/ 24088 w 47364"/>
                    <a:gd name="connsiteY1" fmla="*/ 35374 h 35230"/>
                    <a:gd name="connsiteX2" fmla="*/ 406 w 47364"/>
                    <a:gd name="connsiteY2" fmla="*/ 17758 h 35230"/>
                    <a:gd name="connsiteX3" fmla="*/ 24088 w 47364"/>
                    <a:gd name="connsiteY3" fmla="*/ 143 h 35230"/>
                    <a:gd name="connsiteX4" fmla="*/ 47771 w 47364"/>
                    <a:gd name="connsiteY4" fmla="*/ 17758 h 35230"/>
                    <a:gd name="connsiteX5" fmla="*/ 47771 w 47364"/>
                    <a:gd name="connsiteY5" fmla="*/ 1775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71" y="17758"/>
                      </a:moveTo>
                      <a:cubicBezTo>
                        <a:pt x="47771" y="27531"/>
                        <a:pt x="37227" y="35374"/>
                        <a:pt x="24088" y="35374"/>
                      </a:cubicBezTo>
                      <a:cubicBezTo>
                        <a:pt x="10949" y="35374"/>
                        <a:pt x="406" y="27531"/>
                        <a:pt x="406" y="17758"/>
                      </a:cubicBezTo>
                      <a:cubicBezTo>
                        <a:pt x="406" y="7985"/>
                        <a:pt x="10949" y="143"/>
                        <a:pt x="24088" y="143"/>
                      </a:cubicBezTo>
                      <a:cubicBezTo>
                        <a:pt x="37227" y="143"/>
                        <a:pt x="47771" y="7985"/>
                        <a:pt x="47771" y="17758"/>
                      </a:cubicBezTo>
                      <a:lnTo>
                        <a:pt x="47771" y="17758"/>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4" name="Freeform: Shape 143">
                  <a:extLst>
                    <a:ext uri="{FF2B5EF4-FFF2-40B4-BE49-F238E27FC236}">
                      <a16:creationId xmlns:a16="http://schemas.microsoft.com/office/drawing/2014/main" id="{66A0D704-8B14-936B-68C1-F680D48F463D}"/>
                    </a:ext>
                  </a:extLst>
                </p:cNvPr>
                <p:cNvSpPr/>
                <p:nvPr/>
              </p:nvSpPr>
              <p:spPr>
                <a:xfrm>
                  <a:off x="8746255" y="3304839"/>
                  <a:ext cx="47364" cy="35230"/>
                </a:xfrm>
                <a:custGeom>
                  <a:avLst/>
                  <a:gdLst>
                    <a:gd name="connsiteX0" fmla="*/ 47773 w 47364"/>
                    <a:gd name="connsiteY0" fmla="*/ 17759 h 35230"/>
                    <a:gd name="connsiteX1" fmla="*/ 24090 w 47364"/>
                    <a:gd name="connsiteY1" fmla="*/ 35375 h 35230"/>
                    <a:gd name="connsiteX2" fmla="*/ 408 w 47364"/>
                    <a:gd name="connsiteY2" fmla="*/ 17759 h 35230"/>
                    <a:gd name="connsiteX3" fmla="*/ 24090 w 47364"/>
                    <a:gd name="connsiteY3" fmla="*/ 144 h 35230"/>
                    <a:gd name="connsiteX4" fmla="*/ 47773 w 47364"/>
                    <a:gd name="connsiteY4" fmla="*/ 17759 h 35230"/>
                    <a:gd name="connsiteX5" fmla="*/ 47773 w 47364"/>
                    <a:gd name="connsiteY5" fmla="*/ 17759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73" y="17759"/>
                      </a:moveTo>
                      <a:cubicBezTo>
                        <a:pt x="47773" y="27532"/>
                        <a:pt x="37229" y="35375"/>
                        <a:pt x="24090" y="35375"/>
                      </a:cubicBezTo>
                      <a:cubicBezTo>
                        <a:pt x="10951" y="35375"/>
                        <a:pt x="408" y="27532"/>
                        <a:pt x="408" y="17759"/>
                      </a:cubicBezTo>
                      <a:cubicBezTo>
                        <a:pt x="408" y="7986"/>
                        <a:pt x="10951" y="144"/>
                        <a:pt x="24090" y="144"/>
                      </a:cubicBezTo>
                      <a:cubicBezTo>
                        <a:pt x="37229" y="144"/>
                        <a:pt x="47773" y="7986"/>
                        <a:pt x="47773" y="17759"/>
                      </a:cubicBezTo>
                      <a:lnTo>
                        <a:pt x="47773" y="17759"/>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5" name="Freeform: Shape 144">
                  <a:extLst>
                    <a:ext uri="{FF2B5EF4-FFF2-40B4-BE49-F238E27FC236}">
                      <a16:creationId xmlns:a16="http://schemas.microsoft.com/office/drawing/2014/main" id="{5DC618ED-3EEA-AF01-F63E-7881547B58C0}"/>
                    </a:ext>
                  </a:extLst>
                </p:cNvPr>
                <p:cNvSpPr/>
                <p:nvPr/>
              </p:nvSpPr>
              <p:spPr>
                <a:xfrm>
                  <a:off x="8779508" y="3310389"/>
                  <a:ext cx="47364" cy="35230"/>
                </a:xfrm>
                <a:custGeom>
                  <a:avLst/>
                  <a:gdLst>
                    <a:gd name="connsiteX0" fmla="*/ 47775 w 47364"/>
                    <a:gd name="connsiteY0" fmla="*/ 17760 h 35230"/>
                    <a:gd name="connsiteX1" fmla="*/ 24092 w 47364"/>
                    <a:gd name="connsiteY1" fmla="*/ 35375 h 35230"/>
                    <a:gd name="connsiteX2" fmla="*/ 410 w 47364"/>
                    <a:gd name="connsiteY2" fmla="*/ 17760 h 35230"/>
                    <a:gd name="connsiteX3" fmla="*/ 24092 w 47364"/>
                    <a:gd name="connsiteY3" fmla="*/ 144 h 35230"/>
                    <a:gd name="connsiteX4" fmla="*/ 47775 w 47364"/>
                    <a:gd name="connsiteY4" fmla="*/ 17760 h 35230"/>
                    <a:gd name="connsiteX5" fmla="*/ 47775 w 47364"/>
                    <a:gd name="connsiteY5" fmla="*/ 17760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75" y="17760"/>
                      </a:moveTo>
                      <a:cubicBezTo>
                        <a:pt x="47775" y="27533"/>
                        <a:pt x="37231" y="35375"/>
                        <a:pt x="24092" y="35375"/>
                      </a:cubicBezTo>
                      <a:cubicBezTo>
                        <a:pt x="10954" y="35375"/>
                        <a:pt x="410" y="27533"/>
                        <a:pt x="410" y="17760"/>
                      </a:cubicBezTo>
                      <a:cubicBezTo>
                        <a:pt x="410" y="7987"/>
                        <a:pt x="10954" y="144"/>
                        <a:pt x="24092" y="144"/>
                      </a:cubicBezTo>
                      <a:cubicBezTo>
                        <a:pt x="37231" y="144"/>
                        <a:pt x="47775" y="7987"/>
                        <a:pt x="47775" y="17760"/>
                      </a:cubicBezTo>
                      <a:lnTo>
                        <a:pt x="47775" y="17760"/>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6" name="Freeform: Shape 145">
                  <a:extLst>
                    <a:ext uri="{FF2B5EF4-FFF2-40B4-BE49-F238E27FC236}">
                      <a16:creationId xmlns:a16="http://schemas.microsoft.com/office/drawing/2014/main" id="{3D5D0D8D-3DB8-41E2-EF42-8B39A8828446}"/>
                    </a:ext>
                  </a:extLst>
                </p:cNvPr>
                <p:cNvSpPr/>
                <p:nvPr/>
              </p:nvSpPr>
              <p:spPr>
                <a:xfrm>
                  <a:off x="8828170" y="3310389"/>
                  <a:ext cx="47364" cy="35230"/>
                </a:xfrm>
                <a:custGeom>
                  <a:avLst/>
                  <a:gdLst>
                    <a:gd name="connsiteX0" fmla="*/ 47778 w 47364"/>
                    <a:gd name="connsiteY0" fmla="*/ 17760 h 35230"/>
                    <a:gd name="connsiteX1" fmla="*/ 24095 w 47364"/>
                    <a:gd name="connsiteY1" fmla="*/ 35375 h 35230"/>
                    <a:gd name="connsiteX2" fmla="*/ 413 w 47364"/>
                    <a:gd name="connsiteY2" fmla="*/ 17760 h 35230"/>
                    <a:gd name="connsiteX3" fmla="*/ 24095 w 47364"/>
                    <a:gd name="connsiteY3" fmla="*/ 144 h 35230"/>
                    <a:gd name="connsiteX4" fmla="*/ 47778 w 47364"/>
                    <a:gd name="connsiteY4" fmla="*/ 17760 h 35230"/>
                    <a:gd name="connsiteX5" fmla="*/ 47778 w 47364"/>
                    <a:gd name="connsiteY5" fmla="*/ 17760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78" y="17760"/>
                      </a:moveTo>
                      <a:cubicBezTo>
                        <a:pt x="47778" y="27533"/>
                        <a:pt x="37234" y="35375"/>
                        <a:pt x="24095" y="35375"/>
                      </a:cubicBezTo>
                      <a:cubicBezTo>
                        <a:pt x="10957" y="35375"/>
                        <a:pt x="413" y="27533"/>
                        <a:pt x="413" y="17760"/>
                      </a:cubicBezTo>
                      <a:cubicBezTo>
                        <a:pt x="413" y="7987"/>
                        <a:pt x="10957" y="144"/>
                        <a:pt x="24095" y="144"/>
                      </a:cubicBezTo>
                      <a:cubicBezTo>
                        <a:pt x="37234" y="144"/>
                        <a:pt x="47778" y="7987"/>
                        <a:pt x="47778" y="17760"/>
                      </a:cubicBezTo>
                      <a:lnTo>
                        <a:pt x="47778" y="17760"/>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7" name="Freeform: Shape 146">
                  <a:extLst>
                    <a:ext uri="{FF2B5EF4-FFF2-40B4-BE49-F238E27FC236}">
                      <a16:creationId xmlns:a16="http://schemas.microsoft.com/office/drawing/2014/main" id="{DDA6B1A3-FFD4-220A-BF5A-C84733FA8823}"/>
                    </a:ext>
                  </a:extLst>
                </p:cNvPr>
                <p:cNvSpPr/>
                <p:nvPr/>
              </p:nvSpPr>
              <p:spPr>
                <a:xfrm>
                  <a:off x="8860612" y="3310389"/>
                  <a:ext cx="47364" cy="35230"/>
                </a:xfrm>
                <a:custGeom>
                  <a:avLst/>
                  <a:gdLst>
                    <a:gd name="connsiteX0" fmla="*/ 47780 w 47364"/>
                    <a:gd name="connsiteY0" fmla="*/ 17760 h 35230"/>
                    <a:gd name="connsiteX1" fmla="*/ 24097 w 47364"/>
                    <a:gd name="connsiteY1" fmla="*/ 35375 h 35230"/>
                    <a:gd name="connsiteX2" fmla="*/ 415 w 47364"/>
                    <a:gd name="connsiteY2" fmla="*/ 17760 h 35230"/>
                    <a:gd name="connsiteX3" fmla="*/ 24097 w 47364"/>
                    <a:gd name="connsiteY3" fmla="*/ 144 h 35230"/>
                    <a:gd name="connsiteX4" fmla="*/ 47780 w 47364"/>
                    <a:gd name="connsiteY4" fmla="*/ 17760 h 35230"/>
                    <a:gd name="connsiteX5" fmla="*/ 47780 w 47364"/>
                    <a:gd name="connsiteY5" fmla="*/ 17760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80" y="17760"/>
                      </a:moveTo>
                      <a:cubicBezTo>
                        <a:pt x="47780" y="27533"/>
                        <a:pt x="37236" y="35375"/>
                        <a:pt x="24097" y="35375"/>
                      </a:cubicBezTo>
                      <a:cubicBezTo>
                        <a:pt x="10959" y="35375"/>
                        <a:pt x="415" y="27533"/>
                        <a:pt x="415" y="17760"/>
                      </a:cubicBezTo>
                      <a:cubicBezTo>
                        <a:pt x="415" y="7987"/>
                        <a:pt x="10959" y="144"/>
                        <a:pt x="24097" y="144"/>
                      </a:cubicBezTo>
                      <a:cubicBezTo>
                        <a:pt x="37236" y="144"/>
                        <a:pt x="47780" y="7987"/>
                        <a:pt x="47780" y="17760"/>
                      </a:cubicBezTo>
                      <a:lnTo>
                        <a:pt x="47780" y="17760"/>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8" name="Freeform: Shape 147">
                  <a:extLst>
                    <a:ext uri="{FF2B5EF4-FFF2-40B4-BE49-F238E27FC236}">
                      <a16:creationId xmlns:a16="http://schemas.microsoft.com/office/drawing/2014/main" id="{AD0A0D71-6C51-8D13-5562-A70BE6E99EAF}"/>
                    </a:ext>
                  </a:extLst>
                </p:cNvPr>
                <p:cNvSpPr/>
                <p:nvPr/>
              </p:nvSpPr>
              <p:spPr>
                <a:xfrm>
                  <a:off x="8909274" y="3310389"/>
                  <a:ext cx="47364" cy="35230"/>
                </a:xfrm>
                <a:custGeom>
                  <a:avLst/>
                  <a:gdLst>
                    <a:gd name="connsiteX0" fmla="*/ 47783 w 47364"/>
                    <a:gd name="connsiteY0" fmla="*/ 17760 h 35230"/>
                    <a:gd name="connsiteX1" fmla="*/ 24100 w 47364"/>
                    <a:gd name="connsiteY1" fmla="*/ 35375 h 35230"/>
                    <a:gd name="connsiteX2" fmla="*/ 418 w 47364"/>
                    <a:gd name="connsiteY2" fmla="*/ 17760 h 35230"/>
                    <a:gd name="connsiteX3" fmla="*/ 24100 w 47364"/>
                    <a:gd name="connsiteY3" fmla="*/ 144 h 35230"/>
                    <a:gd name="connsiteX4" fmla="*/ 47783 w 47364"/>
                    <a:gd name="connsiteY4" fmla="*/ 17760 h 35230"/>
                    <a:gd name="connsiteX5" fmla="*/ 47783 w 47364"/>
                    <a:gd name="connsiteY5" fmla="*/ 17760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83" y="17760"/>
                      </a:moveTo>
                      <a:cubicBezTo>
                        <a:pt x="47783" y="27533"/>
                        <a:pt x="37239" y="35375"/>
                        <a:pt x="24100" y="35375"/>
                      </a:cubicBezTo>
                      <a:cubicBezTo>
                        <a:pt x="10962" y="35375"/>
                        <a:pt x="418" y="27533"/>
                        <a:pt x="418" y="17760"/>
                      </a:cubicBezTo>
                      <a:cubicBezTo>
                        <a:pt x="418" y="7987"/>
                        <a:pt x="10962" y="144"/>
                        <a:pt x="24100" y="144"/>
                      </a:cubicBezTo>
                      <a:cubicBezTo>
                        <a:pt x="37239" y="144"/>
                        <a:pt x="47783" y="7987"/>
                        <a:pt x="47783" y="17760"/>
                      </a:cubicBezTo>
                      <a:lnTo>
                        <a:pt x="47783" y="17760"/>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9" name="Freeform: Shape 148">
                  <a:extLst>
                    <a:ext uri="{FF2B5EF4-FFF2-40B4-BE49-F238E27FC236}">
                      <a16:creationId xmlns:a16="http://schemas.microsoft.com/office/drawing/2014/main" id="{8BBCFF2E-A527-D949-530D-7AD1FCD1917C}"/>
                    </a:ext>
                  </a:extLst>
                </p:cNvPr>
                <p:cNvSpPr/>
                <p:nvPr/>
              </p:nvSpPr>
              <p:spPr>
                <a:xfrm>
                  <a:off x="8957937" y="3310389"/>
                  <a:ext cx="47364" cy="35230"/>
                </a:xfrm>
                <a:custGeom>
                  <a:avLst/>
                  <a:gdLst>
                    <a:gd name="connsiteX0" fmla="*/ 47786 w 47364"/>
                    <a:gd name="connsiteY0" fmla="*/ 17760 h 35230"/>
                    <a:gd name="connsiteX1" fmla="*/ 24103 w 47364"/>
                    <a:gd name="connsiteY1" fmla="*/ 35375 h 35230"/>
                    <a:gd name="connsiteX2" fmla="*/ 421 w 47364"/>
                    <a:gd name="connsiteY2" fmla="*/ 17760 h 35230"/>
                    <a:gd name="connsiteX3" fmla="*/ 24103 w 47364"/>
                    <a:gd name="connsiteY3" fmla="*/ 144 h 35230"/>
                    <a:gd name="connsiteX4" fmla="*/ 47786 w 47364"/>
                    <a:gd name="connsiteY4" fmla="*/ 17760 h 35230"/>
                    <a:gd name="connsiteX5" fmla="*/ 47786 w 47364"/>
                    <a:gd name="connsiteY5" fmla="*/ 17760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86" y="17760"/>
                      </a:moveTo>
                      <a:cubicBezTo>
                        <a:pt x="47786" y="27533"/>
                        <a:pt x="37242" y="35375"/>
                        <a:pt x="24103" y="35375"/>
                      </a:cubicBezTo>
                      <a:cubicBezTo>
                        <a:pt x="10965" y="35375"/>
                        <a:pt x="421" y="27533"/>
                        <a:pt x="421" y="17760"/>
                      </a:cubicBezTo>
                      <a:cubicBezTo>
                        <a:pt x="421" y="7987"/>
                        <a:pt x="10965" y="144"/>
                        <a:pt x="24103" y="144"/>
                      </a:cubicBezTo>
                      <a:cubicBezTo>
                        <a:pt x="37242" y="144"/>
                        <a:pt x="47786" y="7987"/>
                        <a:pt x="47786" y="17760"/>
                      </a:cubicBezTo>
                      <a:lnTo>
                        <a:pt x="47786" y="17760"/>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0" name="Freeform: Shape 149">
                  <a:extLst>
                    <a:ext uri="{FF2B5EF4-FFF2-40B4-BE49-F238E27FC236}">
                      <a16:creationId xmlns:a16="http://schemas.microsoft.com/office/drawing/2014/main" id="{3D49B735-7E75-8F11-8C38-A7ECAA3023B0}"/>
                    </a:ext>
                  </a:extLst>
                </p:cNvPr>
                <p:cNvSpPr/>
                <p:nvPr/>
              </p:nvSpPr>
              <p:spPr>
                <a:xfrm>
                  <a:off x="8990379" y="3322454"/>
                  <a:ext cx="47364" cy="35230"/>
                </a:xfrm>
                <a:custGeom>
                  <a:avLst/>
                  <a:gdLst>
                    <a:gd name="connsiteX0" fmla="*/ 47788 w 47364"/>
                    <a:gd name="connsiteY0" fmla="*/ 17761 h 35230"/>
                    <a:gd name="connsiteX1" fmla="*/ 24105 w 47364"/>
                    <a:gd name="connsiteY1" fmla="*/ 35376 h 35230"/>
                    <a:gd name="connsiteX2" fmla="*/ 423 w 47364"/>
                    <a:gd name="connsiteY2" fmla="*/ 17761 h 35230"/>
                    <a:gd name="connsiteX3" fmla="*/ 24105 w 47364"/>
                    <a:gd name="connsiteY3" fmla="*/ 145 h 35230"/>
                    <a:gd name="connsiteX4" fmla="*/ 47788 w 47364"/>
                    <a:gd name="connsiteY4" fmla="*/ 17761 h 35230"/>
                    <a:gd name="connsiteX5" fmla="*/ 47788 w 47364"/>
                    <a:gd name="connsiteY5" fmla="*/ 17761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88" y="17761"/>
                      </a:moveTo>
                      <a:cubicBezTo>
                        <a:pt x="47788" y="27534"/>
                        <a:pt x="37244" y="35376"/>
                        <a:pt x="24105" y="35376"/>
                      </a:cubicBezTo>
                      <a:cubicBezTo>
                        <a:pt x="10967" y="35376"/>
                        <a:pt x="423" y="27534"/>
                        <a:pt x="423" y="17761"/>
                      </a:cubicBezTo>
                      <a:cubicBezTo>
                        <a:pt x="423" y="7988"/>
                        <a:pt x="10967" y="145"/>
                        <a:pt x="24105" y="145"/>
                      </a:cubicBezTo>
                      <a:cubicBezTo>
                        <a:pt x="37244" y="145"/>
                        <a:pt x="47788" y="7988"/>
                        <a:pt x="47788" y="17761"/>
                      </a:cubicBezTo>
                      <a:lnTo>
                        <a:pt x="47788" y="17761"/>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1" name="Freeform: Shape 150">
                  <a:extLst>
                    <a:ext uri="{FF2B5EF4-FFF2-40B4-BE49-F238E27FC236}">
                      <a16:creationId xmlns:a16="http://schemas.microsoft.com/office/drawing/2014/main" id="{5A192D5D-419B-77D0-3F99-54B584F2E13B}"/>
                    </a:ext>
                  </a:extLst>
                </p:cNvPr>
                <p:cNvSpPr/>
                <p:nvPr/>
              </p:nvSpPr>
              <p:spPr>
                <a:xfrm>
                  <a:off x="8990379" y="3370716"/>
                  <a:ext cx="47364" cy="35230"/>
                </a:xfrm>
                <a:custGeom>
                  <a:avLst/>
                  <a:gdLst>
                    <a:gd name="connsiteX0" fmla="*/ 47788 w 47364"/>
                    <a:gd name="connsiteY0" fmla="*/ 17765 h 35230"/>
                    <a:gd name="connsiteX1" fmla="*/ 24105 w 47364"/>
                    <a:gd name="connsiteY1" fmla="*/ 35380 h 35230"/>
                    <a:gd name="connsiteX2" fmla="*/ 423 w 47364"/>
                    <a:gd name="connsiteY2" fmla="*/ 17765 h 35230"/>
                    <a:gd name="connsiteX3" fmla="*/ 24105 w 47364"/>
                    <a:gd name="connsiteY3" fmla="*/ 149 h 35230"/>
                    <a:gd name="connsiteX4" fmla="*/ 47788 w 47364"/>
                    <a:gd name="connsiteY4" fmla="*/ 17765 h 35230"/>
                    <a:gd name="connsiteX5" fmla="*/ 47788 w 47364"/>
                    <a:gd name="connsiteY5" fmla="*/ 1776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88" y="17765"/>
                      </a:moveTo>
                      <a:cubicBezTo>
                        <a:pt x="47788" y="27538"/>
                        <a:pt x="37244" y="35380"/>
                        <a:pt x="24105" y="35380"/>
                      </a:cubicBezTo>
                      <a:cubicBezTo>
                        <a:pt x="10967" y="35380"/>
                        <a:pt x="423" y="27538"/>
                        <a:pt x="423" y="17765"/>
                      </a:cubicBezTo>
                      <a:cubicBezTo>
                        <a:pt x="423" y="7992"/>
                        <a:pt x="10967" y="149"/>
                        <a:pt x="24105" y="149"/>
                      </a:cubicBezTo>
                      <a:cubicBezTo>
                        <a:pt x="37244" y="149"/>
                        <a:pt x="47788" y="7992"/>
                        <a:pt x="47788" y="17765"/>
                      </a:cubicBezTo>
                      <a:lnTo>
                        <a:pt x="47788" y="17765"/>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2" name="Freeform: Shape 151">
                  <a:extLst>
                    <a:ext uri="{FF2B5EF4-FFF2-40B4-BE49-F238E27FC236}">
                      <a16:creationId xmlns:a16="http://schemas.microsoft.com/office/drawing/2014/main" id="{17C87054-23AB-13AF-7578-C717A7AC46BB}"/>
                    </a:ext>
                  </a:extLst>
                </p:cNvPr>
                <p:cNvSpPr/>
                <p:nvPr/>
              </p:nvSpPr>
              <p:spPr>
                <a:xfrm>
                  <a:off x="9024280" y="3381695"/>
                  <a:ext cx="47364" cy="35230"/>
                </a:xfrm>
                <a:custGeom>
                  <a:avLst/>
                  <a:gdLst>
                    <a:gd name="connsiteX0" fmla="*/ 47790 w 47364"/>
                    <a:gd name="connsiteY0" fmla="*/ 17766 h 35230"/>
                    <a:gd name="connsiteX1" fmla="*/ 24107 w 47364"/>
                    <a:gd name="connsiteY1" fmla="*/ 35381 h 35230"/>
                    <a:gd name="connsiteX2" fmla="*/ 425 w 47364"/>
                    <a:gd name="connsiteY2" fmla="*/ 17766 h 35230"/>
                    <a:gd name="connsiteX3" fmla="*/ 24107 w 47364"/>
                    <a:gd name="connsiteY3" fmla="*/ 150 h 35230"/>
                    <a:gd name="connsiteX4" fmla="*/ 47790 w 47364"/>
                    <a:gd name="connsiteY4" fmla="*/ 17766 h 35230"/>
                    <a:gd name="connsiteX5" fmla="*/ 47790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90" y="17766"/>
                      </a:moveTo>
                      <a:cubicBezTo>
                        <a:pt x="47790" y="27539"/>
                        <a:pt x="37246" y="35381"/>
                        <a:pt x="24107" y="35381"/>
                      </a:cubicBezTo>
                      <a:cubicBezTo>
                        <a:pt x="10969" y="35381"/>
                        <a:pt x="425" y="27539"/>
                        <a:pt x="425" y="17766"/>
                      </a:cubicBezTo>
                      <a:cubicBezTo>
                        <a:pt x="425" y="7993"/>
                        <a:pt x="10969" y="150"/>
                        <a:pt x="24107" y="150"/>
                      </a:cubicBezTo>
                      <a:cubicBezTo>
                        <a:pt x="37246" y="150"/>
                        <a:pt x="47790" y="7993"/>
                        <a:pt x="47790" y="17766"/>
                      </a:cubicBezTo>
                      <a:lnTo>
                        <a:pt x="47790" y="1776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3" name="Freeform: Shape 152">
                  <a:extLst>
                    <a:ext uri="{FF2B5EF4-FFF2-40B4-BE49-F238E27FC236}">
                      <a16:creationId xmlns:a16="http://schemas.microsoft.com/office/drawing/2014/main" id="{50AEAD02-BD60-055D-4D75-8655363FD7CA}"/>
                    </a:ext>
                  </a:extLst>
                </p:cNvPr>
                <p:cNvSpPr/>
                <p:nvPr/>
              </p:nvSpPr>
              <p:spPr>
                <a:xfrm>
                  <a:off x="9072943" y="3381695"/>
                  <a:ext cx="47364" cy="35230"/>
                </a:xfrm>
                <a:custGeom>
                  <a:avLst/>
                  <a:gdLst>
                    <a:gd name="connsiteX0" fmla="*/ 47793 w 47364"/>
                    <a:gd name="connsiteY0" fmla="*/ 17766 h 35230"/>
                    <a:gd name="connsiteX1" fmla="*/ 24110 w 47364"/>
                    <a:gd name="connsiteY1" fmla="*/ 35381 h 35230"/>
                    <a:gd name="connsiteX2" fmla="*/ 428 w 47364"/>
                    <a:gd name="connsiteY2" fmla="*/ 17766 h 35230"/>
                    <a:gd name="connsiteX3" fmla="*/ 24110 w 47364"/>
                    <a:gd name="connsiteY3" fmla="*/ 150 h 35230"/>
                    <a:gd name="connsiteX4" fmla="*/ 47793 w 47364"/>
                    <a:gd name="connsiteY4" fmla="*/ 17766 h 35230"/>
                    <a:gd name="connsiteX5" fmla="*/ 47793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93" y="17766"/>
                      </a:moveTo>
                      <a:cubicBezTo>
                        <a:pt x="47793" y="27539"/>
                        <a:pt x="37249" y="35381"/>
                        <a:pt x="24110" y="35381"/>
                      </a:cubicBezTo>
                      <a:cubicBezTo>
                        <a:pt x="10972" y="35381"/>
                        <a:pt x="428" y="27539"/>
                        <a:pt x="428" y="17766"/>
                      </a:cubicBezTo>
                      <a:cubicBezTo>
                        <a:pt x="428" y="7993"/>
                        <a:pt x="10972" y="150"/>
                        <a:pt x="24110" y="150"/>
                      </a:cubicBezTo>
                      <a:cubicBezTo>
                        <a:pt x="37249" y="150"/>
                        <a:pt x="47793" y="7993"/>
                        <a:pt x="47793" y="17766"/>
                      </a:cubicBezTo>
                      <a:lnTo>
                        <a:pt x="47793" y="1776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4" name="Freeform: Shape 153">
                  <a:extLst>
                    <a:ext uri="{FF2B5EF4-FFF2-40B4-BE49-F238E27FC236}">
                      <a16:creationId xmlns:a16="http://schemas.microsoft.com/office/drawing/2014/main" id="{AF079FEC-FDE1-D4BE-22A1-B891EE4FA07F}"/>
                    </a:ext>
                  </a:extLst>
                </p:cNvPr>
                <p:cNvSpPr/>
                <p:nvPr/>
              </p:nvSpPr>
              <p:spPr>
                <a:xfrm>
                  <a:off x="9121605" y="3381695"/>
                  <a:ext cx="47364" cy="35230"/>
                </a:xfrm>
                <a:custGeom>
                  <a:avLst/>
                  <a:gdLst>
                    <a:gd name="connsiteX0" fmla="*/ 47796 w 47364"/>
                    <a:gd name="connsiteY0" fmla="*/ 17766 h 35230"/>
                    <a:gd name="connsiteX1" fmla="*/ 24113 w 47364"/>
                    <a:gd name="connsiteY1" fmla="*/ 35381 h 35230"/>
                    <a:gd name="connsiteX2" fmla="*/ 431 w 47364"/>
                    <a:gd name="connsiteY2" fmla="*/ 17766 h 35230"/>
                    <a:gd name="connsiteX3" fmla="*/ 24113 w 47364"/>
                    <a:gd name="connsiteY3" fmla="*/ 150 h 35230"/>
                    <a:gd name="connsiteX4" fmla="*/ 47796 w 47364"/>
                    <a:gd name="connsiteY4" fmla="*/ 17766 h 35230"/>
                    <a:gd name="connsiteX5" fmla="*/ 47796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96" y="17766"/>
                      </a:moveTo>
                      <a:cubicBezTo>
                        <a:pt x="47796" y="27539"/>
                        <a:pt x="37252" y="35381"/>
                        <a:pt x="24113" y="35381"/>
                      </a:cubicBezTo>
                      <a:cubicBezTo>
                        <a:pt x="10975" y="35381"/>
                        <a:pt x="431" y="27539"/>
                        <a:pt x="431" y="17766"/>
                      </a:cubicBezTo>
                      <a:cubicBezTo>
                        <a:pt x="431" y="7993"/>
                        <a:pt x="10975" y="150"/>
                        <a:pt x="24113" y="150"/>
                      </a:cubicBezTo>
                      <a:cubicBezTo>
                        <a:pt x="37252" y="150"/>
                        <a:pt x="47796" y="7993"/>
                        <a:pt x="47796" y="17766"/>
                      </a:cubicBezTo>
                      <a:lnTo>
                        <a:pt x="47796" y="1776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5" name="Freeform: Shape 154">
                  <a:extLst>
                    <a:ext uri="{FF2B5EF4-FFF2-40B4-BE49-F238E27FC236}">
                      <a16:creationId xmlns:a16="http://schemas.microsoft.com/office/drawing/2014/main" id="{7C3B2D80-9092-DD95-8D0C-E637ECEC96AF}"/>
                    </a:ext>
                  </a:extLst>
                </p:cNvPr>
                <p:cNvSpPr/>
                <p:nvPr/>
              </p:nvSpPr>
              <p:spPr>
                <a:xfrm>
                  <a:off x="9170268" y="3381695"/>
                  <a:ext cx="47364" cy="35230"/>
                </a:xfrm>
                <a:custGeom>
                  <a:avLst/>
                  <a:gdLst>
                    <a:gd name="connsiteX0" fmla="*/ 47799 w 47364"/>
                    <a:gd name="connsiteY0" fmla="*/ 17766 h 35230"/>
                    <a:gd name="connsiteX1" fmla="*/ 24116 w 47364"/>
                    <a:gd name="connsiteY1" fmla="*/ 35381 h 35230"/>
                    <a:gd name="connsiteX2" fmla="*/ 434 w 47364"/>
                    <a:gd name="connsiteY2" fmla="*/ 17766 h 35230"/>
                    <a:gd name="connsiteX3" fmla="*/ 24116 w 47364"/>
                    <a:gd name="connsiteY3" fmla="*/ 150 h 35230"/>
                    <a:gd name="connsiteX4" fmla="*/ 47799 w 47364"/>
                    <a:gd name="connsiteY4" fmla="*/ 17766 h 35230"/>
                    <a:gd name="connsiteX5" fmla="*/ 47799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99" y="17766"/>
                      </a:moveTo>
                      <a:cubicBezTo>
                        <a:pt x="47799" y="27539"/>
                        <a:pt x="37255" y="35381"/>
                        <a:pt x="24116" y="35381"/>
                      </a:cubicBezTo>
                      <a:cubicBezTo>
                        <a:pt x="10978" y="35381"/>
                        <a:pt x="434" y="27539"/>
                        <a:pt x="434" y="17766"/>
                      </a:cubicBezTo>
                      <a:cubicBezTo>
                        <a:pt x="434" y="7993"/>
                        <a:pt x="10978" y="150"/>
                        <a:pt x="24116" y="150"/>
                      </a:cubicBezTo>
                      <a:cubicBezTo>
                        <a:pt x="37255" y="150"/>
                        <a:pt x="47799" y="7993"/>
                        <a:pt x="47799" y="17766"/>
                      </a:cubicBezTo>
                      <a:lnTo>
                        <a:pt x="47799" y="1776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6" name="Freeform: Shape 155">
                  <a:extLst>
                    <a:ext uri="{FF2B5EF4-FFF2-40B4-BE49-F238E27FC236}">
                      <a16:creationId xmlns:a16="http://schemas.microsoft.com/office/drawing/2014/main" id="{350353B6-3D27-9FC8-6F22-70C938851579}"/>
                    </a:ext>
                  </a:extLst>
                </p:cNvPr>
                <p:cNvSpPr/>
                <p:nvPr/>
              </p:nvSpPr>
              <p:spPr>
                <a:xfrm>
                  <a:off x="9218931" y="3381695"/>
                  <a:ext cx="47364" cy="35230"/>
                </a:xfrm>
                <a:custGeom>
                  <a:avLst/>
                  <a:gdLst>
                    <a:gd name="connsiteX0" fmla="*/ 47802 w 47364"/>
                    <a:gd name="connsiteY0" fmla="*/ 17766 h 35230"/>
                    <a:gd name="connsiteX1" fmla="*/ 24119 w 47364"/>
                    <a:gd name="connsiteY1" fmla="*/ 35381 h 35230"/>
                    <a:gd name="connsiteX2" fmla="*/ 437 w 47364"/>
                    <a:gd name="connsiteY2" fmla="*/ 17766 h 35230"/>
                    <a:gd name="connsiteX3" fmla="*/ 24119 w 47364"/>
                    <a:gd name="connsiteY3" fmla="*/ 150 h 35230"/>
                    <a:gd name="connsiteX4" fmla="*/ 47802 w 47364"/>
                    <a:gd name="connsiteY4" fmla="*/ 17766 h 35230"/>
                    <a:gd name="connsiteX5" fmla="*/ 47802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02" y="17766"/>
                      </a:moveTo>
                      <a:cubicBezTo>
                        <a:pt x="47802" y="27539"/>
                        <a:pt x="37258" y="35381"/>
                        <a:pt x="24119" y="35381"/>
                      </a:cubicBezTo>
                      <a:cubicBezTo>
                        <a:pt x="10981" y="35381"/>
                        <a:pt x="437" y="27539"/>
                        <a:pt x="437" y="17766"/>
                      </a:cubicBezTo>
                      <a:cubicBezTo>
                        <a:pt x="437" y="7993"/>
                        <a:pt x="10981" y="150"/>
                        <a:pt x="24119" y="150"/>
                      </a:cubicBezTo>
                      <a:cubicBezTo>
                        <a:pt x="37258" y="150"/>
                        <a:pt x="47802" y="7993"/>
                        <a:pt x="47802" y="17766"/>
                      </a:cubicBezTo>
                      <a:lnTo>
                        <a:pt x="47802" y="1776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7" name="Freeform: Shape 156">
                  <a:extLst>
                    <a:ext uri="{FF2B5EF4-FFF2-40B4-BE49-F238E27FC236}">
                      <a16:creationId xmlns:a16="http://schemas.microsoft.com/office/drawing/2014/main" id="{6314D899-BD9B-9B37-4365-66475BADBDA6}"/>
                    </a:ext>
                  </a:extLst>
                </p:cNvPr>
                <p:cNvSpPr/>
                <p:nvPr/>
              </p:nvSpPr>
              <p:spPr>
                <a:xfrm>
                  <a:off x="9267593" y="3381695"/>
                  <a:ext cx="47364" cy="35230"/>
                </a:xfrm>
                <a:custGeom>
                  <a:avLst/>
                  <a:gdLst>
                    <a:gd name="connsiteX0" fmla="*/ 47805 w 47364"/>
                    <a:gd name="connsiteY0" fmla="*/ 17766 h 35230"/>
                    <a:gd name="connsiteX1" fmla="*/ 24122 w 47364"/>
                    <a:gd name="connsiteY1" fmla="*/ 35381 h 35230"/>
                    <a:gd name="connsiteX2" fmla="*/ 440 w 47364"/>
                    <a:gd name="connsiteY2" fmla="*/ 17766 h 35230"/>
                    <a:gd name="connsiteX3" fmla="*/ 24122 w 47364"/>
                    <a:gd name="connsiteY3" fmla="*/ 150 h 35230"/>
                    <a:gd name="connsiteX4" fmla="*/ 47805 w 47364"/>
                    <a:gd name="connsiteY4" fmla="*/ 17766 h 35230"/>
                    <a:gd name="connsiteX5" fmla="*/ 47805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05" y="17766"/>
                      </a:moveTo>
                      <a:cubicBezTo>
                        <a:pt x="47805" y="27539"/>
                        <a:pt x="37261" y="35381"/>
                        <a:pt x="24122" y="35381"/>
                      </a:cubicBezTo>
                      <a:cubicBezTo>
                        <a:pt x="10984" y="35381"/>
                        <a:pt x="440" y="27539"/>
                        <a:pt x="440" y="17766"/>
                      </a:cubicBezTo>
                      <a:cubicBezTo>
                        <a:pt x="440" y="7993"/>
                        <a:pt x="10984" y="150"/>
                        <a:pt x="24122" y="150"/>
                      </a:cubicBezTo>
                      <a:cubicBezTo>
                        <a:pt x="37261" y="150"/>
                        <a:pt x="47805" y="7993"/>
                        <a:pt x="47805" y="17766"/>
                      </a:cubicBezTo>
                      <a:lnTo>
                        <a:pt x="47805" y="1776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8" name="Freeform: Shape 157">
                  <a:extLst>
                    <a:ext uri="{FF2B5EF4-FFF2-40B4-BE49-F238E27FC236}">
                      <a16:creationId xmlns:a16="http://schemas.microsoft.com/office/drawing/2014/main" id="{F6BAA719-2DCC-DA18-3AB6-2D444E2A6E9C}"/>
                    </a:ext>
                  </a:extLst>
                </p:cNvPr>
                <p:cNvSpPr/>
                <p:nvPr/>
              </p:nvSpPr>
              <p:spPr>
                <a:xfrm>
                  <a:off x="9332477" y="3381695"/>
                  <a:ext cx="47364" cy="35230"/>
                </a:xfrm>
                <a:custGeom>
                  <a:avLst/>
                  <a:gdLst>
                    <a:gd name="connsiteX0" fmla="*/ 47809 w 47364"/>
                    <a:gd name="connsiteY0" fmla="*/ 17766 h 35230"/>
                    <a:gd name="connsiteX1" fmla="*/ 24126 w 47364"/>
                    <a:gd name="connsiteY1" fmla="*/ 35381 h 35230"/>
                    <a:gd name="connsiteX2" fmla="*/ 444 w 47364"/>
                    <a:gd name="connsiteY2" fmla="*/ 17766 h 35230"/>
                    <a:gd name="connsiteX3" fmla="*/ 24126 w 47364"/>
                    <a:gd name="connsiteY3" fmla="*/ 150 h 35230"/>
                    <a:gd name="connsiteX4" fmla="*/ 47809 w 47364"/>
                    <a:gd name="connsiteY4" fmla="*/ 17766 h 35230"/>
                    <a:gd name="connsiteX5" fmla="*/ 47809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09" y="17766"/>
                      </a:moveTo>
                      <a:cubicBezTo>
                        <a:pt x="47809" y="27539"/>
                        <a:pt x="37265" y="35381"/>
                        <a:pt x="24126" y="35381"/>
                      </a:cubicBezTo>
                      <a:cubicBezTo>
                        <a:pt x="10988" y="35381"/>
                        <a:pt x="444" y="27539"/>
                        <a:pt x="444" y="17766"/>
                      </a:cubicBezTo>
                      <a:cubicBezTo>
                        <a:pt x="444" y="7993"/>
                        <a:pt x="10988" y="150"/>
                        <a:pt x="24126" y="150"/>
                      </a:cubicBezTo>
                      <a:cubicBezTo>
                        <a:pt x="37265" y="150"/>
                        <a:pt x="47809" y="7993"/>
                        <a:pt x="47809" y="17766"/>
                      </a:cubicBezTo>
                      <a:lnTo>
                        <a:pt x="47809" y="1776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9" name="Freeform: Shape 158">
                  <a:extLst>
                    <a:ext uri="{FF2B5EF4-FFF2-40B4-BE49-F238E27FC236}">
                      <a16:creationId xmlns:a16="http://schemas.microsoft.com/office/drawing/2014/main" id="{AC712519-A0AF-643D-BB50-C01FC3F06B31}"/>
                    </a:ext>
                  </a:extLst>
                </p:cNvPr>
                <p:cNvSpPr/>
                <p:nvPr/>
              </p:nvSpPr>
              <p:spPr>
                <a:xfrm>
                  <a:off x="9364918" y="3381695"/>
                  <a:ext cx="47364" cy="35230"/>
                </a:xfrm>
                <a:custGeom>
                  <a:avLst/>
                  <a:gdLst>
                    <a:gd name="connsiteX0" fmla="*/ 47811 w 47364"/>
                    <a:gd name="connsiteY0" fmla="*/ 17766 h 35230"/>
                    <a:gd name="connsiteX1" fmla="*/ 24128 w 47364"/>
                    <a:gd name="connsiteY1" fmla="*/ 35381 h 35230"/>
                    <a:gd name="connsiteX2" fmla="*/ 446 w 47364"/>
                    <a:gd name="connsiteY2" fmla="*/ 17766 h 35230"/>
                    <a:gd name="connsiteX3" fmla="*/ 24128 w 47364"/>
                    <a:gd name="connsiteY3" fmla="*/ 150 h 35230"/>
                    <a:gd name="connsiteX4" fmla="*/ 47811 w 47364"/>
                    <a:gd name="connsiteY4" fmla="*/ 17766 h 35230"/>
                    <a:gd name="connsiteX5" fmla="*/ 47811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11" y="17766"/>
                      </a:moveTo>
                      <a:cubicBezTo>
                        <a:pt x="47811" y="27539"/>
                        <a:pt x="37267" y="35381"/>
                        <a:pt x="24128" y="35381"/>
                      </a:cubicBezTo>
                      <a:cubicBezTo>
                        <a:pt x="10990" y="35381"/>
                        <a:pt x="446" y="27539"/>
                        <a:pt x="446" y="17766"/>
                      </a:cubicBezTo>
                      <a:cubicBezTo>
                        <a:pt x="446" y="7993"/>
                        <a:pt x="10990" y="150"/>
                        <a:pt x="24128" y="150"/>
                      </a:cubicBezTo>
                      <a:cubicBezTo>
                        <a:pt x="37267" y="150"/>
                        <a:pt x="47811" y="7993"/>
                        <a:pt x="47811" y="17766"/>
                      </a:cubicBezTo>
                      <a:lnTo>
                        <a:pt x="47811" y="1776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60" name="Freeform: Shape 159">
                  <a:extLst>
                    <a:ext uri="{FF2B5EF4-FFF2-40B4-BE49-F238E27FC236}">
                      <a16:creationId xmlns:a16="http://schemas.microsoft.com/office/drawing/2014/main" id="{3EE5E137-B4F2-624C-5EF2-E93CA6859513}"/>
                    </a:ext>
                  </a:extLst>
                </p:cNvPr>
                <p:cNvSpPr/>
                <p:nvPr/>
              </p:nvSpPr>
              <p:spPr>
                <a:xfrm>
                  <a:off x="9413743" y="3381695"/>
                  <a:ext cx="47364" cy="35230"/>
                </a:xfrm>
                <a:custGeom>
                  <a:avLst/>
                  <a:gdLst>
                    <a:gd name="connsiteX0" fmla="*/ 47814 w 47364"/>
                    <a:gd name="connsiteY0" fmla="*/ 17766 h 35230"/>
                    <a:gd name="connsiteX1" fmla="*/ 24132 w 47364"/>
                    <a:gd name="connsiteY1" fmla="*/ 35381 h 35230"/>
                    <a:gd name="connsiteX2" fmla="*/ 449 w 47364"/>
                    <a:gd name="connsiteY2" fmla="*/ 17766 h 35230"/>
                    <a:gd name="connsiteX3" fmla="*/ 24132 w 47364"/>
                    <a:gd name="connsiteY3" fmla="*/ 150 h 35230"/>
                    <a:gd name="connsiteX4" fmla="*/ 47814 w 47364"/>
                    <a:gd name="connsiteY4" fmla="*/ 17766 h 35230"/>
                    <a:gd name="connsiteX5" fmla="*/ 47814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14" y="17766"/>
                      </a:moveTo>
                      <a:cubicBezTo>
                        <a:pt x="47814" y="27539"/>
                        <a:pt x="37270" y="35381"/>
                        <a:pt x="24132" y="35381"/>
                      </a:cubicBezTo>
                      <a:cubicBezTo>
                        <a:pt x="10993" y="35381"/>
                        <a:pt x="449" y="27539"/>
                        <a:pt x="449" y="17766"/>
                      </a:cubicBezTo>
                      <a:cubicBezTo>
                        <a:pt x="449" y="7993"/>
                        <a:pt x="10993" y="150"/>
                        <a:pt x="24132" y="150"/>
                      </a:cubicBezTo>
                      <a:cubicBezTo>
                        <a:pt x="37270" y="150"/>
                        <a:pt x="47814" y="7993"/>
                        <a:pt x="47814" y="17766"/>
                      </a:cubicBezTo>
                      <a:lnTo>
                        <a:pt x="47814" y="1776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61" name="Freeform: Shape 160">
                  <a:extLst>
                    <a:ext uri="{FF2B5EF4-FFF2-40B4-BE49-F238E27FC236}">
                      <a16:creationId xmlns:a16="http://schemas.microsoft.com/office/drawing/2014/main" id="{986240D6-61C0-48A4-3DB5-64C2B1BB1A62}"/>
                    </a:ext>
                  </a:extLst>
                </p:cNvPr>
                <p:cNvSpPr/>
                <p:nvPr/>
              </p:nvSpPr>
              <p:spPr>
                <a:xfrm>
                  <a:off x="9543510" y="3381695"/>
                  <a:ext cx="47364" cy="35230"/>
                </a:xfrm>
                <a:custGeom>
                  <a:avLst/>
                  <a:gdLst>
                    <a:gd name="connsiteX0" fmla="*/ 47822 w 47364"/>
                    <a:gd name="connsiteY0" fmla="*/ 17766 h 35230"/>
                    <a:gd name="connsiteX1" fmla="*/ 24140 w 47364"/>
                    <a:gd name="connsiteY1" fmla="*/ 35381 h 35230"/>
                    <a:gd name="connsiteX2" fmla="*/ 457 w 47364"/>
                    <a:gd name="connsiteY2" fmla="*/ 17766 h 35230"/>
                    <a:gd name="connsiteX3" fmla="*/ 24140 w 47364"/>
                    <a:gd name="connsiteY3" fmla="*/ 150 h 35230"/>
                    <a:gd name="connsiteX4" fmla="*/ 47822 w 47364"/>
                    <a:gd name="connsiteY4" fmla="*/ 17766 h 35230"/>
                    <a:gd name="connsiteX5" fmla="*/ 47822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22" y="17766"/>
                      </a:moveTo>
                      <a:cubicBezTo>
                        <a:pt x="47822" y="27539"/>
                        <a:pt x="37278" y="35381"/>
                        <a:pt x="24140" y="35381"/>
                      </a:cubicBezTo>
                      <a:cubicBezTo>
                        <a:pt x="11001" y="35381"/>
                        <a:pt x="457" y="27539"/>
                        <a:pt x="457" y="17766"/>
                      </a:cubicBezTo>
                      <a:cubicBezTo>
                        <a:pt x="457" y="7993"/>
                        <a:pt x="11001" y="150"/>
                        <a:pt x="24140" y="150"/>
                      </a:cubicBezTo>
                      <a:cubicBezTo>
                        <a:pt x="37278" y="150"/>
                        <a:pt x="47822" y="7993"/>
                        <a:pt x="47822" y="17766"/>
                      </a:cubicBezTo>
                      <a:lnTo>
                        <a:pt x="47822" y="1776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62" name="Freeform: Shape 161">
                  <a:extLst>
                    <a:ext uri="{FF2B5EF4-FFF2-40B4-BE49-F238E27FC236}">
                      <a16:creationId xmlns:a16="http://schemas.microsoft.com/office/drawing/2014/main" id="{31235DD9-AC6A-9CB5-74A6-AAE647BF2995}"/>
                    </a:ext>
                  </a:extLst>
                </p:cNvPr>
                <p:cNvSpPr/>
                <p:nvPr/>
              </p:nvSpPr>
              <p:spPr>
                <a:xfrm>
                  <a:off x="9462406" y="3381695"/>
                  <a:ext cx="47364" cy="35230"/>
                </a:xfrm>
                <a:custGeom>
                  <a:avLst/>
                  <a:gdLst>
                    <a:gd name="connsiteX0" fmla="*/ 47817 w 47364"/>
                    <a:gd name="connsiteY0" fmla="*/ 17766 h 35230"/>
                    <a:gd name="connsiteX1" fmla="*/ 24135 w 47364"/>
                    <a:gd name="connsiteY1" fmla="*/ 35381 h 35230"/>
                    <a:gd name="connsiteX2" fmla="*/ 452 w 47364"/>
                    <a:gd name="connsiteY2" fmla="*/ 17766 h 35230"/>
                    <a:gd name="connsiteX3" fmla="*/ 24135 w 47364"/>
                    <a:gd name="connsiteY3" fmla="*/ 150 h 35230"/>
                    <a:gd name="connsiteX4" fmla="*/ 47817 w 47364"/>
                    <a:gd name="connsiteY4" fmla="*/ 17766 h 35230"/>
                    <a:gd name="connsiteX5" fmla="*/ 47817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17" y="17766"/>
                      </a:moveTo>
                      <a:cubicBezTo>
                        <a:pt x="47817" y="27539"/>
                        <a:pt x="37273" y="35381"/>
                        <a:pt x="24135" y="35381"/>
                      </a:cubicBezTo>
                      <a:cubicBezTo>
                        <a:pt x="10996" y="35381"/>
                        <a:pt x="452" y="27539"/>
                        <a:pt x="452" y="17766"/>
                      </a:cubicBezTo>
                      <a:cubicBezTo>
                        <a:pt x="452" y="7993"/>
                        <a:pt x="10996" y="150"/>
                        <a:pt x="24135" y="150"/>
                      </a:cubicBezTo>
                      <a:cubicBezTo>
                        <a:pt x="37273" y="150"/>
                        <a:pt x="47817" y="7993"/>
                        <a:pt x="47817" y="17766"/>
                      </a:cubicBezTo>
                      <a:lnTo>
                        <a:pt x="47817" y="17766"/>
                      </a:lnTo>
                      <a:close/>
                    </a:path>
                  </a:pathLst>
                </a:custGeom>
                <a:solidFill>
                  <a:schemeClr val="accent3"/>
                </a:solid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63" name="Freeform: Shape 162">
                  <a:extLst>
                    <a:ext uri="{FF2B5EF4-FFF2-40B4-BE49-F238E27FC236}">
                      <a16:creationId xmlns:a16="http://schemas.microsoft.com/office/drawing/2014/main" id="{9A3F076C-D4DE-1704-BFC9-6447DFF82A85}"/>
                    </a:ext>
                  </a:extLst>
                </p:cNvPr>
                <p:cNvSpPr/>
                <p:nvPr/>
              </p:nvSpPr>
              <p:spPr>
                <a:xfrm>
                  <a:off x="9511068" y="3381695"/>
                  <a:ext cx="47364" cy="35230"/>
                </a:xfrm>
                <a:custGeom>
                  <a:avLst/>
                  <a:gdLst>
                    <a:gd name="connsiteX0" fmla="*/ 47820 w 47364"/>
                    <a:gd name="connsiteY0" fmla="*/ 17766 h 35230"/>
                    <a:gd name="connsiteX1" fmla="*/ 24138 w 47364"/>
                    <a:gd name="connsiteY1" fmla="*/ 35381 h 35230"/>
                    <a:gd name="connsiteX2" fmla="*/ 455 w 47364"/>
                    <a:gd name="connsiteY2" fmla="*/ 17766 h 35230"/>
                    <a:gd name="connsiteX3" fmla="*/ 24138 w 47364"/>
                    <a:gd name="connsiteY3" fmla="*/ 150 h 35230"/>
                    <a:gd name="connsiteX4" fmla="*/ 47820 w 47364"/>
                    <a:gd name="connsiteY4" fmla="*/ 17766 h 35230"/>
                    <a:gd name="connsiteX5" fmla="*/ 47820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20" y="17766"/>
                      </a:moveTo>
                      <a:cubicBezTo>
                        <a:pt x="47820" y="27539"/>
                        <a:pt x="37276" y="35381"/>
                        <a:pt x="24138" y="35381"/>
                      </a:cubicBezTo>
                      <a:cubicBezTo>
                        <a:pt x="10999" y="35381"/>
                        <a:pt x="455" y="27539"/>
                        <a:pt x="455" y="17766"/>
                      </a:cubicBezTo>
                      <a:cubicBezTo>
                        <a:pt x="455" y="7993"/>
                        <a:pt x="10999" y="150"/>
                        <a:pt x="24138" y="150"/>
                      </a:cubicBezTo>
                      <a:cubicBezTo>
                        <a:pt x="37276" y="150"/>
                        <a:pt x="47820" y="7993"/>
                        <a:pt x="47820" y="17766"/>
                      </a:cubicBezTo>
                      <a:lnTo>
                        <a:pt x="47820" y="1776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64" name="Freeform: Shape 163">
                  <a:extLst>
                    <a:ext uri="{FF2B5EF4-FFF2-40B4-BE49-F238E27FC236}">
                      <a16:creationId xmlns:a16="http://schemas.microsoft.com/office/drawing/2014/main" id="{7EC7C617-B52B-35B5-B3ED-07F4BFB40A8C}"/>
                    </a:ext>
                  </a:extLst>
                </p:cNvPr>
                <p:cNvSpPr/>
                <p:nvPr/>
              </p:nvSpPr>
              <p:spPr>
                <a:xfrm>
                  <a:off x="9592173" y="3381695"/>
                  <a:ext cx="47364" cy="35230"/>
                </a:xfrm>
                <a:custGeom>
                  <a:avLst/>
                  <a:gdLst>
                    <a:gd name="connsiteX0" fmla="*/ 47825 w 47364"/>
                    <a:gd name="connsiteY0" fmla="*/ 17766 h 35230"/>
                    <a:gd name="connsiteX1" fmla="*/ 24143 w 47364"/>
                    <a:gd name="connsiteY1" fmla="*/ 35381 h 35230"/>
                    <a:gd name="connsiteX2" fmla="*/ 460 w 47364"/>
                    <a:gd name="connsiteY2" fmla="*/ 17766 h 35230"/>
                    <a:gd name="connsiteX3" fmla="*/ 24143 w 47364"/>
                    <a:gd name="connsiteY3" fmla="*/ 150 h 35230"/>
                    <a:gd name="connsiteX4" fmla="*/ 47825 w 47364"/>
                    <a:gd name="connsiteY4" fmla="*/ 17766 h 35230"/>
                    <a:gd name="connsiteX5" fmla="*/ 47825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25" y="17766"/>
                      </a:moveTo>
                      <a:cubicBezTo>
                        <a:pt x="47825" y="27539"/>
                        <a:pt x="37281" y="35381"/>
                        <a:pt x="24143" y="35381"/>
                      </a:cubicBezTo>
                      <a:cubicBezTo>
                        <a:pt x="11004" y="35381"/>
                        <a:pt x="460" y="27539"/>
                        <a:pt x="460" y="17766"/>
                      </a:cubicBezTo>
                      <a:cubicBezTo>
                        <a:pt x="460" y="7993"/>
                        <a:pt x="11004" y="150"/>
                        <a:pt x="24143" y="150"/>
                      </a:cubicBezTo>
                      <a:cubicBezTo>
                        <a:pt x="37281" y="150"/>
                        <a:pt x="47825" y="7993"/>
                        <a:pt x="47825" y="17766"/>
                      </a:cubicBezTo>
                      <a:lnTo>
                        <a:pt x="47825" y="1776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65" name="Freeform: Shape 164">
                  <a:extLst>
                    <a:ext uri="{FF2B5EF4-FFF2-40B4-BE49-F238E27FC236}">
                      <a16:creationId xmlns:a16="http://schemas.microsoft.com/office/drawing/2014/main" id="{55281C0A-680F-3925-9B7D-915EADF842BA}"/>
                    </a:ext>
                  </a:extLst>
                </p:cNvPr>
                <p:cNvSpPr/>
                <p:nvPr/>
              </p:nvSpPr>
              <p:spPr>
                <a:xfrm>
                  <a:off x="9640835" y="3381695"/>
                  <a:ext cx="47364" cy="35230"/>
                </a:xfrm>
                <a:custGeom>
                  <a:avLst/>
                  <a:gdLst>
                    <a:gd name="connsiteX0" fmla="*/ 47828 w 47364"/>
                    <a:gd name="connsiteY0" fmla="*/ 17766 h 35230"/>
                    <a:gd name="connsiteX1" fmla="*/ 24146 w 47364"/>
                    <a:gd name="connsiteY1" fmla="*/ 35381 h 35230"/>
                    <a:gd name="connsiteX2" fmla="*/ 463 w 47364"/>
                    <a:gd name="connsiteY2" fmla="*/ 17766 h 35230"/>
                    <a:gd name="connsiteX3" fmla="*/ 24146 w 47364"/>
                    <a:gd name="connsiteY3" fmla="*/ 150 h 35230"/>
                    <a:gd name="connsiteX4" fmla="*/ 47828 w 47364"/>
                    <a:gd name="connsiteY4" fmla="*/ 17766 h 35230"/>
                    <a:gd name="connsiteX5" fmla="*/ 47828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28" y="17766"/>
                      </a:moveTo>
                      <a:cubicBezTo>
                        <a:pt x="47828" y="27539"/>
                        <a:pt x="37284" y="35381"/>
                        <a:pt x="24146" y="35381"/>
                      </a:cubicBezTo>
                      <a:cubicBezTo>
                        <a:pt x="11007" y="35381"/>
                        <a:pt x="463" y="27539"/>
                        <a:pt x="463" y="17766"/>
                      </a:cubicBezTo>
                      <a:cubicBezTo>
                        <a:pt x="463" y="7993"/>
                        <a:pt x="11007" y="150"/>
                        <a:pt x="24146" y="150"/>
                      </a:cubicBezTo>
                      <a:cubicBezTo>
                        <a:pt x="37284" y="150"/>
                        <a:pt x="47828" y="7993"/>
                        <a:pt x="47828" y="17766"/>
                      </a:cubicBezTo>
                      <a:lnTo>
                        <a:pt x="47828" y="1776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66" name="Freeform: Shape 165">
                  <a:extLst>
                    <a:ext uri="{FF2B5EF4-FFF2-40B4-BE49-F238E27FC236}">
                      <a16:creationId xmlns:a16="http://schemas.microsoft.com/office/drawing/2014/main" id="{96599022-ACFF-04C6-10EA-FCC72474CC3E}"/>
                    </a:ext>
                  </a:extLst>
                </p:cNvPr>
                <p:cNvSpPr/>
                <p:nvPr/>
              </p:nvSpPr>
              <p:spPr>
                <a:xfrm>
                  <a:off x="9673277" y="3381695"/>
                  <a:ext cx="47364" cy="35230"/>
                </a:xfrm>
                <a:custGeom>
                  <a:avLst/>
                  <a:gdLst>
                    <a:gd name="connsiteX0" fmla="*/ 47830 w 47364"/>
                    <a:gd name="connsiteY0" fmla="*/ 17766 h 35230"/>
                    <a:gd name="connsiteX1" fmla="*/ 24148 w 47364"/>
                    <a:gd name="connsiteY1" fmla="*/ 35381 h 35230"/>
                    <a:gd name="connsiteX2" fmla="*/ 465 w 47364"/>
                    <a:gd name="connsiteY2" fmla="*/ 17766 h 35230"/>
                    <a:gd name="connsiteX3" fmla="*/ 24148 w 47364"/>
                    <a:gd name="connsiteY3" fmla="*/ 150 h 35230"/>
                    <a:gd name="connsiteX4" fmla="*/ 47830 w 47364"/>
                    <a:gd name="connsiteY4" fmla="*/ 17766 h 35230"/>
                    <a:gd name="connsiteX5" fmla="*/ 47830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30" y="17766"/>
                      </a:moveTo>
                      <a:cubicBezTo>
                        <a:pt x="47830" y="27539"/>
                        <a:pt x="37286" y="35381"/>
                        <a:pt x="24148" y="35381"/>
                      </a:cubicBezTo>
                      <a:cubicBezTo>
                        <a:pt x="11009" y="35381"/>
                        <a:pt x="465" y="27539"/>
                        <a:pt x="465" y="17766"/>
                      </a:cubicBezTo>
                      <a:cubicBezTo>
                        <a:pt x="465" y="7993"/>
                        <a:pt x="11009" y="150"/>
                        <a:pt x="24148" y="150"/>
                      </a:cubicBezTo>
                      <a:cubicBezTo>
                        <a:pt x="37286" y="150"/>
                        <a:pt x="47830" y="7993"/>
                        <a:pt x="47830" y="17766"/>
                      </a:cubicBezTo>
                      <a:lnTo>
                        <a:pt x="47830" y="1776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67" name="Freeform: Shape 166">
                  <a:extLst>
                    <a:ext uri="{FF2B5EF4-FFF2-40B4-BE49-F238E27FC236}">
                      <a16:creationId xmlns:a16="http://schemas.microsoft.com/office/drawing/2014/main" id="{BEBC2EBC-5DF8-662C-79E9-53E3B6095437}"/>
                    </a:ext>
                  </a:extLst>
                </p:cNvPr>
                <p:cNvSpPr/>
                <p:nvPr/>
              </p:nvSpPr>
              <p:spPr>
                <a:xfrm>
                  <a:off x="9803044" y="3381695"/>
                  <a:ext cx="47364" cy="35230"/>
                </a:xfrm>
                <a:custGeom>
                  <a:avLst/>
                  <a:gdLst>
                    <a:gd name="connsiteX0" fmla="*/ 47838 w 47364"/>
                    <a:gd name="connsiteY0" fmla="*/ 17766 h 35230"/>
                    <a:gd name="connsiteX1" fmla="*/ 24156 w 47364"/>
                    <a:gd name="connsiteY1" fmla="*/ 35381 h 35230"/>
                    <a:gd name="connsiteX2" fmla="*/ 473 w 47364"/>
                    <a:gd name="connsiteY2" fmla="*/ 17766 h 35230"/>
                    <a:gd name="connsiteX3" fmla="*/ 24156 w 47364"/>
                    <a:gd name="connsiteY3" fmla="*/ 150 h 35230"/>
                    <a:gd name="connsiteX4" fmla="*/ 47838 w 47364"/>
                    <a:gd name="connsiteY4" fmla="*/ 17766 h 35230"/>
                    <a:gd name="connsiteX5" fmla="*/ 47838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38" y="17766"/>
                      </a:moveTo>
                      <a:cubicBezTo>
                        <a:pt x="47838" y="27539"/>
                        <a:pt x="37294" y="35381"/>
                        <a:pt x="24156" y="35381"/>
                      </a:cubicBezTo>
                      <a:cubicBezTo>
                        <a:pt x="11017" y="35381"/>
                        <a:pt x="473" y="27539"/>
                        <a:pt x="473" y="17766"/>
                      </a:cubicBezTo>
                      <a:cubicBezTo>
                        <a:pt x="473" y="7993"/>
                        <a:pt x="11017" y="150"/>
                        <a:pt x="24156" y="150"/>
                      </a:cubicBezTo>
                      <a:cubicBezTo>
                        <a:pt x="37294" y="150"/>
                        <a:pt x="47838" y="7993"/>
                        <a:pt x="47838" y="17766"/>
                      </a:cubicBezTo>
                      <a:lnTo>
                        <a:pt x="47838" y="17766"/>
                      </a:lnTo>
                      <a:close/>
                    </a:path>
                  </a:pathLst>
                </a:custGeom>
                <a:noFill/>
                <a:ln w="16202"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grpSp>
          <p:grpSp>
            <p:nvGrpSpPr>
              <p:cNvPr id="22" name="Graphic 25">
                <a:extLst>
                  <a:ext uri="{FF2B5EF4-FFF2-40B4-BE49-F238E27FC236}">
                    <a16:creationId xmlns:a16="http://schemas.microsoft.com/office/drawing/2014/main" id="{D235B034-F928-99BF-018A-19BCF0919CAC}"/>
                  </a:ext>
                </a:extLst>
              </p:cNvPr>
              <p:cNvGrpSpPr/>
              <p:nvPr/>
            </p:nvGrpSpPr>
            <p:grpSpPr>
              <a:xfrm>
                <a:off x="2238029" y="1562384"/>
                <a:ext cx="7348141" cy="2243168"/>
                <a:chOff x="2238029" y="1562384"/>
                <a:chExt cx="7348141" cy="2243168"/>
              </a:xfrm>
              <a:noFill/>
            </p:grpSpPr>
            <p:sp>
              <p:nvSpPr>
                <p:cNvPr id="23" name="Freeform: Shape 22">
                  <a:extLst>
                    <a:ext uri="{FF2B5EF4-FFF2-40B4-BE49-F238E27FC236}">
                      <a16:creationId xmlns:a16="http://schemas.microsoft.com/office/drawing/2014/main" id="{BADC0E7C-7EDD-1B85-0E1A-A214ACC78D85}"/>
                    </a:ext>
                  </a:extLst>
                </p:cNvPr>
                <p:cNvSpPr/>
                <p:nvPr/>
              </p:nvSpPr>
              <p:spPr>
                <a:xfrm>
                  <a:off x="3138866" y="1622991"/>
                  <a:ext cx="47364" cy="35230"/>
                </a:xfrm>
                <a:custGeom>
                  <a:avLst/>
                  <a:gdLst>
                    <a:gd name="connsiteX0" fmla="*/ 47427 w 47364"/>
                    <a:gd name="connsiteY0" fmla="*/ 17621 h 35230"/>
                    <a:gd name="connsiteX1" fmla="*/ 23745 w 47364"/>
                    <a:gd name="connsiteY1" fmla="*/ 35237 h 35230"/>
                    <a:gd name="connsiteX2" fmla="*/ 62 w 47364"/>
                    <a:gd name="connsiteY2" fmla="*/ 17621 h 35230"/>
                    <a:gd name="connsiteX3" fmla="*/ 23745 w 47364"/>
                    <a:gd name="connsiteY3" fmla="*/ 6 h 35230"/>
                    <a:gd name="connsiteX4" fmla="*/ 47427 w 47364"/>
                    <a:gd name="connsiteY4" fmla="*/ 17621 h 35230"/>
                    <a:gd name="connsiteX5" fmla="*/ 47427 w 47364"/>
                    <a:gd name="connsiteY5" fmla="*/ 17621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427" y="17621"/>
                      </a:moveTo>
                      <a:cubicBezTo>
                        <a:pt x="47427" y="27394"/>
                        <a:pt x="36884" y="35237"/>
                        <a:pt x="23745" y="35237"/>
                      </a:cubicBezTo>
                      <a:cubicBezTo>
                        <a:pt x="10606" y="35237"/>
                        <a:pt x="62" y="27394"/>
                        <a:pt x="62" y="17621"/>
                      </a:cubicBezTo>
                      <a:cubicBezTo>
                        <a:pt x="62" y="7848"/>
                        <a:pt x="10606" y="6"/>
                        <a:pt x="23745" y="6"/>
                      </a:cubicBezTo>
                      <a:cubicBezTo>
                        <a:pt x="36884" y="6"/>
                        <a:pt x="47427" y="7848"/>
                        <a:pt x="47427" y="17621"/>
                      </a:cubicBezTo>
                      <a:lnTo>
                        <a:pt x="47427" y="17621"/>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4" name="Freeform: Shape 23">
                  <a:extLst>
                    <a:ext uri="{FF2B5EF4-FFF2-40B4-BE49-F238E27FC236}">
                      <a16:creationId xmlns:a16="http://schemas.microsoft.com/office/drawing/2014/main" id="{F682307D-63F2-C9B0-9846-F586C9C44CEA}"/>
                    </a:ext>
                  </a:extLst>
                </p:cNvPr>
                <p:cNvSpPr/>
                <p:nvPr/>
              </p:nvSpPr>
              <p:spPr>
                <a:xfrm>
                  <a:off x="3852746" y="1755710"/>
                  <a:ext cx="47364" cy="35230"/>
                </a:xfrm>
                <a:custGeom>
                  <a:avLst/>
                  <a:gdLst>
                    <a:gd name="connsiteX0" fmla="*/ 47471 w 47364"/>
                    <a:gd name="connsiteY0" fmla="*/ 17632 h 35230"/>
                    <a:gd name="connsiteX1" fmla="*/ 23789 w 47364"/>
                    <a:gd name="connsiteY1" fmla="*/ 35248 h 35230"/>
                    <a:gd name="connsiteX2" fmla="*/ 106 w 47364"/>
                    <a:gd name="connsiteY2" fmla="*/ 17632 h 35230"/>
                    <a:gd name="connsiteX3" fmla="*/ 23789 w 47364"/>
                    <a:gd name="connsiteY3" fmla="*/ 17 h 35230"/>
                    <a:gd name="connsiteX4" fmla="*/ 47471 w 47364"/>
                    <a:gd name="connsiteY4" fmla="*/ 17632 h 35230"/>
                    <a:gd name="connsiteX5" fmla="*/ 47471 w 47364"/>
                    <a:gd name="connsiteY5" fmla="*/ 17632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471" y="17632"/>
                      </a:moveTo>
                      <a:cubicBezTo>
                        <a:pt x="47471" y="27405"/>
                        <a:pt x="36928" y="35248"/>
                        <a:pt x="23789" y="35248"/>
                      </a:cubicBezTo>
                      <a:cubicBezTo>
                        <a:pt x="10650" y="35248"/>
                        <a:pt x="106" y="27405"/>
                        <a:pt x="106" y="17632"/>
                      </a:cubicBezTo>
                      <a:cubicBezTo>
                        <a:pt x="106" y="7859"/>
                        <a:pt x="10650" y="17"/>
                        <a:pt x="23789" y="17"/>
                      </a:cubicBezTo>
                      <a:cubicBezTo>
                        <a:pt x="36928" y="17"/>
                        <a:pt x="47471" y="7859"/>
                        <a:pt x="47471" y="17632"/>
                      </a:cubicBezTo>
                      <a:lnTo>
                        <a:pt x="47471" y="17632"/>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E1311796-343E-FB18-D4FA-8DDCC584998C}"/>
                    </a:ext>
                  </a:extLst>
                </p:cNvPr>
                <p:cNvSpPr/>
                <p:nvPr/>
              </p:nvSpPr>
              <p:spPr>
                <a:xfrm>
                  <a:off x="4090544" y="1854285"/>
                  <a:ext cx="47364" cy="35230"/>
                </a:xfrm>
                <a:custGeom>
                  <a:avLst/>
                  <a:gdLst>
                    <a:gd name="connsiteX0" fmla="*/ 47486 w 47364"/>
                    <a:gd name="connsiteY0" fmla="*/ 17641 h 35230"/>
                    <a:gd name="connsiteX1" fmla="*/ 23803 w 47364"/>
                    <a:gd name="connsiteY1" fmla="*/ 35256 h 35230"/>
                    <a:gd name="connsiteX2" fmla="*/ 121 w 47364"/>
                    <a:gd name="connsiteY2" fmla="*/ 17641 h 35230"/>
                    <a:gd name="connsiteX3" fmla="*/ 23803 w 47364"/>
                    <a:gd name="connsiteY3" fmla="*/ 25 h 35230"/>
                    <a:gd name="connsiteX4" fmla="*/ 47486 w 47364"/>
                    <a:gd name="connsiteY4" fmla="*/ 17641 h 35230"/>
                    <a:gd name="connsiteX5" fmla="*/ 47486 w 47364"/>
                    <a:gd name="connsiteY5" fmla="*/ 17641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486" y="17641"/>
                      </a:moveTo>
                      <a:cubicBezTo>
                        <a:pt x="47486" y="27414"/>
                        <a:pt x="36942" y="35256"/>
                        <a:pt x="23803" y="35256"/>
                      </a:cubicBezTo>
                      <a:cubicBezTo>
                        <a:pt x="10664" y="35256"/>
                        <a:pt x="121" y="27414"/>
                        <a:pt x="121" y="17641"/>
                      </a:cubicBezTo>
                      <a:cubicBezTo>
                        <a:pt x="121" y="7868"/>
                        <a:pt x="10664" y="25"/>
                        <a:pt x="23803" y="25"/>
                      </a:cubicBezTo>
                      <a:cubicBezTo>
                        <a:pt x="36942" y="25"/>
                        <a:pt x="47486" y="7868"/>
                        <a:pt x="47486" y="17641"/>
                      </a:cubicBezTo>
                      <a:lnTo>
                        <a:pt x="47486" y="17641"/>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1CA471A5-C3D3-BB85-137B-13B638FE3CF8}"/>
                    </a:ext>
                  </a:extLst>
                </p:cNvPr>
                <p:cNvSpPr/>
                <p:nvPr/>
              </p:nvSpPr>
              <p:spPr>
                <a:xfrm>
                  <a:off x="4463624" y="2035265"/>
                  <a:ext cx="47364" cy="35230"/>
                </a:xfrm>
                <a:custGeom>
                  <a:avLst/>
                  <a:gdLst>
                    <a:gd name="connsiteX0" fmla="*/ 47509 w 47364"/>
                    <a:gd name="connsiteY0" fmla="*/ 17656 h 35230"/>
                    <a:gd name="connsiteX1" fmla="*/ 23826 w 47364"/>
                    <a:gd name="connsiteY1" fmla="*/ 35271 h 35230"/>
                    <a:gd name="connsiteX2" fmla="*/ 144 w 47364"/>
                    <a:gd name="connsiteY2" fmla="*/ 17656 h 35230"/>
                    <a:gd name="connsiteX3" fmla="*/ 23826 w 47364"/>
                    <a:gd name="connsiteY3" fmla="*/ 40 h 35230"/>
                    <a:gd name="connsiteX4" fmla="*/ 47509 w 47364"/>
                    <a:gd name="connsiteY4" fmla="*/ 17656 h 35230"/>
                    <a:gd name="connsiteX5" fmla="*/ 47509 w 47364"/>
                    <a:gd name="connsiteY5" fmla="*/ 1765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509" y="17656"/>
                      </a:moveTo>
                      <a:cubicBezTo>
                        <a:pt x="47509" y="27429"/>
                        <a:pt x="36965" y="35271"/>
                        <a:pt x="23826" y="35271"/>
                      </a:cubicBezTo>
                      <a:cubicBezTo>
                        <a:pt x="10687" y="35271"/>
                        <a:pt x="144" y="27429"/>
                        <a:pt x="144" y="17656"/>
                      </a:cubicBezTo>
                      <a:cubicBezTo>
                        <a:pt x="144" y="7883"/>
                        <a:pt x="10687" y="40"/>
                        <a:pt x="23826" y="40"/>
                      </a:cubicBezTo>
                      <a:cubicBezTo>
                        <a:pt x="36965" y="40"/>
                        <a:pt x="47509" y="7883"/>
                        <a:pt x="47509" y="17656"/>
                      </a:cubicBezTo>
                      <a:lnTo>
                        <a:pt x="47509" y="17656"/>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5252519E-E187-C3CC-0C14-1A7B1520D46D}"/>
                    </a:ext>
                  </a:extLst>
                </p:cNvPr>
                <p:cNvSpPr/>
                <p:nvPr/>
              </p:nvSpPr>
              <p:spPr>
                <a:xfrm>
                  <a:off x="4627293" y="2132271"/>
                  <a:ext cx="47364" cy="35230"/>
                </a:xfrm>
                <a:custGeom>
                  <a:avLst/>
                  <a:gdLst>
                    <a:gd name="connsiteX0" fmla="*/ 47519 w 47364"/>
                    <a:gd name="connsiteY0" fmla="*/ 17664 h 35230"/>
                    <a:gd name="connsiteX1" fmla="*/ 23836 w 47364"/>
                    <a:gd name="connsiteY1" fmla="*/ 35279 h 35230"/>
                    <a:gd name="connsiteX2" fmla="*/ 154 w 47364"/>
                    <a:gd name="connsiteY2" fmla="*/ 17664 h 35230"/>
                    <a:gd name="connsiteX3" fmla="*/ 23836 w 47364"/>
                    <a:gd name="connsiteY3" fmla="*/ 48 h 35230"/>
                    <a:gd name="connsiteX4" fmla="*/ 47519 w 47364"/>
                    <a:gd name="connsiteY4" fmla="*/ 17664 h 35230"/>
                    <a:gd name="connsiteX5" fmla="*/ 47519 w 47364"/>
                    <a:gd name="connsiteY5" fmla="*/ 17664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519" y="17664"/>
                      </a:moveTo>
                      <a:cubicBezTo>
                        <a:pt x="47519" y="27437"/>
                        <a:pt x="36975" y="35279"/>
                        <a:pt x="23836" y="35279"/>
                      </a:cubicBezTo>
                      <a:cubicBezTo>
                        <a:pt x="10698" y="35279"/>
                        <a:pt x="154" y="27437"/>
                        <a:pt x="154" y="17664"/>
                      </a:cubicBezTo>
                      <a:cubicBezTo>
                        <a:pt x="154" y="7891"/>
                        <a:pt x="10698" y="48"/>
                        <a:pt x="23836" y="48"/>
                      </a:cubicBezTo>
                      <a:cubicBezTo>
                        <a:pt x="36975" y="48"/>
                        <a:pt x="47519" y="7891"/>
                        <a:pt x="47519" y="17664"/>
                      </a:cubicBezTo>
                      <a:lnTo>
                        <a:pt x="47519" y="17664"/>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9C3E8064-BD53-3DFC-4259-33202DBAD842}"/>
                    </a:ext>
                  </a:extLst>
                </p:cNvPr>
                <p:cNvSpPr/>
                <p:nvPr/>
              </p:nvSpPr>
              <p:spPr>
                <a:xfrm>
                  <a:off x="5925285" y="2709842"/>
                  <a:ext cx="47364" cy="35230"/>
                </a:xfrm>
                <a:custGeom>
                  <a:avLst/>
                  <a:gdLst>
                    <a:gd name="connsiteX0" fmla="*/ 47599 w 47364"/>
                    <a:gd name="connsiteY0" fmla="*/ 17711 h 35230"/>
                    <a:gd name="connsiteX1" fmla="*/ 23916 w 47364"/>
                    <a:gd name="connsiteY1" fmla="*/ 35327 h 35230"/>
                    <a:gd name="connsiteX2" fmla="*/ 234 w 47364"/>
                    <a:gd name="connsiteY2" fmla="*/ 17711 h 35230"/>
                    <a:gd name="connsiteX3" fmla="*/ 23916 w 47364"/>
                    <a:gd name="connsiteY3" fmla="*/ 96 h 35230"/>
                    <a:gd name="connsiteX4" fmla="*/ 47599 w 47364"/>
                    <a:gd name="connsiteY4" fmla="*/ 17711 h 35230"/>
                    <a:gd name="connsiteX5" fmla="*/ 47599 w 47364"/>
                    <a:gd name="connsiteY5" fmla="*/ 17711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599" y="17711"/>
                      </a:moveTo>
                      <a:cubicBezTo>
                        <a:pt x="47599" y="27484"/>
                        <a:pt x="37055" y="35327"/>
                        <a:pt x="23916" y="35327"/>
                      </a:cubicBezTo>
                      <a:cubicBezTo>
                        <a:pt x="10778" y="35327"/>
                        <a:pt x="234" y="27484"/>
                        <a:pt x="234" y="17711"/>
                      </a:cubicBezTo>
                      <a:cubicBezTo>
                        <a:pt x="234" y="7939"/>
                        <a:pt x="10778" y="96"/>
                        <a:pt x="23916" y="96"/>
                      </a:cubicBezTo>
                      <a:cubicBezTo>
                        <a:pt x="37055" y="96"/>
                        <a:pt x="47599" y="7939"/>
                        <a:pt x="47599" y="17711"/>
                      </a:cubicBezTo>
                      <a:lnTo>
                        <a:pt x="47599" y="17711"/>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243A5C6A-0A84-2F3F-A982-31E6DC84F054}"/>
                    </a:ext>
                  </a:extLst>
                </p:cNvPr>
                <p:cNvSpPr/>
                <p:nvPr/>
              </p:nvSpPr>
              <p:spPr>
                <a:xfrm>
                  <a:off x="6369899" y="2896666"/>
                  <a:ext cx="47364" cy="35230"/>
                </a:xfrm>
                <a:custGeom>
                  <a:avLst/>
                  <a:gdLst>
                    <a:gd name="connsiteX0" fmla="*/ 47626 w 47364"/>
                    <a:gd name="connsiteY0" fmla="*/ 17726 h 35230"/>
                    <a:gd name="connsiteX1" fmla="*/ 23944 w 47364"/>
                    <a:gd name="connsiteY1" fmla="*/ 35341 h 35230"/>
                    <a:gd name="connsiteX2" fmla="*/ 261 w 47364"/>
                    <a:gd name="connsiteY2" fmla="*/ 17726 h 35230"/>
                    <a:gd name="connsiteX3" fmla="*/ 23944 w 47364"/>
                    <a:gd name="connsiteY3" fmla="*/ 110 h 35230"/>
                    <a:gd name="connsiteX4" fmla="*/ 47626 w 47364"/>
                    <a:gd name="connsiteY4" fmla="*/ 17726 h 35230"/>
                    <a:gd name="connsiteX5" fmla="*/ 47626 w 47364"/>
                    <a:gd name="connsiteY5" fmla="*/ 1772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26" y="17726"/>
                      </a:moveTo>
                      <a:cubicBezTo>
                        <a:pt x="47626" y="27499"/>
                        <a:pt x="37083" y="35341"/>
                        <a:pt x="23944" y="35341"/>
                      </a:cubicBezTo>
                      <a:cubicBezTo>
                        <a:pt x="10805" y="35341"/>
                        <a:pt x="261" y="27499"/>
                        <a:pt x="261" y="17726"/>
                      </a:cubicBezTo>
                      <a:cubicBezTo>
                        <a:pt x="261" y="7953"/>
                        <a:pt x="10805" y="110"/>
                        <a:pt x="23944" y="110"/>
                      </a:cubicBezTo>
                      <a:cubicBezTo>
                        <a:pt x="37083" y="110"/>
                        <a:pt x="47626" y="7953"/>
                        <a:pt x="47626" y="17726"/>
                      </a:cubicBezTo>
                      <a:lnTo>
                        <a:pt x="47626" y="17726"/>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E0014FDA-0721-63E0-DA51-B5365386894B}"/>
                    </a:ext>
                  </a:extLst>
                </p:cNvPr>
                <p:cNvSpPr/>
                <p:nvPr/>
              </p:nvSpPr>
              <p:spPr>
                <a:xfrm>
                  <a:off x="6700318" y="3048208"/>
                  <a:ext cx="47364" cy="35230"/>
                </a:xfrm>
                <a:custGeom>
                  <a:avLst/>
                  <a:gdLst>
                    <a:gd name="connsiteX0" fmla="*/ 47647 w 47364"/>
                    <a:gd name="connsiteY0" fmla="*/ 17738 h 35230"/>
                    <a:gd name="connsiteX1" fmla="*/ 23964 w 47364"/>
                    <a:gd name="connsiteY1" fmla="*/ 35354 h 35230"/>
                    <a:gd name="connsiteX2" fmla="*/ 282 w 47364"/>
                    <a:gd name="connsiteY2" fmla="*/ 17738 h 35230"/>
                    <a:gd name="connsiteX3" fmla="*/ 23964 w 47364"/>
                    <a:gd name="connsiteY3" fmla="*/ 123 h 35230"/>
                    <a:gd name="connsiteX4" fmla="*/ 47647 w 47364"/>
                    <a:gd name="connsiteY4" fmla="*/ 17738 h 35230"/>
                    <a:gd name="connsiteX5" fmla="*/ 47647 w 47364"/>
                    <a:gd name="connsiteY5" fmla="*/ 1773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47" y="17738"/>
                      </a:moveTo>
                      <a:cubicBezTo>
                        <a:pt x="47647" y="27511"/>
                        <a:pt x="37103" y="35354"/>
                        <a:pt x="23964" y="35354"/>
                      </a:cubicBezTo>
                      <a:cubicBezTo>
                        <a:pt x="10825" y="35354"/>
                        <a:pt x="282" y="27511"/>
                        <a:pt x="282" y="17738"/>
                      </a:cubicBezTo>
                      <a:cubicBezTo>
                        <a:pt x="282" y="7965"/>
                        <a:pt x="10825" y="123"/>
                        <a:pt x="23964" y="123"/>
                      </a:cubicBezTo>
                      <a:cubicBezTo>
                        <a:pt x="37103" y="123"/>
                        <a:pt x="47647" y="7965"/>
                        <a:pt x="47647" y="17738"/>
                      </a:cubicBezTo>
                      <a:lnTo>
                        <a:pt x="47647" y="17738"/>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F307AC34-4DA9-CCDF-C5D6-0190E9F43DDD}"/>
                    </a:ext>
                  </a:extLst>
                </p:cNvPr>
                <p:cNvSpPr/>
                <p:nvPr/>
              </p:nvSpPr>
              <p:spPr>
                <a:xfrm>
                  <a:off x="6824083" y="3107449"/>
                  <a:ext cx="47364" cy="35230"/>
                </a:xfrm>
                <a:custGeom>
                  <a:avLst/>
                  <a:gdLst>
                    <a:gd name="connsiteX0" fmla="*/ 47654 w 47364"/>
                    <a:gd name="connsiteY0" fmla="*/ 17743 h 35230"/>
                    <a:gd name="connsiteX1" fmla="*/ 23972 w 47364"/>
                    <a:gd name="connsiteY1" fmla="*/ 35359 h 35230"/>
                    <a:gd name="connsiteX2" fmla="*/ 289 w 47364"/>
                    <a:gd name="connsiteY2" fmla="*/ 17743 h 35230"/>
                    <a:gd name="connsiteX3" fmla="*/ 23972 w 47364"/>
                    <a:gd name="connsiteY3" fmla="*/ 128 h 35230"/>
                    <a:gd name="connsiteX4" fmla="*/ 47654 w 47364"/>
                    <a:gd name="connsiteY4" fmla="*/ 17743 h 35230"/>
                    <a:gd name="connsiteX5" fmla="*/ 47654 w 47364"/>
                    <a:gd name="connsiteY5" fmla="*/ 17743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54" y="17743"/>
                      </a:moveTo>
                      <a:cubicBezTo>
                        <a:pt x="47654" y="27516"/>
                        <a:pt x="37111" y="35359"/>
                        <a:pt x="23972" y="35359"/>
                      </a:cubicBezTo>
                      <a:cubicBezTo>
                        <a:pt x="10833" y="35359"/>
                        <a:pt x="289" y="27516"/>
                        <a:pt x="289" y="17743"/>
                      </a:cubicBezTo>
                      <a:cubicBezTo>
                        <a:pt x="289" y="7970"/>
                        <a:pt x="10833" y="128"/>
                        <a:pt x="23972" y="128"/>
                      </a:cubicBezTo>
                      <a:cubicBezTo>
                        <a:pt x="37111" y="128"/>
                        <a:pt x="47654" y="7970"/>
                        <a:pt x="47654" y="17743"/>
                      </a:cubicBezTo>
                      <a:lnTo>
                        <a:pt x="47654" y="17743"/>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05E8D231-2CFE-ABA3-B4B8-EB03A4272D5E}"/>
                    </a:ext>
                  </a:extLst>
                </p:cNvPr>
                <p:cNvSpPr/>
                <p:nvPr/>
              </p:nvSpPr>
              <p:spPr>
                <a:xfrm>
                  <a:off x="7190837" y="3168138"/>
                  <a:ext cx="47364" cy="35230"/>
                </a:xfrm>
                <a:custGeom>
                  <a:avLst/>
                  <a:gdLst>
                    <a:gd name="connsiteX0" fmla="*/ 47677 w 47364"/>
                    <a:gd name="connsiteY0" fmla="*/ 17748 h 35230"/>
                    <a:gd name="connsiteX1" fmla="*/ 23994 w 47364"/>
                    <a:gd name="connsiteY1" fmla="*/ 35364 h 35230"/>
                    <a:gd name="connsiteX2" fmla="*/ 312 w 47364"/>
                    <a:gd name="connsiteY2" fmla="*/ 17748 h 35230"/>
                    <a:gd name="connsiteX3" fmla="*/ 23994 w 47364"/>
                    <a:gd name="connsiteY3" fmla="*/ 133 h 35230"/>
                    <a:gd name="connsiteX4" fmla="*/ 47677 w 47364"/>
                    <a:gd name="connsiteY4" fmla="*/ 17748 h 35230"/>
                    <a:gd name="connsiteX5" fmla="*/ 47677 w 47364"/>
                    <a:gd name="connsiteY5" fmla="*/ 1774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77" y="17748"/>
                      </a:moveTo>
                      <a:cubicBezTo>
                        <a:pt x="47677" y="27521"/>
                        <a:pt x="37133" y="35364"/>
                        <a:pt x="23994" y="35364"/>
                      </a:cubicBezTo>
                      <a:cubicBezTo>
                        <a:pt x="10856" y="35364"/>
                        <a:pt x="312" y="27521"/>
                        <a:pt x="312" y="17748"/>
                      </a:cubicBezTo>
                      <a:cubicBezTo>
                        <a:pt x="312" y="7975"/>
                        <a:pt x="10856" y="133"/>
                        <a:pt x="23994" y="133"/>
                      </a:cubicBezTo>
                      <a:cubicBezTo>
                        <a:pt x="37133" y="133"/>
                        <a:pt x="47677" y="7975"/>
                        <a:pt x="47677" y="17748"/>
                      </a:cubicBezTo>
                      <a:lnTo>
                        <a:pt x="47677" y="17748"/>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36968DFD-C947-47BC-95E3-D0E063B0AEB8}"/>
                    </a:ext>
                  </a:extLst>
                </p:cNvPr>
                <p:cNvSpPr/>
                <p:nvPr/>
              </p:nvSpPr>
              <p:spPr>
                <a:xfrm>
                  <a:off x="7288162" y="3192269"/>
                  <a:ext cx="47364" cy="35230"/>
                </a:xfrm>
                <a:custGeom>
                  <a:avLst/>
                  <a:gdLst>
                    <a:gd name="connsiteX0" fmla="*/ 47683 w 47364"/>
                    <a:gd name="connsiteY0" fmla="*/ 17750 h 35230"/>
                    <a:gd name="connsiteX1" fmla="*/ 24000 w 47364"/>
                    <a:gd name="connsiteY1" fmla="*/ 35366 h 35230"/>
                    <a:gd name="connsiteX2" fmla="*/ 318 w 47364"/>
                    <a:gd name="connsiteY2" fmla="*/ 17750 h 35230"/>
                    <a:gd name="connsiteX3" fmla="*/ 24000 w 47364"/>
                    <a:gd name="connsiteY3" fmla="*/ 135 h 35230"/>
                    <a:gd name="connsiteX4" fmla="*/ 47683 w 47364"/>
                    <a:gd name="connsiteY4" fmla="*/ 17750 h 35230"/>
                    <a:gd name="connsiteX5" fmla="*/ 47683 w 47364"/>
                    <a:gd name="connsiteY5" fmla="*/ 17750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83" y="17750"/>
                      </a:moveTo>
                      <a:cubicBezTo>
                        <a:pt x="47683" y="27523"/>
                        <a:pt x="37139" y="35366"/>
                        <a:pt x="24000" y="35366"/>
                      </a:cubicBezTo>
                      <a:cubicBezTo>
                        <a:pt x="10862" y="35366"/>
                        <a:pt x="318" y="27523"/>
                        <a:pt x="318" y="17750"/>
                      </a:cubicBezTo>
                      <a:cubicBezTo>
                        <a:pt x="318" y="7977"/>
                        <a:pt x="10862" y="135"/>
                        <a:pt x="24000" y="135"/>
                      </a:cubicBezTo>
                      <a:cubicBezTo>
                        <a:pt x="37139" y="135"/>
                        <a:pt x="47683" y="7977"/>
                        <a:pt x="47683" y="17750"/>
                      </a:cubicBezTo>
                      <a:lnTo>
                        <a:pt x="47683" y="17750"/>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D28D3660-45C1-2503-CCA0-30814B72024E}"/>
                    </a:ext>
                  </a:extLst>
                </p:cNvPr>
                <p:cNvSpPr/>
                <p:nvPr/>
              </p:nvSpPr>
              <p:spPr>
                <a:xfrm>
                  <a:off x="7336824" y="3204334"/>
                  <a:ext cx="47364" cy="35230"/>
                </a:xfrm>
                <a:custGeom>
                  <a:avLst/>
                  <a:gdLst>
                    <a:gd name="connsiteX0" fmla="*/ 47686 w 47364"/>
                    <a:gd name="connsiteY0" fmla="*/ 17751 h 35230"/>
                    <a:gd name="connsiteX1" fmla="*/ 24003 w 47364"/>
                    <a:gd name="connsiteY1" fmla="*/ 35367 h 35230"/>
                    <a:gd name="connsiteX2" fmla="*/ 321 w 47364"/>
                    <a:gd name="connsiteY2" fmla="*/ 17751 h 35230"/>
                    <a:gd name="connsiteX3" fmla="*/ 24003 w 47364"/>
                    <a:gd name="connsiteY3" fmla="*/ 136 h 35230"/>
                    <a:gd name="connsiteX4" fmla="*/ 47686 w 47364"/>
                    <a:gd name="connsiteY4" fmla="*/ 17751 h 35230"/>
                    <a:gd name="connsiteX5" fmla="*/ 47686 w 47364"/>
                    <a:gd name="connsiteY5" fmla="*/ 17751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86" y="17751"/>
                      </a:moveTo>
                      <a:cubicBezTo>
                        <a:pt x="47686" y="27524"/>
                        <a:pt x="37142" y="35367"/>
                        <a:pt x="24003" y="35367"/>
                      </a:cubicBezTo>
                      <a:cubicBezTo>
                        <a:pt x="10865" y="35367"/>
                        <a:pt x="321" y="27524"/>
                        <a:pt x="321" y="17751"/>
                      </a:cubicBezTo>
                      <a:cubicBezTo>
                        <a:pt x="321" y="7978"/>
                        <a:pt x="10865" y="136"/>
                        <a:pt x="24003" y="136"/>
                      </a:cubicBezTo>
                      <a:cubicBezTo>
                        <a:pt x="37142" y="136"/>
                        <a:pt x="47686" y="7978"/>
                        <a:pt x="47686" y="17751"/>
                      </a:cubicBezTo>
                      <a:lnTo>
                        <a:pt x="47686" y="17751"/>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88F220CC-33F1-B5E7-A959-C1929361323F}"/>
                    </a:ext>
                  </a:extLst>
                </p:cNvPr>
                <p:cNvSpPr/>
                <p:nvPr/>
              </p:nvSpPr>
              <p:spPr>
                <a:xfrm>
                  <a:off x="7369266" y="3216399"/>
                  <a:ext cx="47364" cy="35230"/>
                </a:xfrm>
                <a:custGeom>
                  <a:avLst/>
                  <a:gdLst>
                    <a:gd name="connsiteX0" fmla="*/ 47688 w 47364"/>
                    <a:gd name="connsiteY0" fmla="*/ 17752 h 35230"/>
                    <a:gd name="connsiteX1" fmla="*/ 24005 w 47364"/>
                    <a:gd name="connsiteY1" fmla="*/ 35368 h 35230"/>
                    <a:gd name="connsiteX2" fmla="*/ 323 w 47364"/>
                    <a:gd name="connsiteY2" fmla="*/ 17752 h 35230"/>
                    <a:gd name="connsiteX3" fmla="*/ 24005 w 47364"/>
                    <a:gd name="connsiteY3" fmla="*/ 137 h 35230"/>
                    <a:gd name="connsiteX4" fmla="*/ 47688 w 47364"/>
                    <a:gd name="connsiteY4" fmla="*/ 17752 h 35230"/>
                    <a:gd name="connsiteX5" fmla="*/ 47688 w 47364"/>
                    <a:gd name="connsiteY5" fmla="*/ 17752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88" y="17752"/>
                      </a:moveTo>
                      <a:cubicBezTo>
                        <a:pt x="47688" y="27525"/>
                        <a:pt x="37144" y="35368"/>
                        <a:pt x="24005" y="35368"/>
                      </a:cubicBezTo>
                      <a:cubicBezTo>
                        <a:pt x="10867" y="35368"/>
                        <a:pt x="323" y="27525"/>
                        <a:pt x="323" y="17752"/>
                      </a:cubicBezTo>
                      <a:cubicBezTo>
                        <a:pt x="323" y="7979"/>
                        <a:pt x="10867" y="137"/>
                        <a:pt x="24005" y="137"/>
                      </a:cubicBezTo>
                      <a:cubicBezTo>
                        <a:pt x="37144" y="137"/>
                        <a:pt x="47688" y="7979"/>
                        <a:pt x="47688" y="17752"/>
                      </a:cubicBezTo>
                      <a:lnTo>
                        <a:pt x="47688" y="17752"/>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8C517A84-65A4-1AA4-3E9C-5E46B8E2081A}"/>
                    </a:ext>
                  </a:extLst>
                </p:cNvPr>
                <p:cNvSpPr/>
                <p:nvPr/>
              </p:nvSpPr>
              <p:spPr>
                <a:xfrm>
                  <a:off x="7401708" y="3228465"/>
                  <a:ext cx="47364" cy="35230"/>
                </a:xfrm>
                <a:custGeom>
                  <a:avLst/>
                  <a:gdLst>
                    <a:gd name="connsiteX0" fmla="*/ 47690 w 47364"/>
                    <a:gd name="connsiteY0" fmla="*/ 17753 h 35230"/>
                    <a:gd name="connsiteX1" fmla="*/ 24007 w 47364"/>
                    <a:gd name="connsiteY1" fmla="*/ 35369 h 35230"/>
                    <a:gd name="connsiteX2" fmla="*/ 325 w 47364"/>
                    <a:gd name="connsiteY2" fmla="*/ 17753 h 35230"/>
                    <a:gd name="connsiteX3" fmla="*/ 24007 w 47364"/>
                    <a:gd name="connsiteY3" fmla="*/ 138 h 35230"/>
                    <a:gd name="connsiteX4" fmla="*/ 47690 w 47364"/>
                    <a:gd name="connsiteY4" fmla="*/ 17753 h 35230"/>
                    <a:gd name="connsiteX5" fmla="*/ 47690 w 47364"/>
                    <a:gd name="connsiteY5" fmla="*/ 17753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90" y="17753"/>
                      </a:moveTo>
                      <a:cubicBezTo>
                        <a:pt x="47690" y="27526"/>
                        <a:pt x="37146" y="35369"/>
                        <a:pt x="24007" y="35369"/>
                      </a:cubicBezTo>
                      <a:cubicBezTo>
                        <a:pt x="10869" y="35369"/>
                        <a:pt x="325" y="27526"/>
                        <a:pt x="325" y="17753"/>
                      </a:cubicBezTo>
                      <a:cubicBezTo>
                        <a:pt x="325" y="7980"/>
                        <a:pt x="10869" y="138"/>
                        <a:pt x="24007" y="138"/>
                      </a:cubicBezTo>
                      <a:cubicBezTo>
                        <a:pt x="37146" y="138"/>
                        <a:pt x="47690" y="7980"/>
                        <a:pt x="47690" y="17753"/>
                      </a:cubicBezTo>
                      <a:lnTo>
                        <a:pt x="47690" y="17753"/>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B52DCF9B-B192-5E4B-F357-F55A98C2ACDB}"/>
                    </a:ext>
                  </a:extLst>
                </p:cNvPr>
                <p:cNvSpPr/>
                <p:nvPr/>
              </p:nvSpPr>
              <p:spPr>
                <a:xfrm>
                  <a:off x="7450370" y="3240530"/>
                  <a:ext cx="47364" cy="35230"/>
                </a:xfrm>
                <a:custGeom>
                  <a:avLst/>
                  <a:gdLst>
                    <a:gd name="connsiteX0" fmla="*/ 47693 w 47364"/>
                    <a:gd name="connsiteY0" fmla="*/ 17754 h 35230"/>
                    <a:gd name="connsiteX1" fmla="*/ 24010 w 47364"/>
                    <a:gd name="connsiteY1" fmla="*/ 35370 h 35230"/>
                    <a:gd name="connsiteX2" fmla="*/ 328 w 47364"/>
                    <a:gd name="connsiteY2" fmla="*/ 17754 h 35230"/>
                    <a:gd name="connsiteX3" fmla="*/ 24010 w 47364"/>
                    <a:gd name="connsiteY3" fmla="*/ 139 h 35230"/>
                    <a:gd name="connsiteX4" fmla="*/ 47693 w 47364"/>
                    <a:gd name="connsiteY4" fmla="*/ 17754 h 35230"/>
                    <a:gd name="connsiteX5" fmla="*/ 47693 w 47364"/>
                    <a:gd name="connsiteY5" fmla="*/ 17754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93" y="17754"/>
                      </a:moveTo>
                      <a:cubicBezTo>
                        <a:pt x="47693" y="27527"/>
                        <a:pt x="37149" y="35370"/>
                        <a:pt x="24010" y="35370"/>
                      </a:cubicBezTo>
                      <a:cubicBezTo>
                        <a:pt x="10872" y="35370"/>
                        <a:pt x="328" y="27527"/>
                        <a:pt x="328" y="17754"/>
                      </a:cubicBezTo>
                      <a:cubicBezTo>
                        <a:pt x="328" y="7981"/>
                        <a:pt x="10872" y="139"/>
                        <a:pt x="24010" y="139"/>
                      </a:cubicBezTo>
                      <a:cubicBezTo>
                        <a:pt x="37149" y="139"/>
                        <a:pt x="47693" y="7981"/>
                        <a:pt x="47693" y="17754"/>
                      </a:cubicBezTo>
                      <a:lnTo>
                        <a:pt x="47693" y="17754"/>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8" name="Freeform: Shape 37">
                  <a:extLst>
                    <a:ext uri="{FF2B5EF4-FFF2-40B4-BE49-F238E27FC236}">
                      <a16:creationId xmlns:a16="http://schemas.microsoft.com/office/drawing/2014/main" id="{DDA2807E-A0D0-D781-2B1E-1574197428C9}"/>
                    </a:ext>
                  </a:extLst>
                </p:cNvPr>
                <p:cNvSpPr/>
                <p:nvPr/>
              </p:nvSpPr>
              <p:spPr>
                <a:xfrm>
                  <a:off x="7499033" y="3240530"/>
                  <a:ext cx="47364" cy="35230"/>
                </a:xfrm>
                <a:custGeom>
                  <a:avLst/>
                  <a:gdLst>
                    <a:gd name="connsiteX0" fmla="*/ 47696 w 47364"/>
                    <a:gd name="connsiteY0" fmla="*/ 17754 h 35230"/>
                    <a:gd name="connsiteX1" fmla="*/ 24013 w 47364"/>
                    <a:gd name="connsiteY1" fmla="*/ 35370 h 35230"/>
                    <a:gd name="connsiteX2" fmla="*/ 331 w 47364"/>
                    <a:gd name="connsiteY2" fmla="*/ 17754 h 35230"/>
                    <a:gd name="connsiteX3" fmla="*/ 24013 w 47364"/>
                    <a:gd name="connsiteY3" fmla="*/ 139 h 35230"/>
                    <a:gd name="connsiteX4" fmla="*/ 47696 w 47364"/>
                    <a:gd name="connsiteY4" fmla="*/ 17754 h 35230"/>
                    <a:gd name="connsiteX5" fmla="*/ 47696 w 47364"/>
                    <a:gd name="connsiteY5" fmla="*/ 17754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96" y="17754"/>
                      </a:moveTo>
                      <a:cubicBezTo>
                        <a:pt x="47696" y="27527"/>
                        <a:pt x="37152" y="35370"/>
                        <a:pt x="24013" y="35370"/>
                      </a:cubicBezTo>
                      <a:cubicBezTo>
                        <a:pt x="10875" y="35370"/>
                        <a:pt x="331" y="27527"/>
                        <a:pt x="331" y="17754"/>
                      </a:cubicBezTo>
                      <a:cubicBezTo>
                        <a:pt x="331" y="7981"/>
                        <a:pt x="10875" y="139"/>
                        <a:pt x="24013" y="139"/>
                      </a:cubicBezTo>
                      <a:cubicBezTo>
                        <a:pt x="37152" y="139"/>
                        <a:pt x="47696" y="7981"/>
                        <a:pt x="47696" y="17754"/>
                      </a:cubicBezTo>
                      <a:lnTo>
                        <a:pt x="47696" y="17754"/>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9" name="Freeform: Shape 38">
                  <a:extLst>
                    <a:ext uri="{FF2B5EF4-FFF2-40B4-BE49-F238E27FC236}">
                      <a16:creationId xmlns:a16="http://schemas.microsoft.com/office/drawing/2014/main" id="{028BDE1B-A913-B1C0-992F-12DAB14DA3C8}"/>
                    </a:ext>
                  </a:extLst>
                </p:cNvPr>
                <p:cNvSpPr/>
                <p:nvPr/>
              </p:nvSpPr>
              <p:spPr>
                <a:xfrm>
                  <a:off x="7531475" y="3240530"/>
                  <a:ext cx="47364" cy="35230"/>
                </a:xfrm>
                <a:custGeom>
                  <a:avLst/>
                  <a:gdLst>
                    <a:gd name="connsiteX0" fmla="*/ 47698 w 47364"/>
                    <a:gd name="connsiteY0" fmla="*/ 17754 h 35230"/>
                    <a:gd name="connsiteX1" fmla="*/ 24015 w 47364"/>
                    <a:gd name="connsiteY1" fmla="*/ 35370 h 35230"/>
                    <a:gd name="connsiteX2" fmla="*/ 333 w 47364"/>
                    <a:gd name="connsiteY2" fmla="*/ 17754 h 35230"/>
                    <a:gd name="connsiteX3" fmla="*/ 24015 w 47364"/>
                    <a:gd name="connsiteY3" fmla="*/ 139 h 35230"/>
                    <a:gd name="connsiteX4" fmla="*/ 47698 w 47364"/>
                    <a:gd name="connsiteY4" fmla="*/ 17754 h 35230"/>
                    <a:gd name="connsiteX5" fmla="*/ 47698 w 47364"/>
                    <a:gd name="connsiteY5" fmla="*/ 17754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698" y="17754"/>
                      </a:moveTo>
                      <a:cubicBezTo>
                        <a:pt x="47698" y="27527"/>
                        <a:pt x="37154" y="35370"/>
                        <a:pt x="24015" y="35370"/>
                      </a:cubicBezTo>
                      <a:cubicBezTo>
                        <a:pt x="10877" y="35370"/>
                        <a:pt x="333" y="27527"/>
                        <a:pt x="333" y="17754"/>
                      </a:cubicBezTo>
                      <a:cubicBezTo>
                        <a:pt x="333" y="7981"/>
                        <a:pt x="10877" y="139"/>
                        <a:pt x="24015" y="139"/>
                      </a:cubicBezTo>
                      <a:cubicBezTo>
                        <a:pt x="37154" y="139"/>
                        <a:pt x="47698" y="7981"/>
                        <a:pt x="47698" y="17754"/>
                      </a:cubicBezTo>
                      <a:lnTo>
                        <a:pt x="47698" y="17754"/>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0" name="Freeform: Shape 39">
                  <a:extLst>
                    <a:ext uri="{FF2B5EF4-FFF2-40B4-BE49-F238E27FC236}">
                      <a16:creationId xmlns:a16="http://schemas.microsoft.com/office/drawing/2014/main" id="{BD12DDDD-F96E-92CE-8934-2624DE3DB6DE}"/>
                    </a:ext>
                  </a:extLst>
                </p:cNvPr>
                <p:cNvSpPr/>
                <p:nvPr/>
              </p:nvSpPr>
              <p:spPr>
                <a:xfrm>
                  <a:off x="7580137" y="3252596"/>
                  <a:ext cx="47364" cy="35230"/>
                </a:xfrm>
                <a:custGeom>
                  <a:avLst/>
                  <a:gdLst>
                    <a:gd name="connsiteX0" fmla="*/ 47701 w 47364"/>
                    <a:gd name="connsiteY0" fmla="*/ 17755 h 35230"/>
                    <a:gd name="connsiteX1" fmla="*/ 24018 w 47364"/>
                    <a:gd name="connsiteY1" fmla="*/ 35371 h 35230"/>
                    <a:gd name="connsiteX2" fmla="*/ 336 w 47364"/>
                    <a:gd name="connsiteY2" fmla="*/ 17755 h 35230"/>
                    <a:gd name="connsiteX3" fmla="*/ 24018 w 47364"/>
                    <a:gd name="connsiteY3" fmla="*/ 140 h 35230"/>
                    <a:gd name="connsiteX4" fmla="*/ 47701 w 47364"/>
                    <a:gd name="connsiteY4" fmla="*/ 17755 h 35230"/>
                    <a:gd name="connsiteX5" fmla="*/ 47701 w 47364"/>
                    <a:gd name="connsiteY5" fmla="*/ 1775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01" y="17755"/>
                      </a:moveTo>
                      <a:cubicBezTo>
                        <a:pt x="47701" y="27528"/>
                        <a:pt x="37157" y="35371"/>
                        <a:pt x="24018" y="35371"/>
                      </a:cubicBezTo>
                      <a:cubicBezTo>
                        <a:pt x="10880" y="35371"/>
                        <a:pt x="336" y="27528"/>
                        <a:pt x="336" y="17755"/>
                      </a:cubicBezTo>
                      <a:cubicBezTo>
                        <a:pt x="336" y="7982"/>
                        <a:pt x="10880" y="140"/>
                        <a:pt x="24018" y="140"/>
                      </a:cubicBezTo>
                      <a:cubicBezTo>
                        <a:pt x="37157" y="140"/>
                        <a:pt x="47701" y="7982"/>
                        <a:pt x="47701" y="17755"/>
                      </a:cubicBezTo>
                      <a:lnTo>
                        <a:pt x="47701" y="1775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1" name="Freeform: Shape 40">
                  <a:extLst>
                    <a:ext uri="{FF2B5EF4-FFF2-40B4-BE49-F238E27FC236}">
                      <a16:creationId xmlns:a16="http://schemas.microsoft.com/office/drawing/2014/main" id="{791ADF94-EE23-C41B-0339-3538FD5D6902}"/>
                    </a:ext>
                  </a:extLst>
                </p:cNvPr>
                <p:cNvSpPr/>
                <p:nvPr/>
              </p:nvSpPr>
              <p:spPr>
                <a:xfrm>
                  <a:off x="7628800" y="3252596"/>
                  <a:ext cx="47364" cy="35230"/>
                </a:xfrm>
                <a:custGeom>
                  <a:avLst/>
                  <a:gdLst>
                    <a:gd name="connsiteX0" fmla="*/ 47704 w 47364"/>
                    <a:gd name="connsiteY0" fmla="*/ 17755 h 35230"/>
                    <a:gd name="connsiteX1" fmla="*/ 24021 w 47364"/>
                    <a:gd name="connsiteY1" fmla="*/ 35371 h 35230"/>
                    <a:gd name="connsiteX2" fmla="*/ 339 w 47364"/>
                    <a:gd name="connsiteY2" fmla="*/ 17755 h 35230"/>
                    <a:gd name="connsiteX3" fmla="*/ 24021 w 47364"/>
                    <a:gd name="connsiteY3" fmla="*/ 140 h 35230"/>
                    <a:gd name="connsiteX4" fmla="*/ 47704 w 47364"/>
                    <a:gd name="connsiteY4" fmla="*/ 17755 h 35230"/>
                    <a:gd name="connsiteX5" fmla="*/ 47704 w 47364"/>
                    <a:gd name="connsiteY5" fmla="*/ 1775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04" y="17755"/>
                      </a:moveTo>
                      <a:cubicBezTo>
                        <a:pt x="47704" y="27528"/>
                        <a:pt x="37160" y="35371"/>
                        <a:pt x="24021" y="35371"/>
                      </a:cubicBezTo>
                      <a:cubicBezTo>
                        <a:pt x="10883" y="35371"/>
                        <a:pt x="339" y="27528"/>
                        <a:pt x="339" y="17755"/>
                      </a:cubicBezTo>
                      <a:cubicBezTo>
                        <a:pt x="339" y="7982"/>
                        <a:pt x="10883" y="140"/>
                        <a:pt x="24021" y="140"/>
                      </a:cubicBezTo>
                      <a:cubicBezTo>
                        <a:pt x="37160" y="140"/>
                        <a:pt x="47704" y="7982"/>
                        <a:pt x="47704" y="17755"/>
                      </a:cubicBezTo>
                      <a:lnTo>
                        <a:pt x="47704" y="1775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2" name="Freeform: Shape 41">
                  <a:extLst>
                    <a:ext uri="{FF2B5EF4-FFF2-40B4-BE49-F238E27FC236}">
                      <a16:creationId xmlns:a16="http://schemas.microsoft.com/office/drawing/2014/main" id="{8AD2A256-81C0-8E5D-E414-2A2CF83B0421}"/>
                    </a:ext>
                  </a:extLst>
                </p:cNvPr>
                <p:cNvSpPr/>
                <p:nvPr/>
              </p:nvSpPr>
              <p:spPr>
                <a:xfrm>
                  <a:off x="7661242" y="3276726"/>
                  <a:ext cx="47364" cy="35230"/>
                </a:xfrm>
                <a:custGeom>
                  <a:avLst/>
                  <a:gdLst>
                    <a:gd name="connsiteX0" fmla="*/ 47706 w 47364"/>
                    <a:gd name="connsiteY0" fmla="*/ 17757 h 35230"/>
                    <a:gd name="connsiteX1" fmla="*/ 24023 w 47364"/>
                    <a:gd name="connsiteY1" fmla="*/ 35373 h 35230"/>
                    <a:gd name="connsiteX2" fmla="*/ 341 w 47364"/>
                    <a:gd name="connsiteY2" fmla="*/ 17757 h 35230"/>
                    <a:gd name="connsiteX3" fmla="*/ 24023 w 47364"/>
                    <a:gd name="connsiteY3" fmla="*/ 142 h 35230"/>
                    <a:gd name="connsiteX4" fmla="*/ 47706 w 47364"/>
                    <a:gd name="connsiteY4" fmla="*/ 17757 h 35230"/>
                    <a:gd name="connsiteX5" fmla="*/ 47706 w 47364"/>
                    <a:gd name="connsiteY5" fmla="*/ 17757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06" y="17757"/>
                      </a:moveTo>
                      <a:cubicBezTo>
                        <a:pt x="47706" y="27530"/>
                        <a:pt x="37162" y="35373"/>
                        <a:pt x="24023" y="35373"/>
                      </a:cubicBezTo>
                      <a:cubicBezTo>
                        <a:pt x="10885" y="35373"/>
                        <a:pt x="341" y="27530"/>
                        <a:pt x="341" y="17757"/>
                      </a:cubicBezTo>
                      <a:cubicBezTo>
                        <a:pt x="341" y="7984"/>
                        <a:pt x="10885" y="142"/>
                        <a:pt x="24023" y="142"/>
                      </a:cubicBezTo>
                      <a:cubicBezTo>
                        <a:pt x="37162" y="142"/>
                        <a:pt x="47706" y="7984"/>
                        <a:pt x="47706" y="17757"/>
                      </a:cubicBezTo>
                      <a:lnTo>
                        <a:pt x="47706" y="17757"/>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3" name="Freeform: Shape 42">
                  <a:extLst>
                    <a:ext uri="{FF2B5EF4-FFF2-40B4-BE49-F238E27FC236}">
                      <a16:creationId xmlns:a16="http://schemas.microsoft.com/office/drawing/2014/main" id="{9B52D66E-4568-00B8-9F8F-D66D256EABAB}"/>
                    </a:ext>
                  </a:extLst>
                </p:cNvPr>
                <p:cNvSpPr/>
                <p:nvPr/>
              </p:nvSpPr>
              <p:spPr>
                <a:xfrm>
                  <a:off x="7710066" y="3300857"/>
                  <a:ext cx="47364" cy="35230"/>
                </a:xfrm>
                <a:custGeom>
                  <a:avLst/>
                  <a:gdLst>
                    <a:gd name="connsiteX0" fmla="*/ 47709 w 47364"/>
                    <a:gd name="connsiteY0" fmla="*/ 17759 h 35230"/>
                    <a:gd name="connsiteX1" fmla="*/ 24026 w 47364"/>
                    <a:gd name="connsiteY1" fmla="*/ 35375 h 35230"/>
                    <a:gd name="connsiteX2" fmla="*/ 344 w 47364"/>
                    <a:gd name="connsiteY2" fmla="*/ 17759 h 35230"/>
                    <a:gd name="connsiteX3" fmla="*/ 24026 w 47364"/>
                    <a:gd name="connsiteY3" fmla="*/ 144 h 35230"/>
                    <a:gd name="connsiteX4" fmla="*/ 47709 w 47364"/>
                    <a:gd name="connsiteY4" fmla="*/ 17759 h 35230"/>
                    <a:gd name="connsiteX5" fmla="*/ 47709 w 47364"/>
                    <a:gd name="connsiteY5" fmla="*/ 17759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09" y="17759"/>
                      </a:moveTo>
                      <a:cubicBezTo>
                        <a:pt x="47709" y="27532"/>
                        <a:pt x="37165" y="35375"/>
                        <a:pt x="24026" y="35375"/>
                      </a:cubicBezTo>
                      <a:cubicBezTo>
                        <a:pt x="10888" y="35375"/>
                        <a:pt x="344" y="27532"/>
                        <a:pt x="344" y="17759"/>
                      </a:cubicBezTo>
                      <a:cubicBezTo>
                        <a:pt x="344" y="7986"/>
                        <a:pt x="10888" y="144"/>
                        <a:pt x="24026" y="144"/>
                      </a:cubicBezTo>
                      <a:cubicBezTo>
                        <a:pt x="37165" y="144"/>
                        <a:pt x="47709" y="7986"/>
                        <a:pt x="47709" y="17759"/>
                      </a:cubicBezTo>
                      <a:lnTo>
                        <a:pt x="47709" y="17759"/>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4" name="Freeform: Shape 43">
                  <a:extLst>
                    <a:ext uri="{FF2B5EF4-FFF2-40B4-BE49-F238E27FC236}">
                      <a16:creationId xmlns:a16="http://schemas.microsoft.com/office/drawing/2014/main" id="{8A1222B0-3845-9586-764A-39C025D541F9}"/>
                    </a:ext>
                  </a:extLst>
                </p:cNvPr>
                <p:cNvSpPr/>
                <p:nvPr/>
              </p:nvSpPr>
              <p:spPr>
                <a:xfrm>
                  <a:off x="7742508" y="3324988"/>
                  <a:ext cx="47364" cy="35230"/>
                </a:xfrm>
                <a:custGeom>
                  <a:avLst/>
                  <a:gdLst>
                    <a:gd name="connsiteX0" fmla="*/ 47711 w 47364"/>
                    <a:gd name="connsiteY0" fmla="*/ 17761 h 35230"/>
                    <a:gd name="connsiteX1" fmla="*/ 24028 w 47364"/>
                    <a:gd name="connsiteY1" fmla="*/ 35377 h 35230"/>
                    <a:gd name="connsiteX2" fmla="*/ 346 w 47364"/>
                    <a:gd name="connsiteY2" fmla="*/ 17761 h 35230"/>
                    <a:gd name="connsiteX3" fmla="*/ 24028 w 47364"/>
                    <a:gd name="connsiteY3" fmla="*/ 146 h 35230"/>
                    <a:gd name="connsiteX4" fmla="*/ 47711 w 47364"/>
                    <a:gd name="connsiteY4" fmla="*/ 17761 h 35230"/>
                    <a:gd name="connsiteX5" fmla="*/ 47711 w 47364"/>
                    <a:gd name="connsiteY5" fmla="*/ 17761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11" y="17761"/>
                      </a:moveTo>
                      <a:cubicBezTo>
                        <a:pt x="47711" y="27534"/>
                        <a:pt x="37167" y="35377"/>
                        <a:pt x="24028" y="35377"/>
                      </a:cubicBezTo>
                      <a:cubicBezTo>
                        <a:pt x="10890" y="35377"/>
                        <a:pt x="346" y="27534"/>
                        <a:pt x="346" y="17761"/>
                      </a:cubicBezTo>
                      <a:cubicBezTo>
                        <a:pt x="346" y="7988"/>
                        <a:pt x="10890" y="146"/>
                        <a:pt x="24028" y="146"/>
                      </a:cubicBezTo>
                      <a:cubicBezTo>
                        <a:pt x="37167" y="146"/>
                        <a:pt x="47711" y="7988"/>
                        <a:pt x="47711" y="17761"/>
                      </a:cubicBezTo>
                      <a:lnTo>
                        <a:pt x="47711" y="17761"/>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5" name="Freeform: Shape 44">
                  <a:extLst>
                    <a:ext uri="{FF2B5EF4-FFF2-40B4-BE49-F238E27FC236}">
                      <a16:creationId xmlns:a16="http://schemas.microsoft.com/office/drawing/2014/main" id="{A8E09B7F-BCAA-7B4E-14F2-24A69B1FCB1E}"/>
                    </a:ext>
                  </a:extLst>
                </p:cNvPr>
                <p:cNvSpPr/>
                <p:nvPr/>
              </p:nvSpPr>
              <p:spPr>
                <a:xfrm>
                  <a:off x="7774950" y="3349119"/>
                  <a:ext cx="47364" cy="35230"/>
                </a:xfrm>
                <a:custGeom>
                  <a:avLst/>
                  <a:gdLst>
                    <a:gd name="connsiteX0" fmla="*/ 47713 w 47364"/>
                    <a:gd name="connsiteY0" fmla="*/ 17763 h 35230"/>
                    <a:gd name="connsiteX1" fmla="*/ 24030 w 47364"/>
                    <a:gd name="connsiteY1" fmla="*/ 35379 h 35230"/>
                    <a:gd name="connsiteX2" fmla="*/ 348 w 47364"/>
                    <a:gd name="connsiteY2" fmla="*/ 17763 h 35230"/>
                    <a:gd name="connsiteX3" fmla="*/ 24030 w 47364"/>
                    <a:gd name="connsiteY3" fmla="*/ 148 h 35230"/>
                    <a:gd name="connsiteX4" fmla="*/ 47713 w 47364"/>
                    <a:gd name="connsiteY4" fmla="*/ 17763 h 35230"/>
                    <a:gd name="connsiteX5" fmla="*/ 47713 w 47364"/>
                    <a:gd name="connsiteY5" fmla="*/ 17763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13" y="17763"/>
                      </a:moveTo>
                      <a:cubicBezTo>
                        <a:pt x="47713" y="27536"/>
                        <a:pt x="37169" y="35379"/>
                        <a:pt x="24030" y="35379"/>
                      </a:cubicBezTo>
                      <a:cubicBezTo>
                        <a:pt x="10892" y="35379"/>
                        <a:pt x="348" y="27536"/>
                        <a:pt x="348" y="17763"/>
                      </a:cubicBezTo>
                      <a:cubicBezTo>
                        <a:pt x="348" y="7990"/>
                        <a:pt x="10892" y="148"/>
                        <a:pt x="24030" y="148"/>
                      </a:cubicBezTo>
                      <a:cubicBezTo>
                        <a:pt x="37169" y="148"/>
                        <a:pt x="47713" y="7990"/>
                        <a:pt x="47713" y="17763"/>
                      </a:cubicBezTo>
                      <a:lnTo>
                        <a:pt x="47713" y="17763"/>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6" name="Freeform: Shape 45">
                  <a:extLst>
                    <a:ext uri="{FF2B5EF4-FFF2-40B4-BE49-F238E27FC236}">
                      <a16:creationId xmlns:a16="http://schemas.microsoft.com/office/drawing/2014/main" id="{125988E2-E548-966F-3A09-C0D7CC4719AE}"/>
                    </a:ext>
                  </a:extLst>
                </p:cNvPr>
                <p:cNvSpPr/>
                <p:nvPr/>
              </p:nvSpPr>
              <p:spPr>
                <a:xfrm>
                  <a:off x="7807392" y="3361184"/>
                  <a:ext cx="47364" cy="35230"/>
                </a:xfrm>
                <a:custGeom>
                  <a:avLst/>
                  <a:gdLst>
                    <a:gd name="connsiteX0" fmla="*/ 47715 w 47364"/>
                    <a:gd name="connsiteY0" fmla="*/ 17764 h 35230"/>
                    <a:gd name="connsiteX1" fmla="*/ 24032 w 47364"/>
                    <a:gd name="connsiteY1" fmla="*/ 35380 h 35230"/>
                    <a:gd name="connsiteX2" fmla="*/ 350 w 47364"/>
                    <a:gd name="connsiteY2" fmla="*/ 17764 h 35230"/>
                    <a:gd name="connsiteX3" fmla="*/ 24032 w 47364"/>
                    <a:gd name="connsiteY3" fmla="*/ 149 h 35230"/>
                    <a:gd name="connsiteX4" fmla="*/ 47715 w 47364"/>
                    <a:gd name="connsiteY4" fmla="*/ 17764 h 35230"/>
                    <a:gd name="connsiteX5" fmla="*/ 47715 w 47364"/>
                    <a:gd name="connsiteY5" fmla="*/ 17764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15" y="17764"/>
                      </a:moveTo>
                      <a:cubicBezTo>
                        <a:pt x="47715" y="27537"/>
                        <a:pt x="37171" y="35380"/>
                        <a:pt x="24032" y="35380"/>
                      </a:cubicBezTo>
                      <a:cubicBezTo>
                        <a:pt x="10894" y="35380"/>
                        <a:pt x="350" y="27537"/>
                        <a:pt x="350" y="17764"/>
                      </a:cubicBezTo>
                      <a:cubicBezTo>
                        <a:pt x="350" y="7991"/>
                        <a:pt x="10894" y="149"/>
                        <a:pt x="24032" y="149"/>
                      </a:cubicBezTo>
                      <a:cubicBezTo>
                        <a:pt x="37171" y="149"/>
                        <a:pt x="47715" y="7991"/>
                        <a:pt x="47715" y="17764"/>
                      </a:cubicBezTo>
                      <a:lnTo>
                        <a:pt x="47715" y="17764"/>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7" name="Freeform: Shape 46">
                  <a:extLst>
                    <a:ext uri="{FF2B5EF4-FFF2-40B4-BE49-F238E27FC236}">
                      <a16:creationId xmlns:a16="http://schemas.microsoft.com/office/drawing/2014/main" id="{FEBFA2AB-E042-291F-F3FC-C5538DA88822}"/>
                    </a:ext>
                  </a:extLst>
                </p:cNvPr>
                <p:cNvSpPr/>
                <p:nvPr/>
              </p:nvSpPr>
              <p:spPr>
                <a:xfrm>
                  <a:off x="7856054" y="3361184"/>
                  <a:ext cx="47364" cy="35230"/>
                </a:xfrm>
                <a:custGeom>
                  <a:avLst/>
                  <a:gdLst>
                    <a:gd name="connsiteX0" fmla="*/ 47718 w 47364"/>
                    <a:gd name="connsiteY0" fmla="*/ 17764 h 35230"/>
                    <a:gd name="connsiteX1" fmla="*/ 24035 w 47364"/>
                    <a:gd name="connsiteY1" fmla="*/ 35380 h 35230"/>
                    <a:gd name="connsiteX2" fmla="*/ 353 w 47364"/>
                    <a:gd name="connsiteY2" fmla="*/ 17764 h 35230"/>
                    <a:gd name="connsiteX3" fmla="*/ 24035 w 47364"/>
                    <a:gd name="connsiteY3" fmla="*/ 149 h 35230"/>
                    <a:gd name="connsiteX4" fmla="*/ 47718 w 47364"/>
                    <a:gd name="connsiteY4" fmla="*/ 17764 h 35230"/>
                    <a:gd name="connsiteX5" fmla="*/ 47718 w 47364"/>
                    <a:gd name="connsiteY5" fmla="*/ 17764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18" y="17764"/>
                      </a:moveTo>
                      <a:cubicBezTo>
                        <a:pt x="47718" y="27537"/>
                        <a:pt x="37174" y="35380"/>
                        <a:pt x="24035" y="35380"/>
                      </a:cubicBezTo>
                      <a:cubicBezTo>
                        <a:pt x="10897" y="35380"/>
                        <a:pt x="353" y="27537"/>
                        <a:pt x="353" y="17764"/>
                      </a:cubicBezTo>
                      <a:cubicBezTo>
                        <a:pt x="353" y="7991"/>
                        <a:pt x="10897" y="149"/>
                        <a:pt x="24035" y="149"/>
                      </a:cubicBezTo>
                      <a:cubicBezTo>
                        <a:pt x="37174" y="149"/>
                        <a:pt x="47718" y="7991"/>
                        <a:pt x="47718" y="17764"/>
                      </a:cubicBezTo>
                      <a:lnTo>
                        <a:pt x="47718" y="17764"/>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8" name="Freeform: Shape 47">
                  <a:extLst>
                    <a:ext uri="{FF2B5EF4-FFF2-40B4-BE49-F238E27FC236}">
                      <a16:creationId xmlns:a16="http://schemas.microsoft.com/office/drawing/2014/main" id="{145C0DA6-B549-B2D4-4E6D-2EABFE49CFD6}"/>
                    </a:ext>
                  </a:extLst>
                </p:cNvPr>
                <p:cNvSpPr/>
                <p:nvPr/>
              </p:nvSpPr>
              <p:spPr>
                <a:xfrm>
                  <a:off x="7904717" y="3373249"/>
                  <a:ext cx="47364" cy="35230"/>
                </a:xfrm>
                <a:custGeom>
                  <a:avLst/>
                  <a:gdLst>
                    <a:gd name="connsiteX0" fmla="*/ 47721 w 47364"/>
                    <a:gd name="connsiteY0" fmla="*/ 17765 h 35230"/>
                    <a:gd name="connsiteX1" fmla="*/ 24038 w 47364"/>
                    <a:gd name="connsiteY1" fmla="*/ 35381 h 35230"/>
                    <a:gd name="connsiteX2" fmla="*/ 356 w 47364"/>
                    <a:gd name="connsiteY2" fmla="*/ 17765 h 35230"/>
                    <a:gd name="connsiteX3" fmla="*/ 24038 w 47364"/>
                    <a:gd name="connsiteY3" fmla="*/ 150 h 35230"/>
                    <a:gd name="connsiteX4" fmla="*/ 47721 w 47364"/>
                    <a:gd name="connsiteY4" fmla="*/ 17765 h 35230"/>
                    <a:gd name="connsiteX5" fmla="*/ 47721 w 47364"/>
                    <a:gd name="connsiteY5" fmla="*/ 1776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21" y="17765"/>
                      </a:moveTo>
                      <a:cubicBezTo>
                        <a:pt x="47721" y="27538"/>
                        <a:pt x="37177" y="35381"/>
                        <a:pt x="24038" y="35381"/>
                      </a:cubicBezTo>
                      <a:cubicBezTo>
                        <a:pt x="10900" y="35381"/>
                        <a:pt x="356" y="27538"/>
                        <a:pt x="356" y="17765"/>
                      </a:cubicBezTo>
                      <a:cubicBezTo>
                        <a:pt x="356" y="7992"/>
                        <a:pt x="10900" y="150"/>
                        <a:pt x="24038" y="150"/>
                      </a:cubicBezTo>
                      <a:cubicBezTo>
                        <a:pt x="37177" y="150"/>
                        <a:pt x="47721" y="7992"/>
                        <a:pt x="47721" y="17765"/>
                      </a:cubicBezTo>
                      <a:lnTo>
                        <a:pt x="47721" y="1776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9" name="Freeform: Shape 48">
                  <a:extLst>
                    <a:ext uri="{FF2B5EF4-FFF2-40B4-BE49-F238E27FC236}">
                      <a16:creationId xmlns:a16="http://schemas.microsoft.com/office/drawing/2014/main" id="{6CF415BD-9FB7-C23F-E7CB-FD8E3667D9C9}"/>
                    </a:ext>
                  </a:extLst>
                </p:cNvPr>
                <p:cNvSpPr/>
                <p:nvPr/>
              </p:nvSpPr>
              <p:spPr>
                <a:xfrm>
                  <a:off x="7937158" y="3373249"/>
                  <a:ext cx="47364" cy="35230"/>
                </a:xfrm>
                <a:custGeom>
                  <a:avLst/>
                  <a:gdLst>
                    <a:gd name="connsiteX0" fmla="*/ 47723 w 47364"/>
                    <a:gd name="connsiteY0" fmla="*/ 17765 h 35230"/>
                    <a:gd name="connsiteX1" fmla="*/ 24040 w 47364"/>
                    <a:gd name="connsiteY1" fmla="*/ 35381 h 35230"/>
                    <a:gd name="connsiteX2" fmla="*/ 358 w 47364"/>
                    <a:gd name="connsiteY2" fmla="*/ 17765 h 35230"/>
                    <a:gd name="connsiteX3" fmla="*/ 24040 w 47364"/>
                    <a:gd name="connsiteY3" fmla="*/ 150 h 35230"/>
                    <a:gd name="connsiteX4" fmla="*/ 47723 w 47364"/>
                    <a:gd name="connsiteY4" fmla="*/ 17765 h 35230"/>
                    <a:gd name="connsiteX5" fmla="*/ 47723 w 47364"/>
                    <a:gd name="connsiteY5" fmla="*/ 1776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23" y="17765"/>
                      </a:moveTo>
                      <a:cubicBezTo>
                        <a:pt x="47723" y="27538"/>
                        <a:pt x="37179" y="35381"/>
                        <a:pt x="24040" y="35381"/>
                      </a:cubicBezTo>
                      <a:cubicBezTo>
                        <a:pt x="10902" y="35381"/>
                        <a:pt x="358" y="27538"/>
                        <a:pt x="358" y="17765"/>
                      </a:cubicBezTo>
                      <a:cubicBezTo>
                        <a:pt x="358" y="7992"/>
                        <a:pt x="10902" y="150"/>
                        <a:pt x="24040" y="150"/>
                      </a:cubicBezTo>
                      <a:cubicBezTo>
                        <a:pt x="37179" y="150"/>
                        <a:pt x="47723" y="7992"/>
                        <a:pt x="47723" y="17765"/>
                      </a:cubicBezTo>
                      <a:lnTo>
                        <a:pt x="47723" y="1776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0" name="Freeform: Shape 49">
                  <a:extLst>
                    <a:ext uri="{FF2B5EF4-FFF2-40B4-BE49-F238E27FC236}">
                      <a16:creationId xmlns:a16="http://schemas.microsoft.com/office/drawing/2014/main" id="{5585C380-3AB9-16AB-EE9B-94E570D04FEE}"/>
                    </a:ext>
                  </a:extLst>
                </p:cNvPr>
                <p:cNvSpPr/>
                <p:nvPr/>
              </p:nvSpPr>
              <p:spPr>
                <a:xfrm>
                  <a:off x="7985821" y="3373249"/>
                  <a:ext cx="47364" cy="35230"/>
                </a:xfrm>
                <a:custGeom>
                  <a:avLst/>
                  <a:gdLst>
                    <a:gd name="connsiteX0" fmla="*/ 47726 w 47364"/>
                    <a:gd name="connsiteY0" fmla="*/ 17765 h 35230"/>
                    <a:gd name="connsiteX1" fmla="*/ 24043 w 47364"/>
                    <a:gd name="connsiteY1" fmla="*/ 35381 h 35230"/>
                    <a:gd name="connsiteX2" fmla="*/ 361 w 47364"/>
                    <a:gd name="connsiteY2" fmla="*/ 17765 h 35230"/>
                    <a:gd name="connsiteX3" fmla="*/ 24043 w 47364"/>
                    <a:gd name="connsiteY3" fmla="*/ 150 h 35230"/>
                    <a:gd name="connsiteX4" fmla="*/ 47726 w 47364"/>
                    <a:gd name="connsiteY4" fmla="*/ 17765 h 35230"/>
                    <a:gd name="connsiteX5" fmla="*/ 47726 w 47364"/>
                    <a:gd name="connsiteY5" fmla="*/ 1776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26" y="17765"/>
                      </a:moveTo>
                      <a:cubicBezTo>
                        <a:pt x="47726" y="27538"/>
                        <a:pt x="37182" y="35381"/>
                        <a:pt x="24043" y="35381"/>
                      </a:cubicBezTo>
                      <a:cubicBezTo>
                        <a:pt x="10905" y="35381"/>
                        <a:pt x="361" y="27538"/>
                        <a:pt x="361" y="17765"/>
                      </a:cubicBezTo>
                      <a:cubicBezTo>
                        <a:pt x="361" y="7992"/>
                        <a:pt x="10905" y="150"/>
                        <a:pt x="24043" y="150"/>
                      </a:cubicBezTo>
                      <a:cubicBezTo>
                        <a:pt x="37182" y="150"/>
                        <a:pt x="47726" y="7992"/>
                        <a:pt x="47726" y="17765"/>
                      </a:cubicBezTo>
                      <a:lnTo>
                        <a:pt x="47726" y="1776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1" name="Freeform: Shape 50">
                  <a:extLst>
                    <a:ext uri="{FF2B5EF4-FFF2-40B4-BE49-F238E27FC236}">
                      <a16:creationId xmlns:a16="http://schemas.microsoft.com/office/drawing/2014/main" id="{45DFBC6B-4D0C-60A5-1D61-0CDB1ACC4AA8}"/>
                    </a:ext>
                  </a:extLst>
                </p:cNvPr>
                <p:cNvSpPr/>
                <p:nvPr/>
              </p:nvSpPr>
              <p:spPr>
                <a:xfrm>
                  <a:off x="8018263" y="3385315"/>
                  <a:ext cx="47364" cy="35230"/>
                </a:xfrm>
                <a:custGeom>
                  <a:avLst/>
                  <a:gdLst>
                    <a:gd name="connsiteX0" fmla="*/ 47728 w 47364"/>
                    <a:gd name="connsiteY0" fmla="*/ 17766 h 35230"/>
                    <a:gd name="connsiteX1" fmla="*/ 24045 w 47364"/>
                    <a:gd name="connsiteY1" fmla="*/ 35382 h 35230"/>
                    <a:gd name="connsiteX2" fmla="*/ 363 w 47364"/>
                    <a:gd name="connsiteY2" fmla="*/ 17766 h 35230"/>
                    <a:gd name="connsiteX3" fmla="*/ 24045 w 47364"/>
                    <a:gd name="connsiteY3" fmla="*/ 151 h 35230"/>
                    <a:gd name="connsiteX4" fmla="*/ 47728 w 47364"/>
                    <a:gd name="connsiteY4" fmla="*/ 17766 h 35230"/>
                    <a:gd name="connsiteX5" fmla="*/ 47728 w 47364"/>
                    <a:gd name="connsiteY5" fmla="*/ 17766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28" y="17766"/>
                      </a:moveTo>
                      <a:cubicBezTo>
                        <a:pt x="47728" y="27539"/>
                        <a:pt x="37184" y="35382"/>
                        <a:pt x="24045" y="35382"/>
                      </a:cubicBezTo>
                      <a:cubicBezTo>
                        <a:pt x="10907" y="35382"/>
                        <a:pt x="363" y="27539"/>
                        <a:pt x="363" y="17766"/>
                      </a:cubicBezTo>
                      <a:cubicBezTo>
                        <a:pt x="363" y="7993"/>
                        <a:pt x="10907" y="151"/>
                        <a:pt x="24045" y="151"/>
                      </a:cubicBezTo>
                      <a:cubicBezTo>
                        <a:pt x="37184" y="151"/>
                        <a:pt x="47728" y="7993"/>
                        <a:pt x="47728" y="17766"/>
                      </a:cubicBezTo>
                      <a:lnTo>
                        <a:pt x="47728" y="17766"/>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2" name="Freeform: Shape 51">
                  <a:extLst>
                    <a:ext uri="{FF2B5EF4-FFF2-40B4-BE49-F238E27FC236}">
                      <a16:creationId xmlns:a16="http://schemas.microsoft.com/office/drawing/2014/main" id="{B48A8AB6-BF89-FB6A-E958-A87CFA0D00F8}"/>
                    </a:ext>
                  </a:extLst>
                </p:cNvPr>
                <p:cNvSpPr/>
                <p:nvPr/>
              </p:nvSpPr>
              <p:spPr>
                <a:xfrm>
                  <a:off x="8050704" y="3397380"/>
                  <a:ext cx="47364" cy="35230"/>
                </a:xfrm>
                <a:custGeom>
                  <a:avLst/>
                  <a:gdLst>
                    <a:gd name="connsiteX0" fmla="*/ 47730 w 47364"/>
                    <a:gd name="connsiteY0" fmla="*/ 17767 h 35230"/>
                    <a:gd name="connsiteX1" fmla="*/ 24047 w 47364"/>
                    <a:gd name="connsiteY1" fmla="*/ 35383 h 35230"/>
                    <a:gd name="connsiteX2" fmla="*/ 365 w 47364"/>
                    <a:gd name="connsiteY2" fmla="*/ 17767 h 35230"/>
                    <a:gd name="connsiteX3" fmla="*/ 24047 w 47364"/>
                    <a:gd name="connsiteY3" fmla="*/ 152 h 35230"/>
                    <a:gd name="connsiteX4" fmla="*/ 47730 w 47364"/>
                    <a:gd name="connsiteY4" fmla="*/ 17767 h 35230"/>
                    <a:gd name="connsiteX5" fmla="*/ 47730 w 47364"/>
                    <a:gd name="connsiteY5" fmla="*/ 17767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30" y="17767"/>
                      </a:moveTo>
                      <a:cubicBezTo>
                        <a:pt x="47730" y="27540"/>
                        <a:pt x="37186" y="35383"/>
                        <a:pt x="24047" y="35383"/>
                      </a:cubicBezTo>
                      <a:cubicBezTo>
                        <a:pt x="10909" y="35383"/>
                        <a:pt x="365" y="27540"/>
                        <a:pt x="365" y="17767"/>
                      </a:cubicBezTo>
                      <a:cubicBezTo>
                        <a:pt x="365" y="7994"/>
                        <a:pt x="10909" y="152"/>
                        <a:pt x="24047" y="152"/>
                      </a:cubicBezTo>
                      <a:cubicBezTo>
                        <a:pt x="37186" y="152"/>
                        <a:pt x="47730" y="7994"/>
                        <a:pt x="47730" y="17767"/>
                      </a:cubicBezTo>
                      <a:lnTo>
                        <a:pt x="47730" y="17767"/>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3" name="Freeform: Shape 52">
                  <a:extLst>
                    <a:ext uri="{FF2B5EF4-FFF2-40B4-BE49-F238E27FC236}">
                      <a16:creationId xmlns:a16="http://schemas.microsoft.com/office/drawing/2014/main" id="{15BF7944-E294-0311-521E-D578BD2F5AC6}"/>
                    </a:ext>
                  </a:extLst>
                </p:cNvPr>
                <p:cNvSpPr/>
                <p:nvPr/>
              </p:nvSpPr>
              <p:spPr>
                <a:xfrm>
                  <a:off x="8083146" y="3409446"/>
                  <a:ext cx="47364" cy="35230"/>
                </a:xfrm>
                <a:custGeom>
                  <a:avLst/>
                  <a:gdLst>
                    <a:gd name="connsiteX0" fmla="*/ 47732 w 47364"/>
                    <a:gd name="connsiteY0" fmla="*/ 17768 h 35230"/>
                    <a:gd name="connsiteX1" fmla="*/ 24049 w 47364"/>
                    <a:gd name="connsiteY1" fmla="*/ 35384 h 35230"/>
                    <a:gd name="connsiteX2" fmla="*/ 367 w 47364"/>
                    <a:gd name="connsiteY2" fmla="*/ 17768 h 35230"/>
                    <a:gd name="connsiteX3" fmla="*/ 24049 w 47364"/>
                    <a:gd name="connsiteY3" fmla="*/ 153 h 35230"/>
                    <a:gd name="connsiteX4" fmla="*/ 47732 w 47364"/>
                    <a:gd name="connsiteY4" fmla="*/ 17768 h 35230"/>
                    <a:gd name="connsiteX5" fmla="*/ 47732 w 47364"/>
                    <a:gd name="connsiteY5" fmla="*/ 1776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32" y="17768"/>
                      </a:moveTo>
                      <a:cubicBezTo>
                        <a:pt x="47732" y="27541"/>
                        <a:pt x="37188" y="35384"/>
                        <a:pt x="24049" y="35384"/>
                      </a:cubicBezTo>
                      <a:cubicBezTo>
                        <a:pt x="10911" y="35384"/>
                        <a:pt x="367" y="27541"/>
                        <a:pt x="367" y="17768"/>
                      </a:cubicBezTo>
                      <a:cubicBezTo>
                        <a:pt x="367" y="7995"/>
                        <a:pt x="10911" y="153"/>
                        <a:pt x="24049" y="153"/>
                      </a:cubicBezTo>
                      <a:cubicBezTo>
                        <a:pt x="37188" y="153"/>
                        <a:pt x="47732" y="7995"/>
                        <a:pt x="47732" y="17768"/>
                      </a:cubicBezTo>
                      <a:lnTo>
                        <a:pt x="47732" y="17768"/>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4" name="Freeform: Shape 53">
                  <a:extLst>
                    <a:ext uri="{FF2B5EF4-FFF2-40B4-BE49-F238E27FC236}">
                      <a16:creationId xmlns:a16="http://schemas.microsoft.com/office/drawing/2014/main" id="{7D23F13E-58BF-320F-CB1C-4799AC8752FB}"/>
                    </a:ext>
                  </a:extLst>
                </p:cNvPr>
                <p:cNvSpPr/>
                <p:nvPr/>
              </p:nvSpPr>
              <p:spPr>
                <a:xfrm>
                  <a:off x="8115588" y="3409446"/>
                  <a:ext cx="47364" cy="35230"/>
                </a:xfrm>
                <a:custGeom>
                  <a:avLst/>
                  <a:gdLst>
                    <a:gd name="connsiteX0" fmla="*/ 47734 w 47364"/>
                    <a:gd name="connsiteY0" fmla="*/ 17768 h 35230"/>
                    <a:gd name="connsiteX1" fmla="*/ 24051 w 47364"/>
                    <a:gd name="connsiteY1" fmla="*/ 35384 h 35230"/>
                    <a:gd name="connsiteX2" fmla="*/ 369 w 47364"/>
                    <a:gd name="connsiteY2" fmla="*/ 17768 h 35230"/>
                    <a:gd name="connsiteX3" fmla="*/ 24051 w 47364"/>
                    <a:gd name="connsiteY3" fmla="*/ 153 h 35230"/>
                    <a:gd name="connsiteX4" fmla="*/ 47734 w 47364"/>
                    <a:gd name="connsiteY4" fmla="*/ 17768 h 35230"/>
                    <a:gd name="connsiteX5" fmla="*/ 47734 w 47364"/>
                    <a:gd name="connsiteY5" fmla="*/ 1776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34" y="17768"/>
                      </a:moveTo>
                      <a:cubicBezTo>
                        <a:pt x="47734" y="27541"/>
                        <a:pt x="37190" y="35384"/>
                        <a:pt x="24051" y="35384"/>
                      </a:cubicBezTo>
                      <a:cubicBezTo>
                        <a:pt x="10913" y="35384"/>
                        <a:pt x="369" y="27541"/>
                        <a:pt x="369" y="17768"/>
                      </a:cubicBezTo>
                      <a:cubicBezTo>
                        <a:pt x="369" y="7995"/>
                        <a:pt x="10913" y="153"/>
                        <a:pt x="24051" y="153"/>
                      </a:cubicBezTo>
                      <a:cubicBezTo>
                        <a:pt x="37190" y="153"/>
                        <a:pt x="47734" y="7995"/>
                        <a:pt x="47734" y="17768"/>
                      </a:cubicBezTo>
                      <a:lnTo>
                        <a:pt x="47734" y="17768"/>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5" name="Freeform: Shape 54">
                  <a:extLst>
                    <a:ext uri="{FF2B5EF4-FFF2-40B4-BE49-F238E27FC236}">
                      <a16:creationId xmlns:a16="http://schemas.microsoft.com/office/drawing/2014/main" id="{8830A403-CED7-4ED2-61E1-0445B0A96610}"/>
                    </a:ext>
                  </a:extLst>
                </p:cNvPr>
                <p:cNvSpPr/>
                <p:nvPr/>
              </p:nvSpPr>
              <p:spPr>
                <a:xfrm>
                  <a:off x="8148030" y="3409446"/>
                  <a:ext cx="47364" cy="35230"/>
                </a:xfrm>
                <a:custGeom>
                  <a:avLst/>
                  <a:gdLst>
                    <a:gd name="connsiteX0" fmla="*/ 47736 w 47364"/>
                    <a:gd name="connsiteY0" fmla="*/ 17768 h 35230"/>
                    <a:gd name="connsiteX1" fmla="*/ 24053 w 47364"/>
                    <a:gd name="connsiteY1" fmla="*/ 35384 h 35230"/>
                    <a:gd name="connsiteX2" fmla="*/ 371 w 47364"/>
                    <a:gd name="connsiteY2" fmla="*/ 17768 h 35230"/>
                    <a:gd name="connsiteX3" fmla="*/ 24053 w 47364"/>
                    <a:gd name="connsiteY3" fmla="*/ 153 h 35230"/>
                    <a:gd name="connsiteX4" fmla="*/ 47736 w 47364"/>
                    <a:gd name="connsiteY4" fmla="*/ 17768 h 35230"/>
                    <a:gd name="connsiteX5" fmla="*/ 47736 w 47364"/>
                    <a:gd name="connsiteY5" fmla="*/ 1776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36" y="17768"/>
                      </a:moveTo>
                      <a:cubicBezTo>
                        <a:pt x="47736" y="27541"/>
                        <a:pt x="37192" y="35384"/>
                        <a:pt x="24053" y="35384"/>
                      </a:cubicBezTo>
                      <a:cubicBezTo>
                        <a:pt x="10915" y="35384"/>
                        <a:pt x="371" y="27541"/>
                        <a:pt x="371" y="17768"/>
                      </a:cubicBezTo>
                      <a:cubicBezTo>
                        <a:pt x="371" y="7995"/>
                        <a:pt x="10915" y="153"/>
                        <a:pt x="24053" y="153"/>
                      </a:cubicBezTo>
                      <a:cubicBezTo>
                        <a:pt x="37192" y="153"/>
                        <a:pt x="47736" y="7995"/>
                        <a:pt x="47736" y="17768"/>
                      </a:cubicBezTo>
                      <a:lnTo>
                        <a:pt x="47736" y="17768"/>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6" name="Freeform: Shape 55">
                  <a:extLst>
                    <a:ext uri="{FF2B5EF4-FFF2-40B4-BE49-F238E27FC236}">
                      <a16:creationId xmlns:a16="http://schemas.microsoft.com/office/drawing/2014/main" id="{7A9BE73A-8A7A-2C52-7759-6115A2CC62FE}"/>
                    </a:ext>
                  </a:extLst>
                </p:cNvPr>
                <p:cNvSpPr/>
                <p:nvPr/>
              </p:nvSpPr>
              <p:spPr>
                <a:xfrm>
                  <a:off x="8180471" y="3409446"/>
                  <a:ext cx="47364" cy="35230"/>
                </a:xfrm>
                <a:custGeom>
                  <a:avLst/>
                  <a:gdLst>
                    <a:gd name="connsiteX0" fmla="*/ 47738 w 47364"/>
                    <a:gd name="connsiteY0" fmla="*/ 17768 h 35230"/>
                    <a:gd name="connsiteX1" fmla="*/ 24055 w 47364"/>
                    <a:gd name="connsiteY1" fmla="*/ 35384 h 35230"/>
                    <a:gd name="connsiteX2" fmla="*/ 373 w 47364"/>
                    <a:gd name="connsiteY2" fmla="*/ 17768 h 35230"/>
                    <a:gd name="connsiteX3" fmla="*/ 24055 w 47364"/>
                    <a:gd name="connsiteY3" fmla="*/ 153 h 35230"/>
                    <a:gd name="connsiteX4" fmla="*/ 47738 w 47364"/>
                    <a:gd name="connsiteY4" fmla="*/ 17768 h 35230"/>
                    <a:gd name="connsiteX5" fmla="*/ 47738 w 47364"/>
                    <a:gd name="connsiteY5" fmla="*/ 1776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38" y="17768"/>
                      </a:moveTo>
                      <a:cubicBezTo>
                        <a:pt x="47738" y="27541"/>
                        <a:pt x="37194" y="35384"/>
                        <a:pt x="24055" y="35384"/>
                      </a:cubicBezTo>
                      <a:cubicBezTo>
                        <a:pt x="10917" y="35384"/>
                        <a:pt x="373" y="27541"/>
                        <a:pt x="373" y="17768"/>
                      </a:cubicBezTo>
                      <a:cubicBezTo>
                        <a:pt x="373" y="7995"/>
                        <a:pt x="10917" y="153"/>
                        <a:pt x="24055" y="153"/>
                      </a:cubicBezTo>
                      <a:cubicBezTo>
                        <a:pt x="37194" y="153"/>
                        <a:pt x="47738" y="7995"/>
                        <a:pt x="47738" y="17768"/>
                      </a:cubicBezTo>
                      <a:lnTo>
                        <a:pt x="47738" y="17768"/>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7" name="Freeform: Shape 56">
                  <a:extLst>
                    <a:ext uri="{FF2B5EF4-FFF2-40B4-BE49-F238E27FC236}">
                      <a16:creationId xmlns:a16="http://schemas.microsoft.com/office/drawing/2014/main" id="{0D09CD88-A3BB-6370-ADCE-1B46828678B0}"/>
                    </a:ext>
                  </a:extLst>
                </p:cNvPr>
                <p:cNvSpPr/>
                <p:nvPr/>
              </p:nvSpPr>
              <p:spPr>
                <a:xfrm>
                  <a:off x="8212913" y="3409446"/>
                  <a:ext cx="47364" cy="35230"/>
                </a:xfrm>
                <a:custGeom>
                  <a:avLst/>
                  <a:gdLst>
                    <a:gd name="connsiteX0" fmla="*/ 47740 w 47364"/>
                    <a:gd name="connsiteY0" fmla="*/ 17768 h 35230"/>
                    <a:gd name="connsiteX1" fmla="*/ 24057 w 47364"/>
                    <a:gd name="connsiteY1" fmla="*/ 35384 h 35230"/>
                    <a:gd name="connsiteX2" fmla="*/ 375 w 47364"/>
                    <a:gd name="connsiteY2" fmla="*/ 17768 h 35230"/>
                    <a:gd name="connsiteX3" fmla="*/ 24057 w 47364"/>
                    <a:gd name="connsiteY3" fmla="*/ 153 h 35230"/>
                    <a:gd name="connsiteX4" fmla="*/ 47740 w 47364"/>
                    <a:gd name="connsiteY4" fmla="*/ 17768 h 35230"/>
                    <a:gd name="connsiteX5" fmla="*/ 47740 w 47364"/>
                    <a:gd name="connsiteY5" fmla="*/ 1776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40" y="17768"/>
                      </a:moveTo>
                      <a:cubicBezTo>
                        <a:pt x="47740" y="27541"/>
                        <a:pt x="37196" y="35384"/>
                        <a:pt x="24057" y="35384"/>
                      </a:cubicBezTo>
                      <a:cubicBezTo>
                        <a:pt x="10919" y="35384"/>
                        <a:pt x="375" y="27541"/>
                        <a:pt x="375" y="17768"/>
                      </a:cubicBezTo>
                      <a:cubicBezTo>
                        <a:pt x="375" y="7995"/>
                        <a:pt x="10919" y="153"/>
                        <a:pt x="24057" y="153"/>
                      </a:cubicBezTo>
                      <a:cubicBezTo>
                        <a:pt x="37196" y="153"/>
                        <a:pt x="47740" y="7995"/>
                        <a:pt x="47740" y="17768"/>
                      </a:cubicBezTo>
                      <a:lnTo>
                        <a:pt x="47740" y="17768"/>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8" name="Freeform: Shape 57">
                  <a:extLst>
                    <a:ext uri="{FF2B5EF4-FFF2-40B4-BE49-F238E27FC236}">
                      <a16:creationId xmlns:a16="http://schemas.microsoft.com/office/drawing/2014/main" id="{71580542-DF57-DD25-4627-ABB4D853163A}"/>
                    </a:ext>
                  </a:extLst>
                </p:cNvPr>
                <p:cNvSpPr/>
                <p:nvPr/>
              </p:nvSpPr>
              <p:spPr>
                <a:xfrm>
                  <a:off x="8261576" y="3409446"/>
                  <a:ext cx="47364" cy="35230"/>
                </a:xfrm>
                <a:custGeom>
                  <a:avLst/>
                  <a:gdLst>
                    <a:gd name="connsiteX0" fmla="*/ 47743 w 47364"/>
                    <a:gd name="connsiteY0" fmla="*/ 17768 h 35230"/>
                    <a:gd name="connsiteX1" fmla="*/ 24060 w 47364"/>
                    <a:gd name="connsiteY1" fmla="*/ 35384 h 35230"/>
                    <a:gd name="connsiteX2" fmla="*/ 378 w 47364"/>
                    <a:gd name="connsiteY2" fmla="*/ 17768 h 35230"/>
                    <a:gd name="connsiteX3" fmla="*/ 24060 w 47364"/>
                    <a:gd name="connsiteY3" fmla="*/ 153 h 35230"/>
                    <a:gd name="connsiteX4" fmla="*/ 47743 w 47364"/>
                    <a:gd name="connsiteY4" fmla="*/ 17768 h 35230"/>
                    <a:gd name="connsiteX5" fmla="*/ 47743 w 47364"/>
                    <a:gd name="connsiteY5" fmla="*/ 1776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43" y="17768"/>
                      </a:moveTo>
                      <a:cubicBezTo>
                        <a:pt x="47743" y="27541"/>
                        <a:pt x="37199" y="35384"/>
                        <a:pt x="24060" y="35384"/>
                      </a:cubicBezTo>
                      <a:cubicBezTo>
                        <a:pt x="10922" y="35384"/>
                        <a:pt x="378" y="27541"/>
                        <a:pt x="378" y="17768"/>
                      </a:cubicBezTo>
                      <a:cubicBezTo>
                        <a:pt x="378" y="7995"/>
                        <a:pt x="10922" y="153"/>
                        <a:pt x="24060" y="153"/>
                      </a:cubicBezTo>
                      <a:cubicBezTo>
                        <a:pt x="37199" y="153"/>
                        <a:pt x="47743" y="7995"/>
                        <a:pt x="47743" y="17768"/>
                      </a:cubicBezTo>
                      <a:lnTo>
                        <a:pt x="47743" y="17768"/>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9" name="Freeform: Shape 58">
                  <a:extLst>
                    <a:ext uri="{FF2B5EF4-FFF2-40B4-BE49-F238E27FC236}">
                      <a16:creationId xmlns:a16="http://schemas.microsoft.com/office/drawing/2014/main" id="{7CBDEEC3-B9B6-A2A4-8124-6193BB7F5170}"/>
                    </a:ext>
                  </a:extLst>
                </p:cNvPr>
                <p:cNvSpPr/>
                <p:nvPr/>
              </p:nvSpPr>
              <p:spPr>
                <a:xfrm>
                  <a:off x="8294017" y="3409446"/>
                  <a:ext cx="47364" cy="35230"/>
                </a:xfrm>
                <a:custGeom>
                  <a:avLst/>
                  <a:gdLst>
                    <a:gd name="connsiteX0" fmla="*/ 47745 w 47364"/>
                    <a:gd name="connsiteY0" fmla="*/ 17768 h 35230"/>
                    <a:gd name="connsiteX1" fmla="*/ 24062 w 47364"/>
                    <a:gd name="connsiteY1" fmla="*/ 35384 h 35230"/>
                    <a:gd name="connsiteX2" fmla="*/ 380 w 47364"/>
                    <a:gd name="connsiteY2" fmla="*/ 17768 h 35230"/>
                    <a:gd name="connsiteX3" fmla="*/ 24062 w 47364"/>
                    <a:gd name="connsiteY3" fmla="*/ 153 h 35230"/>
                    <a:gd name="connsiteX4" fmla="*/ 47745 w 47364"/>
                    <a:gd name="connsiteY4" fmla="*/ 17768 h 35230"/>
                    <a:gd name="connsiteX5" fmla="*/ 47745 w 47364"/>
                    <a:gd name="connsiteY5" fmla="*/ 1776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45" y="17768"/>
                      </a:moveTo>
                      <a:cubicBezTo>
                        <a:pt x="47745" y="27541"/>
                        <a:pt x="37201" y="35384"/>
                        <a:pt x="24062" y="35384"/>
                      </a:cubicBezTo>
                      <a:cubicBezTo>
                        <a:pt x="10924" y="35384"/>
                        <a:pt x="380" y="27541"/>
                        <a:pt x="380" y="17768"/>
                      </a:cubicBezTo>
                      <a:cubicBezTo>
                        <a:pt x="380" y="7995"/>
                        <a:pt x="10924" y="153"/>
                        <a:pt x="24062" y="153"/>
                      </a:cubicBezTo>
                      <a:cubicBezTo>
                        <a:pt x="37201" y="153"/>
                        <a:pt x="47745" y="7995"/>
                        <a:pt x="47745" y="17768"/>
                      </a:cubicBezTo>
                      <a:lnTo>
                        <a:pt x="47745" y="17768"/>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0" name="Freeform: Shape 59">
                  <a:extLst>
                    <a:ext uri="{FF2B5EF4-FFF2-40B4-BE49-F238E27FC236}">
                      <a16:creationId xmlns:a16="http://schemas.microsoft.com/office/drawing/2014/main" id="{DEE17CA2-F8DA-833B-1031-2BFD74AF5E32}"/>
                    </a:ext>
                  </a:extLst>
                </p:cNvPr>
                <p:cNvSpPr/>
                <p:nvPr/>
              </p:nvSpPr>
              <p:spPr>
                <a:xfrm>
                  <a:off x="8342680" y="3421511"/>
                  <a:ext cx="47364" cy="35230"/>
                </a:xfrm>
                <a:custGeom>
                  <a:avLst/>
                  <a:gdLst>
                    <a:gd name="connsiteX0" fmla="*/ 47748 w 47364"/>
                    <a:gd name="connsiteY0" fmla="*/ 17769 h 35230"/>
                    <a:gd name="connsiteX1" fmla="*/ 24065 w 47364"/>
                    <a:gd name="connsiteY1" fmla="*/ 35385 h 35230"/>
                    <a:gd name="connsiteX2" fmla="*/ 383 w 47364"/>
                    <a:gd name="connsiteY2" fmla="*/ 17769 h 35230"/>
                    <a:gd name="connsiteX3" fmla="*/ 24065 w 47364"/>
                    <a:gd name="connsiteY3" fmla="*/ 154 h 35230"/>
                    <a:gd name="connsiteX4" fmla="*/ 47748 w 47364"/>
                    <a:gd name="connsiteY4" fmla="*/ 17769 h 35230"/>
                    <a:gd name="connsiteX5" fmla="*/ 47748 w 47364"/>
                    <a:gd name="connsiteY5" fmla="*/ 17769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48" y="17769"/>
                      </a:moveTo>
                      <a:cubicBezTo>
                        <a:pt x="47748" y="27542"/>
                        <a:pt x="37204" y="35385"/>
                        <a:pt x="24065" y="35385"/>
                      </a:cubicBezTo>
                      <a:cubicBezTo>
                        <a:pt x="10927" y="35385"/>
                        <a:pt x="383" y="27542"/>
                        <a:pt x="383" y="17769"/>
                      </a:cubicBezTo>
                      <a:cubicBezTo>
                        <a:pt x="383" y="7996"/>
                        <a:pt x="10927" y="154"/>
                        <a:pt x="24065" y="154"/>
                      </a:cubicBezTo>
                      <a:cubicBezTo>
                        <a:pt x="37204" y="154"/>
                        <a:pt x="47748" y="7996"/>
                        <a:pt x="47748" y="17769"/>
                      </a:cubicBezTo>
                      <a:lnTo>
                        <a:pt x="47748" y="17769"/>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1" name="Freeform: Shape 60">
                  <a:extLst>
                    <a:ext uri="{FF2B5EF4-FFF2-40B4-BE49-F238E27FC236}">
                      <a16:creationId xmlns:a16="http://schemas.microsoft.com/office/drawing/2014/main" id="{A6204BF8-1609-BF15-96E5-8BCCF8639062}"/>
                    </a:ext>
                  </a:extLst>
                </p:cNvPr>
                <p:cNvSpPr/>
                <p:nvPr/>
              </p:nvSpPr>
              <p:spPr>
                <a:xfrm>
                  <a:off x="8375122" y="3445642"/>
                  <a:ext cx="47364" cy="35230"/>
                </a:xfrm>
                <a:custGeom>
                  <a:avLst/>
                  <a:gdLst>
                    <a:gd name="connsiteX0" fmla="*/ 47750 w 47364"/>
                    <a:gd name="connsiteY0" fmla="*/ 17771 h 35230"/>
                    <a:gd name="connsiteX1" fmla="*/ 24067 w 47364"/>
                    <a:gd name="connsiteY1" fmla="*/ 35387 h 35230"/>
                    <a:gd name="connsiteX2" fmla="*/ 385 w 47364"/>
                    <a:gd name="connsiteY2" fmla="*/ 17771 h 35230"/>
                    <a:gd name="connsiteX3" fmla="*/ 24067 w 47364"/>
                    <a:gd name="connsiteY3" fmla="*/ 156 h 35230"/>
                    <a:gd name="connsiteX4" fmla="*/ 47750 w 47364"/>
                    <a:gd name="connsiteY4" fmla="*/ 17771 h 35230"/>
                    <a:gd name="connsiteX5" fmla="*/ 47750 w 47364"/>
                    <a:gd name="connsiteY5" fmla="*/ 17771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50" y="17771"/>
                      </a:moveTo>
                      <a:cubicBezTo>
                        <a:pt x="47750" y="27544"/>
                        <a:pt x="37206" y="35387"/>
                        <a:pt x="24067" y="35387"/>
                      </a:cubicBezTo>
                      <a:cubicBezTo>
                        <a:pt x="10929" y="35387"/>
                        <a:pt x="385" y="27544"/>
                        <a:pt x="385" y="17771"/>
                      </a:cubicBezTo>
                      <a:cubicBezTo>
                        <a:pt x="385" y="7998"/>
                        <a:pt x="10929" y="156"/>
                        <a:pt x="24067" y="156"/>
                      </a:cubicBezTo>
                      <a:cubicBezTo>
                        <a:pt x="37206" y="156"/>
                        <a:pt x="47750" y="7998"/>
                        <a:pt x="47750" y="17771"/>
                      </a:cubicBezTo>
                      <a:lnTo>
                        <a:pt x="47750" y="17771"/>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2" name="Freeform: Shape 61">
                  <a:extLst>
                    <a:ext uri="{FF2B5EF4-FFF2-40B4-BE49-F238E27FC236}">
                      <a16:creationId xmlns:a16="http://schemas.microsoft.com/office/drawing/2014/main" id="{355DC2DE-3CD5-BEC1-8BC4-85D250B56761}"/>
                    </a:ext>
                  </a:extLst>
                </p:cNvPr>
                <p:cNvSpPr/>
                <p:nvPr/>
              </p:nvSpPr>
              <p:spPr>
                <a:xfrm>
                  <a:off x="8407563" y="3457707"/>
                  <a:ext cx="47364" cy="35230"/>
                </a:xfrm>
                <a:custGeom>
                  <a:avLst/>
                  <a:gdLst>
                    <a:gd name="connsiteX0" fmla="*/ 47752 w 47364"/>
                    <a:gd name="connsiteY0" fmla="*/ 17772 h 35230"/>
                    <a:gd name="connsiteX1" fmla="*/ 24069 w 47364"/>
                    <a:gd name="connsiteY1" fmla="*/ 35388 h 35230"/>
                    <a:gd name="connsiteX2" fmla="*/ 387 w 47364"/>
                    <a:gd name="connsiteY2" fmla="*/ 17772 h 35230"/>
                    <a:gd name="connsiteX3" fmla="*/ 24069 w 47364"/>
                    <a:gd name="connsiteY3" fmla="*/ 157 h 35230"/>
                    <a:gd name="connsiteX4" fmla="*/ 47752 w 47364"/>
                    <a:gd name="connsiteY4" fmla="*/ 17772 h 35230"/>
                    <a:gd name="connsiteX5" fmla="*/ 47752 w 47364"/>
                    <a:gd name="connsiteY5" fmla="*/ 17772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52" y="17772"/>
                      </a:moveTo>
                      <a:cubicBezTo>
                        <a:pt x="47752" y="27545"/>
                        <a:pt x="37208" y="35388"/>
                        <a:pt x="24069" y="35388"/>
                      </a:cubicBezTo>
                      <a:cubicBezTo>
                        <a:pt x="10931" y="35388"/>
                        <a:pt x="387" y="27545"/>
                        <a:pt x="387" y="17772"/>
                      </a:cubicBezTo>
                      <a:cubicBezTo>
                        <a:pt x="387" y="7999"/>
                        <a:pt x="10931" y="157"/>
                        <a:pt x="24069" y="157"/>
                      </a:cubicBezTo>
                      <a:cubicBezTo>
                        <a:pt x="37208" y="157"/>
                        <a:pt x="47752" y="7999"/>
                        <a:pt x="47752" y="17772"/>
                      </a:cubicBezTo>
                      <a:lnTo>
                        <a:pt x="47752" y="17772"/>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3" name="Freeform: Shape 62">
                  <a:extLst>
                    <a:ext uri="{FF2B5EF4-FFF2-40B4-BE49-F238E27FC236}">
                      <a16:creationId xmlns:a16="http://schemas.microsoft.com/office/drawing/2014/main" id="{6438AC55-549D-82AD-5916-1A6EE6112435}"/>
                    </a:ext>
                  </a:extLst>
                </p:cNvPr>
                <p:cNvSpPr/>
                <p:nvPr/>
              </p:nvSpPr>
              <p:spPr>
                <a:xfrm>
                  <a:off x="8456226" y="3469773"/>
                  <a:ext cx="47364" cy="35230"/>
                </a:xfrm>
                <a:custGeom>
                  <a:avLst/>
                  <a:gdLst>
                    <a:gd name="connsiteX0" fmla="*/ 47755 w 47364"/>
                    <a:gd name="connsiteY0" fmla="*/ 17773 h 35230"/>
                    <a:gd name="connsiteX1" fmla="*/ 24072 w 47364"/>
                    <a:gd name="connsiteY1" fmla="*/ 35389 h 35230"/>
                    <a:gd name="connsiteX2" fmla="*/ 390 w 47364"/>
                    <a:gd name="connsiteY2" fmla="*/ 17773 h 35230"/>
                    <a:gd name="connsiteX3" fmla="*/ 24072 w 47364"/>
                    <a:gd name="connsiteY3" fmla="*/ 158 h 35230"/>
                    <a:gd name="connsiteX4" fmla="*/ 47755 w 47364"/>
                    <a:gd name="connsiteY4" fmla="*/ 17773 h 35230"/>
                    <a:gd name="connsiteX5" fmla="*/ 47755 w 47364"/>
                    <a:gd name="connsiteY5" fmla="*/ 17773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55" y="17773"/>
                      </a:moveTo>
                      <a:cubicBezTo>
                        <a:pt x="47755" y="27546"/>
                        <a:pt x="37211" y="35389"/>
                        <a:pt x="24072" y="35389"/>
                      </a:cubicBezTo>
                      <a:cubicBezTo>
                        <a:pt x="10934" y="35389"/>
                        <a:pt x="390" y="27546"/>
                        <a:pt x="390" y="17773"/>
                      </a:cubicBezTo>
                      <a:cubicBezTo>
                        <a:pt x="390" y="8000"/>
                        <a:pt x="10934" y="158"/>
                        <a:pt x="24072" y="158"/>
                      </a:cubicBezTo>
                      <a:cubicBezTo>
                        <a:pt x="37211" y="158"/>
                        <a:pt x="47755" y="8000"/>
                        <a:pt x="47755" y="17773"/>
                      </a:cubicBezTo>
                      <a:lnTo>
                        <a:pt x="47755" y="17773"/>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4" name="Freeform: Shape 63">
                  <a:extLst>
                    <a:ext uri="{FF2B5EF4-FFF2-40B4-BE49-F238E27FC236}">
                      <a16:creationId xmlns:a16="http://schemas.microsoft.com/office/drawing/2014/main" id="{07BF1644-45E3-5F84-3DF9-34BFFFF4C202}"/>
                    </a:ext>
                  </a:extLst>
                </p:cNvPr>
                <p:cNvSpPr/>
                <p:nvPr/>
              </p:nvSpPr>
              <p:spPr>
                <a:xfrm>
                  <a:off x="8488668" y="3481838"/>
                  <a:ext cx="47364" cy="35230"/>
                </a:xfrm>
                <a:custGeom>
                  <a:avLst/>
                  <a:gdLst>
                    <a:gd name="connsiteX0" fmla="*/ 47757 w 47364"/>
                    <a:gd name="connsiteY0" fmla="*/ 17774 h 35230"/>
                    <a:gd name="connsiteX1" fmla="*/ 24074 w 47364"/>
                    <a:gd name="connsiteY1" fmla="*/ 35390 h 35230"/>
                    <a:gd name="connsiteX2" fmla="*/ 392 w 47364"/>
                    <a:gd name="connsiteY2" fmla="*/ 17774 h 35230"/>
                    <a:gd name="connsiteX3" fmla="*/ 24074 w 47364"/>
                    <a:gd name="connsiteY3" fmla="*/ 159 h 35230"/>
                    <a:gd name="connsiteX4" fmla="*/ 47757 w 47364"/>
                    <a:gd name="connsiteY4" fmla="*/ 17774 h 35230"/>
                    <a:gd name="connsiteX5" fmla="*/ 47757 w 47364"/>
                    <a:gd name="connsiteY5" fmla="*/ 17774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57" y="17774"/>
                      </a:moveTo>
                      <a:cubicBezTo>
                        <a:pt x="47757" y="27547"/>
                        <a:pt x="37213" y="35390"/>
                        <a:pt x="24074" y="35390"/>
                      </a:cubicBezTo>
                      <a:cubicBezTo>
                        <a:pt x="10936" y="35390"/>
                        <a:pt x="392" y="27547"/>
                        <a:pt x="392" y="17774"/>
                      </a:cubicBezTo>
                      <a:cubicBezTo>
                        <a:pt x="392" y="8001"/>
                        <a:pt x="10936" y="159"/>
                        <a:pt x="24074" y="159"/>
                      </a:cubicBezTo>
                      <a:cubicBezTo>
                        <a:pt x="37213" y="159"/>
                        <a:pt x="47757" y="8001"/>
                        <a:pt x="47757" y="17774"/>
                      </a:cubicBezTo>
                      <a:lnTo>
                        <a:pt x="47757" y="17774"/>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5" name="Freeform: Shape 64">
                  <a:extLst>
                    <a:ext uri="{FF2B5EF4-FFF2-40B4-BE49-F238E27FC236}">
                      <a16:creationId xmlns:a16="http://schemas.microsoft.com/office/drawing/2014/main" id="{52B73D08-7678-DCA7-E9FE-6B576DE7BEE0}"/>
                    </a:ext>
                  </a:extLst>
                </p:cNvPr>
                <p:cNvSpPr/>
                <p:nvPr/>
              </p:nvSpPr>
              <p:spPr>
                <a:xfrm>
                  <a:off x="8537330" y="3542165"/>
                  <a:ext cx="47364" cy="35230"/>
                </a:xfrm>
                <a:custGeom>
                  <a:avLst/>
                  <a:gdLst>
                    <a:gd name="connsiteX0" fmla="*/ 47760 w 47364"/>
                    <a:gd name="connsiteY0" fmla="*/ 17779 h 35230"/>
                    <a:gd name="connsiteX1" fmla="*/ 24077 w 47364"/>
                    <a:gd name="connsiteY1" fmla="*/ 35395 h 35230"/>
                    <a:gd name="connsiteX2" fmla="*/ 395 w 47364"/>
                    <a:gd name="connsiteY2" fmla="*/ 17779 h 35230"/>
                    <a:gd name="connsiteX3" fmla="*/ 24077 w 47364"/>
                    <a:gd name="connsiteY3" fmla="*/ 164 h 35230"/>
                    <a:gd name="connsiteX4" fmla="*/ 47760 w 47364"/>
                    <a:gd name="connsiteY4" fmla="*/ 17779 h 35230"/>
                    <a:gd name="connsiteX5" fmla="*/ 47760 w 47364"/>
                    <a:gd name="connsiteY5" fmla="*/ 17779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60" y="17779"/>
                      </a:moveTo>
                      <a:cubicBezTo>
                        <a:pt x="47760" y="27552"/>
                        <a:pt x="37216" y="35395"/>
                        <a:pt x="24077" y="35395"/>
                      </a:cubicBezTo>
                      <a:cubicBezTo>
                        <a:pt x="10939" y="35395"/>
                        <a:pt x="395" y="27552"/>
                        <a:pt x="395" y="17779"/>
                      </a:cubicBezTo>
                      <a:cubicBezTo>
                        <a:pt x="395" y="8006"/>
                        <a:pt x="10939" y="164"/>
                        <a:pt x="24077" y="164"/>
                      </a:cubicBezTo>
                      <a:cubicBezTo>
                        <a:pt x="37216" y="164"/>
                        <a:pt x="47760" y="8006"/>
                        <a:pt x="47760" y="17779"/>
                      </a:cubicBezTo>
                      <a:lnTo>
                        <a:pt x="47760" y="17779"/>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6" name="Freeform: Shape 65">
                  <a:extLst>
                    <a:ext uri="{FF2B5EF4-FFF2-40B4-BE49-F238E27FC236}">
                      <a16:creationId xmlns:a16="http://schemas.microsoft.com/office/drawing/2014/main" id="{6C8A0E85-DC30-B633-27ED-BC1365C9CB36}"/>
                    </a:ext>
                  </a:extLst>
                </p:cNvPr>
                <p:cNvSpPr/>
                <p:nvPr/>
              </p:nvSpPr>
              <p:spPr>
                <a:xfrm>
                  <a:off x="8569772" y="3578361"/>
                  <a:ext cx="47364" cy="35230"/>
                </a:xfrm>
                <a:custGeom>
                  <a:avLst/>
                  <a:gdLst>
                    <a:gd name="connsiteX0" fmla="*/ 47762 w 47364"/>
                    <a:gd name="connsiteY0" fmla="*/ 17782 h 35230"/>
                    <a:gd name="connsiteX1" fmla="*/ 24079 w 47364"/>
                    <a:gd name="connsiteY1" fmla="*/ 35398 h 35230"/>
                    <a:gd name="connsiteX2" fmla="*/ 397 w 47364"/>
                    <a:gd name="connsiteY2" fmla="*/ 17782 h 35230"/>
                    <a:gd name="connsiteX3" fmla="*/ 24079 w 47364"/>
                    <a:gd name="connsiteY3" fmla="*/ 167 h 35230"/>
                    <a:gd name="connsiteX4" fmla="*/ 47762 w 47364"/>
                    <a:gd name="connsiteY4" fmla="*/ 17782 h 35230"/>
                    <a:gd name="connsiteX5" fmla="*/ 47762 w 47364"/>
                    <a:gd name="connsiteY5" fmla="*/ 17782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62" y="17782"/>
                      </a:moveTo>
                      <a:cubicBezTo>
                        <a:pt x="47762" y="27555"/>
                        <a:pt x="37218" y="35398"/>
                        <a:pt x="24079" y="35398"/>
                      </a:cubicBezTo>
                      <a:cubicBezTo>
                        <a:pt x="10941" y="35398"/>
                        <a:pt x="397" y="27555"/>
                        <a:pt x="397" y="17782"/>
                      </a:cubicBezTo>
                      <a:cubicBezTo>
                        <a:pt x="397" y="8009"/>
                        <a:pt x="10941" y="167"/>
                        <a:pt x="24079" y="167"/>
                      </a:cubicBezTo>
                      <a:cubicBezTo>
                        <a:pt x="37218" y="167"/>
                        <a:pt x="47762" y="8009"/>
                        <a:pt x="47762" y="17782"/>
                      </a:cubicBezTo>
                      <a:lnTo>
                        <a:pt x="47762" y="17782"/>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7" name="Freeform: Shape 66">
                  <a:extLst>
                    <a:ext uri="{FF2B5EF4-FFF2-40B4-BE49-F238E27FC236}">
                      <a16:creationId xmlns:a16="http://schemas.microsoft.com/office/drawing/2014/main" id="{D4FEB880-4AE2-35EE-D2FB-ED4490AC737C}"/>
                    </a:ext>
                  </a:extLst>
                </p:cNvPr>
                <p:cNvSpPr/>
                <p:nvPr/>
              </p:nvSpPr>
              <p:spPr>
                <a:xfrm>
                  <a:off x="8602214" y="3602492"/>
                  <a:ext cx="47364" cy="35230"/>
                </a:xfrm>
                <a:custGeom>
                  <a:avLst/>
                  <a:gdLst>
                    <a:gd name="connsiteX0" fmla="*/ 47764 w 47364"/>
                    <a:gd name="connsiteY0" fmla="*/ 17784 h 35230"/>
                    <a:gd name="connsiteX1" fmla="*/ 24081 w 47364"/>
                    <a:gd name="connsiteY1" fmla="*/ 35400 h 35230"/>
                    <a:gd name="connsiteX2" fmla="*/ 399 w 47364"/>
                    <a:gd name="connsiteY2" fmla="*/ 17784 h 35230"/>
                    <a:gd name="connsiteX3" fmla="*/ 24081 w 47364"/>
                    <a:gd name="connsiteY3" fmla="*/ 169 h 35230"/>
                    <a:gd name="connsiteX4" fmla="*/ 47764 w 47364"/>
                    <a:gd name="connsiteY4" fmla="*/ 17784 h 35230"/>
                    <a:gd name="connsiteX5" fmla="*/ 47764 w 47364"/>
                    <a:gd name="connsiteY5" fmla="*/ 17784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64" y="17784"/>
                      </a:moveTo>
                      <a:cubicBezTo>
                        <a:pt x="47764" y="27557"/>
                        <a:pt x="37220" y="35400"/>
                        <a:pt x="24081" y="35400"/>
                      </a:cubicBezTo>
                      <a:cubicBezTo>
                        <a:pt x="10943" y="35400"/>
                        <a:pt x="399" y="27557"/>
                        <a:pt x="399" y="17784"/>
                      </a:cubicBezTo>
                      <a:cubicBezTo>
                        <a:pt x="399" y="8011"/>
                        <a:pt x="10943" y="169"/>
                        <a:pt x="24081" y="169"/>
                      </a:cubicBezTo>
                      <a:cubicBezTo>
                        <a:pt x="37220" y="169"/>
                        <a:pt x="47764" y="8011"/>
                        <a:pt x="47764" y="17784"/>
                      </a:cubicBezTo>
                      <a:lnTo>
                        <a:pt x="47764" y="17784"/>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grpSp>
              <p:nvGrpSpPr>
                <p:cNvPr id="68" name="Graphic 25">
                  <a:extLst>
                    <a:ext uri="{FF2B5EF4-FFF2-40B4-BE49-F238E27FC236}">
                      <a16:creationId xmlns:a16="http://schemas.microsoft.com/office/drawing/2014/main" id="{EA9E196F-DEE1-68CE-EE32-8EF159058180}"/>
                    </a:ext>
                  </a:extLst>
                </p:cNvPr>
                <p:cNvGrpSpPr/>
                <p:nvPr/>
              </p:nvGrpSpPr>
              <p:grpSpPr>
                <a:xfrm>
                  <a:off x="8634655" y="3614678"/>
                  <a:ext cx="598873" cy="35230"/>
                  <a:chOff x="8634655" y="3614678"/>
                  <a:chExt cx="598873" cy="35230"/>
                </a:xfrm>
                <a:grpFill/>
              </p:grpSpPr>
              <p:sp>
                <p:nvSpPr>
                  <p:cNvPr id="78" name="Freeform: Shape 77">
                    <a:extLst>
                      <a:ext uri="{FF2B5EF4-FFF2-40B4-BE49-F238E27FC236}">
                        <a16:creationId xmlns:a16="http://schemas.microsoft.com/office/drawing/2014/main" id="{0D0F9F8B-F492-EF48-0AA1-C1D7A31667DD}"/>
                      </a:ext>
                    </a:extLst>
                  </p:cNvPr>
                  <p:cNvSpPr/>
                  <p:nvPr/>
                </p:nvSpPr>
                <p:spPr>
                  <a:xfrm>
                    <a:off x="8634655" y="3614678"/>
                    <a:ext cx="47364" cy="35230"/>
                  </a:xfrm>
                  <a:custGeom>
                    <a:avLst/>
                    <a:gdLst>
                      <a:gd name="connsiteX0" fmla="*/ 47766 w 47364"/>
                      <a:gd name="connsiteY0" fmla="*/ 17785 h 35230"/>
                      <a:gd name="connsiteX1" fmla="*/ 24083 w 47364"/>
                      <a:gd name="connsiteY1" fmla="*/ 35401 h 35230"/>
                      <a:gd name="connsiteX2" fmla="*/ 401 w 47364"/>
                      <a:gd name="connsiteY2" fmla="*/ 17785 h 35230"/>
                      <a:gd name="connsiteX3" fmla="*/ 24083 w 47364"/>
                      <a:gd name="connsiteY3" fmla="*/ 170 h 35230"/>
                      <a:gd name="connsiteX4" fmla="*/ 47766 w 47364"/>
                      <a:gd name="connsiteY4" fmla="*/ 17785 h 35230"/>
                      <a:gd name="connsiteX5" fmla="*/ 47766 w 47364"/>
                      <a:gd name="connsiteY5" fmla="*/ 1778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66" y="17785"/>
                        </a:moveTo>
                        <a:cubicBezTo>
                          <a:pt x="47766" y="27558"/>
                          <a:pt x="37222" y="35401"/>
                          <a:pt x="24083" y="35401"/>
                        </a:cubicBezTo>
                        <a:cubicBezTo>
                          <a:pt x="10945" y="35401"/>
                          <a:pt x="401" y="27558"/>
                          <a:pt x="401" y="17785"/>
                        </a:cubicBezTo>
                        <a:cubicBezTo>
                          <a:pt x="401" y="8012"/>
                          <a:pt x="10945" y="170"/>
                          <a:pt x="24083" y="170"/>
                        </a:cubicBezTo>
                        <a:cubicBezTo>
                          <a:pt x="37222" y="170"/>
                          <a:pt x="47766" y="8012"/>
                          <a:pt x="47766" y="17785"/>
                        </a:cubicBezTo>
                        <a:lnTo>
                          <a:pt x="47766" y="1778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9" name="Freeform: Shape 78">
                    <a:extLst>
                      <a:ext uri="{FF2B5EF4-FFF2-40B4-BE49-F238E27FC236}">
                        <a16:creationId xmlns:a16="http://schemas.microsoft.com/office/drawing/2014/main" id="{F1D69DBB-33EF-55EF-AA69-25A223C22B8D}"/>
                      </a:ext>
                    </a:extLst>
                  </p:cNvPr>
                  <p:cNvSpPr/>
                  <p:nvPr/>
                </p:nvSpPr>
                <p:spPr>
                  <a:xfrm>
                    <a:off x="8683318" y="3614678"/>
                    <a:ext cx="47364" cy="35230"/>
                  </a:xfrm>
                  <a:custGeom>
                    <a:avLst/>
                    <a:gdLst>
                      <a:gd name="connsiteX0" fmla="*/ 47769 w 47364"/>
                      <a:gd name="connsiteY0" fmla="*/ 17785 h 35230"/>
                      <a:gd name="connsiteX1" fmla="*/ 24086 w 47364"/>
                      <a:gd name="connsiteY1" fmla="*/ 35401 h 35230"/>
                      <a:gd name="connsiteX2" fmla="*/ 404 w 47364"/>
                      <a:gd name="connsiteY2" fmla="*/ 17785 h 35230"/>
                      <a:gd name="connsiteX3" fmla="*/ 24086 w 47364"/>
                      <a:gd name="connsiteY3" fmla="*/ 170 h 35230"/>
                      <a:gd name="connsiteX4" fmla="*/ 47769 w 47364"/>
                      <a:gd name="connsiteY4" fmla="*/ 17785 h 35230"/>
                      <a:gd name="connsiteX5" fmla="*/ 47769 w 47364"/>
                      <a:gd name="connsiteY5" fmla="*/ 1778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69" y="17785"/>
                        </a:moveTo>
                        <a:cubicBezTo>
                          <a:pt x="47769" y="27558"/>
                          <a:pt x="37225" y="35401"/>
                          <a:pt x="24086" y="35401"/>
                        </a:cubicBezTo>
                        <a:cubicBezTo>
                          <a:pt x="10948" y="35401"/>
                          <a:pt x="404" y="27558"/>
                          <a:pt x="404" y="17785"/>
                        </a:cubicBezTo>
                        <a:cubicBezTo>
                          <a:pt x="404" y="8012"/>
                          <a:pt x="10948" y="170"/>
                          <a:pt x="24086" y="170"/>
                        </a:cubicBezTo>
                        <a:cubicBezTo>
                          <a:pt x="37225" y="170"/>
                          <a:pt x="47769" y="8012"/>
                          <a:pt x="47769" y="17785"/>
                        </a:cubicBezTo>
                        <a:lnTo>
                          <a:pt x="47769" y="1778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0" name="Freeform: Shape 79">
                    <a:extLst>
                      <a:ext uri="{FF2B5EF4-FFF2-40B4-BE49-F238E27FC236}">
                        <a16:creationId xmlns:a16="http://schemas.microsoft.com/office/drawing/2014/main" id="{F9FAE758-64DD-7662-753C-35F6D1B7DF65}"/>
                      </a:ext>
                    </a:extLst>
                  </p:cNvPr>
                  <p:cNvSpPr/>
                  <p:nvPr/>
                </p:nvSpPr>
                <p:spPr>
                  <a:xfrm>
                    <a:off x="8731980" y="3614678"/>
                    <a:ext cx="47364" cy="35230"/>
                  </a:xfrm>
                  <a:custGeom>
                    <a:avLst/>
                    <a:gdLst>
                      <a:gd name="connsiteX0" fmla="*/ 47772 w 47364"/>
                      <a:gd name="connsiteY0" fmla="*/ 17785 h 35230"/>
                      <a:gd name="connsiteX1" fmla="*/ 24089 w 47364"/>
                      <a:gd name="connsiteY1" fmla="*/ 35401 h 35230"/>
                      <a:gd name="connsiteX2" fmla="*/ 407 w 47364"/>
                      <a:gd name="connsiteY2" fmla="*/ 17785 h 35230"/>
                      <a:gd name="connsiteX3" fmla="*/ 24089 w 47364"/>
                      <a:gd name="connsiteY3" fmla="*/ 170 h 35230"/>
                      <a:gd name="connsiteX4" fmla="*/ 47772 w 47364"/>
                      <a:gd name="connsiteY4" fmla="*/ 17785 h 35230"/>
                      <a:gd name="connsiteX5" fmla="*/ 47772 w 47364"/>
                      <a:gd name="connsiteY5" fmla="*/ 1778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72" y="17785"/>
                        </a:moveTo>
                        <a:cubicBezTo>
                          <a:pt x="47772" y="27558"/>
                          <a:pt x="37228" y="35401"/>
                          <a:pt x="24089" y="35401"/>
                        </a:cubicBezTo>
                        <a:cubicBezTo>
                          <a:pt x="10951" y="35401"/>
                          <a:pt x="407" y="27558"/>
                          <a:pt x="407" y="17785"/>
                        </a:cubicBezTo>
                        <a:cubicBezTo>
                          <a:pt x="407" y="8012"/>
                          <a:pt x="10951" y="170"/>
                          <a:pt x="24089" y="170"/>
                        </a:cubicBezTo>
                        <a:cubicBezTo>
                          <a:pt x="37228" y="170"/>
                          <a:pt x="47772" y="8012"/>
                          <a:pt x="47772" y="17785"/>
                        </a:cubicBezTo>
                        <a:lnTo>
                          <a:pt x="47772" y="1778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1" name="Freeform: Shape 80">
                    <a:extLst>
                      <a:ext uri="{FF2B5EF4-FFF2-40B4-BE49-F238E27FC236}">
                        <a16:creationId xmlns:a16="http://schemas.microsoft.com/office/drawing/2014/main" id="{2DD7E313-13B9-734B-6970-E9E3195CF4F5}"/>
                      </a:ext>
                    </a:extLst>
                  </p:cNvPr>
                  <p:cNvSpPr/>
                  <p:nvPr/>
                </p:nvSpPr>
                <p:spPr>
                  <a:xfrm>
                    <a:off x="8780643" y="3614678"/>
                    <a:ext cx="47364" cy="35230"/>
                  </a:xfrm>
                  <a:custGeom>
                    <a:avLst/>
                    <a:gdLst>
                      <a:gd name="connsiteX0" fmla="*/ 47775 w 47364"/>
                      <a:gd name="connsiteY0" fmla="*/ 17785 h 35230"/>
                      <a:gd name="connsiteX1" fmla="*/ 24092 w 47364"/>
                      <a:gd name="connsiteY1" fmla="*/ 35401 h 35230"/>
                      <a:gd name="connsiteX2" fmla="*/ 410 w 47364"/>
                      <a:gd name="connsiteY2" fmla="*/ 17785 h 35230"/>
                      <a:gd name="connsiteX3" fmla="*/ 24092 w 47364"/>
                      <a:gd name="connsiteY3" fmla="*/ 170 h 35230"/>
                      <a:gd name="connsiteX4" fmla="*/ 47775 w 47364"/>
                      <a:gd name="connsiteY4" fmla="*/ 17785 h 35230"/>
                      <a:gd name="connsiteX5" fmla="*/ 47775 w 47364"/>
                      <a:gd name="connsiteY5" fmla="*/ 1778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75" y="17785"/>
                        </a:moveTo>
                        <a:cubicBezTo>
                          <a:pt x="47775" y="27558"/>
                          <a:pt x="37231" y="35401"/>
                          <a:pt x="24092" y="35401"/>
                        </a:cubicBezTo>
                        <a:cubicBezTo>
                          <a:pt x="10954" y="35401"/>
                          <a:pt x="410" y="27558"/>
                          <a:pt x="410" y="17785"/>
                        </a:cubicBezTo>
                        <a:cubicBezTo>
                          <a:pt x="410" y="8012"/>
                          <a:pt x="10954" y="170"/>
                          <a:pt x="24092" y="170"/>
                        </a:cubicBezTo>
                        <a:cubicBezTo>
                          <a:pt x="37231" y="170"/>
                          <a:pt x="47775" y="8012"/>
                          <a:pt x="47775" y="17785"/>
                        </a:cubicBezTo>
                        <a:lnTo>
                          <a:pt x="47775" y="1778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2" name="Freeform: Shape 81">
                    <a:extLst>
                      <a:ext uri="{FF2B5EF4-FFF2-40B4-BE49-F238E27FC236}">
                        <a16:creationId xmlns:a16="http://schemas.microsoft.com/office/drawing/2014/main" id="{847ABA16-1736-BF07-DC11-8FA35AA1E4D8}"/>
                      </a:ext>
                    </a:extLst>
                  </p:cNvPr>
                  <p:cNvSpPr/>
                  <p:nvPr/>
                </p:nvSpPr>
                <p:spPr>
                  <a:xfrm>
                    <a:off x="8829306" y="3614678"/>
                    <a:ext cx="47364" cy="35230"/>
                  </a:xfrm>
                  <a:custGeom>
                    <a:avLst/>
                    <a:gdLst>
                      <a:gd name="connsiteX0" fmla="*/ 47778 w 47364"/>
                      <a:gd name="connsiteY0" fmla="*/ 17785 h 35230"/>
                      <a:gd name="connsiteX1" fmla="*/ 24095 w 47364"/>
                      <a:gd name="connsiteY1" fmla="*/ 35401 h 35230"/>
                      <a:gd name="connsiteX2" fmla="*/ 413 w 47364"/>
                      <a:gd name="connsiteY2" fmla="*/ 17785 h 35230"/>
                      <a:gd name="connsiteX3" fmla="*/ 24095 w 47364"/>
                      <a:gd name="connsiteY3" fmla="*/ 170 h 35230"/>
                      <a:gd name="connsiteX4" fmla="*/ 47778 w 47364"/>
                      <a:gd name="connsiteY4" fmla="*/ 17785 h 35230"/>
                      <a:gd name="connsiteX5" fmla="*/ 47778 w 47364"/>
                      <a:gd name="connsiteY5" fmla="*/ 1778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78" y="17785"/>
                        </a:moveTo>
                        <a:cubicBezTo>
                          <a:pt x="47778" y="27558"/>
                          <a:pt x="37234" y="35401"/>
                          <a:pt x="24095" y="35401"/>
                        </a:cubicBezTo>
                        <a:cubicBezTo>
                          <a:pt x="10957" y="35401"/>
                          <a:pt x="413" y="27558"/>
                          <a:pt x="413" y="17785"/>
                        </a:cubicBezTo>
                        <a:cubicBezTo>
                          <a:pt x="413" y="8012"/>
                          <a:pt x="10957" y="170"/>
                          <a:pt x="24095" y="170"/>
                        </a:cubicBezTo>
                        <a:cubicBezTo>
                          <a:pt x="37234" y="170"/>
                          <a:pt x="47778" y="8012"/>
                          <a:pt x="47778" y="17785"/>
                        </a:cubicBezTo>
                        <a:lnTo>
                          <a:pt x="47778" y="1778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3" name="Freeform: Shape 82">
                    <a:extLst>
                      <a:ext uri="{FF2B5EF4-FFF2-40B4-BE49-F238E27FC236}">
                        <a16:creationId xmlns:a16="http://schemas.microsoft.com/office/drawing/2014/main" id="{A74481F0-8195-D919-9D73-60C445B4CEE9}"/>
                      </a:ext>
                    </a:extLst>
                  </p:cNvPr>
                  <p:cNvSpPr/>
                  <p:nvPr/>
                </p:nvSpPr>
                <p:spPr>
                  <a:xfrm>
                    <a:off x="8894189" y="3614678"/>
                    <a:ext cx="47364" cy="35230"/>
                  </a:xfrm>
                  <a:custGeom>
                    <a:avLst/>
                    <a:gdLst>
                      <a:gd name="connsiteX0" fmla="*/ 47782 w 47364"/>
                      <a:gd name="connsiteY0" fmla="*/ 17785 h 35230"/>
                      <a:gd name="connsiteX1" fmla="*/ 24099 w 47364"/>
                      <a:gd name="connsiteY1" fmla="*/ 35401 h 35230"/>
                      <a:gd name="connsiteX2" fmla="*/ 417 w 47364"/>
                      <a:gd name="connsiteY2" fmla="*/ 17785 h 35230"/>
                      <a:gd name="connsiteX3" fmla="*/ 24099 w 47364"/>
                      <a:gd name="connsiteY3" fmla="*/ 170 h 35230"/>
                      <a:gd name="connsiteX4" fmla="*/ 47782 w 47364"/>
                      <a:gd name="connsiteY4" fmla="*/ 17785 h 35230"/>
                      <a:gd name="connsiteX5" fmla="*/ 47782 w 47364"/>
                      <a:gd name="connsiteY5" fmla="*/ 1778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82" y="17785"/>
                        </a:moveTo>
                        <a:cubicBezTo>
                          <a:pt x="47782" y="27558"/>
                          <a:pt x="37238" y="35401"/>
                          <a:pt x="24099" y="35401"/>
                        </a:cubicBezTo>
                        <a:cubicBezTo>
                          <a:pt x="10961" y="35401"/>
                          <a:pt x="417" y="27558"/>
                          <a:pt x="417" y="17785"/>
                        </a:cubicBezTo>
                        <a:cubicBezTo>
                          <a:pt x="417" y="8012"/>
                          <a:pt x="10961" y="170"/>
                          <a:pt x="24099" y="170"/>
                        </a:cubicBezTo>
                        <a:cubicBezTo>
                          <a:pt x="37238" y="170"/>
                          <a:pt x="47782" y="8012"/>
                          <a:pt x="47782" y="17785"/>
                        </a:cubicBezTo>
                        <a:lnTo>
                          <a:pt x="47782" y="1778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4" name="Freeform: Shape 83">
                    <a:extLst>
                      <a:ext uri="{FF2B5EF4-FFF2-40B4-BE49-F238E27FC236}">
                        <a16:creationId xmlns:a16="http://schemas.microsoft.com/office/drawing/2014/main" id="{60372A87-A94F-060A-1861-A7B80693D4BB}"/>
                      </a:ext>
                    </a:extLst>
                  </p:cNvPr>
                  <p:cNvSpPr/>
                  <p:nvPr/>
                </p:nvSpPr>
                <p:spPr>
                  <a:xfrm>
                    <a:off x="8942852" y="3614678"/>
                    <a:ext cx="47364" cy="35230"/>
                  </a:xfrm>
                  <a:custGeom>
                    <a:avLst/>
                    <a:gdLst>
                      <a:gd name="connsiteX0" fmla="*/ 47785 w 47364"/>
                      <a:gd name="connsiteY0" fmla="*/ 17785 h 35230"/>
                      <a:gd name="connsiteX1" fmla="*/ 24102 w 47364"/>
                      <a:gd name="connsiteY1" fmla="*/ 35401 h 35230"/>
                      <a:gd name="connsiteX2" fmla="*/ 420 w 47364"/>
                      <a:gd name="connsiteY2" fmla="*/ 17785 h 35230"/>
                      <a:gd name="connsiteX3" fmla="*/ 24102 w 47364"/>
                      <a:gd name="connsiteY3" fmla="*/ 170 h 35230"/>
                      <a:gd name="connsiteX4" fmla="*/ 47785 w 47364"/>
                      <a:gd name="connsiteY4" fmla="*/ 17785 h 35230"/>
                      <a:gd name="connsiteX5" fmla="*/ 47785 w 47364"/>
                      <a:gd name="connsiteY5" fmla="*/ 1778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85" y="17785"/>
                        </a:moveTo>
                        <a:cubicBezTo>
                          <a:pt x="47785" y="27558"/>
                          <a:pt x="37241" y="35401"/>
                          <a:pt x="24102" y="35401"/>
                        </a:cubicBezTo>
                        <a:cubicBezTo>
                          <a:pt x="10964" y="35401"/>
                          <a:pt x="420" y="27558"/>
                          <a:pt x="420" y="17785"/>
                        </a:cubicBezTo>
                        <a:cubicBezTo>
                          <a:pt x="420" y="8012"/>
                          <a:pt x="10964" y="170"/>
                          <a:pt x="24102" y="170"/>
                        </a:cubicBezTo>
                        <a:cubicBezTo>
                          <a:pt x="37241" y="170"/>
                          <a:pt x="47785" y="8012"/>
                          <a:pt x="47785" y="17785"/>
                        </a:cubicBezTo>
                        <a:lnTo>
                          <a:pt x="47785" y="1778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5" name="Freeform: Shape 84">
                    <a:extLst>
                      <a:ext uri="{FF2B5EF4-FFF2-40B4-BE49-F238E27FC236}">
                        <a16:creationId xmlns:a16="http://schemas.microsoft.com/office/drawing/2014/main" id="{CE93C974-580C-AEAD-1622-849D1CAB3357}"/>
                      </a:ext>
                    </a:extLst>
                  </p:cNvPr>
                  <p:cNvSpPr/>
                  <p:nvPr/>
                </p:nvSpPr>
                <p:spPr>
                  <a:xfrm>
                    <a:off x="8991514" y="3614678"/>
                    <a:ext cx="47364" cy="35230"/>
                  </a:xfrm>
                  <a:custGeom>
                    <a:avLst/>
                    <a:gdLst>
                      <a:gd name="connsiteX0" fmla="*/ 47788 w 47364"/>
                      <a:gd name="connsiteY0" fmla="*/ 17785 h 35230"/>
                      <a:gd name="connsiteX1" fmla="*/ 24105 w 47364"/>
                      <a:gd name="connsiteY1" fmla="*/ 35401 h 35230"/>
                      <a:gd name="connsiteX2" fmla="*/ 423 w 47364"/>
                      <a:gd name="connsiteY2" fmla="*/ 17785 h 35230"/>
                      <a:gd name="connsiteX3" fmla="*/ 24105 w 47364"/>
                      <a:gd name="connsiteY3" fmla="*/ 170 h 35230"/>
                      <a:gd name="connsiteX4" fmla="*/ 47788 w 47364"/>
                      <a:gd name="connsiteY4" fmla="*/ 17785 h 35230"/>
                      <a:gd name="connsiteX5" fmla="*/ 47788 w 47364"/>
                      <a:gd name="connsiteY5" fmla="*/ 1778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88" y="17785"/>
                        </a:moveTo>
                        <a:cubicBezTo>
                          <a:pt x="47788" y="27558"/>
                          <a:pt x="37244" y="35401"/>
                          <a:pt x="24105" y="35401"/>
                        </a:cubicBezTo>
                        <a:cubicBezTo>
                          <a:pt x="10967" y="35401"/>
                          <a:pt x="423" y="27558"/>
                          <a:pt x="423" y="17785"/>
                        </a:cubicBezTo>
                        <a:cubicBezTo>
                          <a:pt x="423" y="8012"/>
                          <a:pt x="10967" y="170"/>
                          <a:pt x="24105" y="170"/>
                        </a:cubicBezTo>
                        <a:cubicBezTo>
                          <a:pt x="37244" y="170"/>
                          <a:pt x="47788" y="8012"/>
                          <a:pt x="47788" y="17785"/>
                        </a:cubicBezTo>
                        <a:lnTo>
                          <a:pt x="47788" y="1778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6" name="Freeform: Shape 85">
                    <a:extLst>
                      <a:ext uri="{FF2B5EF4-FFF2-40B4-BE49-F238E27FC236}">
                        <a16:creationId xmlns:a16="http://schemas.microsoft.com/office/drawing/2014/main" id="{FF90A289-BE65-9E65-1288-3BFF275AE87B}"/>
                      </a:ext>
                    </a:extLst>
                  </p:cNvPr>
                  <p:cNvSpPr/>
                  <p:nvPr/>
                </p:nvSpPr>
                <p:spPr>
                  <a:xfrm>
                    <a:off x="9023956" y="3614678"/>
                    <a:ext cx="47364" cy="35230"/>
                  </a:xfrm>
                  <a:custGeom>
                    <a:avLst/>
                    <a:gdLst>
                      <a:gd name="connsiteX0" fmla="*/ 47790 w 47364"/>
                      <a:gd name="connsiteY0" fmla="*/ 17785 h 35230"/>
                      <a:gd name="connsiteX1" fmla="*/ 24107 w 47364"/>
                      <a:gd name="connsiteY1" fmla="*/ 35401 h 35230"/>
                      <a:gd name="connsiteX2" fmla="*/ 425 w 47364"/>
                      <a:gd name="connsiteY2" fmla="*/ 17785 h 35230"/>
                      <a:gd name="connsiteX3" fmla="*/ 24107 w 47364"/>
                      <a:gd name="connsiteY3" fmla="*/ 170 h 35230"/>
                      <a:gd name="connsiteX4" fmla="*/ 47790 w 47364"/>
                      <a:gd name="connsiteY4" fmla="*/ 17785 h 35230"/>
                      <a:gd name="connsiteX5" fmla="*/ 47790 w 47364"/>
                      <a:gd name="connsiteY5" fmla="*/ 1778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90" y="17785"/>
                        </a:moveTo>
                        <a:cubicBezTo>
                          <a:pt x="47790" y="27558"/>
                          <a:pt x="37246" y="35401"/>
                          <a:pt x="24107" y="35401"/>
                        </a:cubicBezTo>
                        <a:cubicBezTo>
                          <a:pt x="10969" y="35401"/>
                          <a:pt x="425" y="27558"/>
                          <a:pt x="425" y="17785"/>
                        </a:cubicBezTo>
                        <a:cubicBezTo>
                          <a:pt x="425" y="8012"/>
                          <a:pt x="10969" y="170"/>
                          <a:pt x="24107" y="170"/>
                        </a:cubicBezTo>
                        <a:cubicBezTo>
                          <a:pt x="37246" y="170"/>
                          <a:pt x="47790" y="8012"/>
                          <a:pt x="47790" y="17785"/>
                        </a:cubicBezTo>
                        <a:lnTo>
                          <a:pt x="47790" y="1778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7" name="Freeform: Shape 86">
                    <a:extLst>
                      <a:ext uri="{FF2B5EF4-FFF2-40B4-BE49-F238E27FC236}">
                        <a16:creationId xmlns:a16="http://schemas.microsoft.com/office/drawing/2014/main" id="{64040E29-DBF7-FF0B-BE2F-913FFD1F3962}"/>
                      </a:ext>
                    </a:extLst>
                  </p:cNvPr>
                  <p:cNvSpPr/>
                  <p:nvPr/>
                </p:nvSpPr>
                <p:spPr>
                  <a:xfrm>
                    <a:off x="9056398" y="3614678"/>
                    <a:ext cx="47364" cy="35230"/>
                  </a:xfrm>
                  <a:custGeom>
                    <a:avLst/>
                    <a:gdLst>
                      <a:gd name="connsiteX0" fmla="*/ 47792 w 47364"/>
                      <a:gd name="connsiteY0" fmla="*/ 17785 h 35230"/>
                      <a:gd name="connsiteX1" fmla="*/ 24109 w 47364"/>
                      <a:gd name="connsiteY1" fmla="*/ 35401 h 35230"/>
                      <a:gd name="connsiteX2" fmla="*/ 427 w 47364"/>
                      <a:gd name="connsiteY2" fmla="*/ 17785 h 35230"/>
                      <a:gd name="connsiteX3" fmla="*/ 24109 w 47364"/>
                      <a:gd name="connsiteY3" fmla="*/ 170 h 35230"/>
                      <a:gd name="connsiteX4" fmla="*/ 47792 w 47364"/>
                      <a:gd name="connsiteY4" fmla="*/ 17785 h 35230"/>
                      <a:gd name="connsiteX5" fmla="*/ 47792 w 47364"/>
                      <a:gd name="connsiteY5" fmla="*/ 1778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92" y="17785"/>
                        </a:moveTo>
                        <a:cubicBezTo>
                          <a:pt x="47792" y="27558"/>
                          <a:pt x="37248" y="35401"/>
                          <a:pt x="24109" y="35401"/>
                        </a:cubicBezTo>
                        <a:cubicBezTo>
                          <a:pt x="10971" y="35401"/>
                          <a:pt x="427" y="27558"/>
                          <a:pt x="427" y="17785"/>
                        </a:cubicBezTo>
                        <a:cubicBezTo>
                          <a:pt x="427" y="8012"/>
                          <a:pt x="10971" y="170"/>
                          <a:pt x="24109" y="170"/>
                        </a:cubicBezTo>
                        <a:cubicBezTo>
                          <a:pt x="37248" y="170"/>
                          <a:pt x="47792" y="8012"/>
                          <a:pt x="47792" y="17785"/>
                        </a:cubicBezTo>
                        <a:lnTo>
                          <a:pt x="47792" y="1778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8" name="Freeform: Shape 87">
                    <a:extLst>
                      <a:ext uri="{FF2B5EF4-FFF2-40B4-BE49-F238E27FC236}">
                        <a16:creationId xmlns:a16="http://schemas.microsoft.com/office/drawing/2014/main" id="{7E4C52FA-17A9-6DEF-CB2F-95AFECF8D8E1}"/>
                      </a:ext>
                    </a:extLst>
                  </p:cNvPr>
                  <p:cNvSpPr/>
                  <p:nvPr/>
                </p:nvSpPr>
                <p:spPr>
                  <a:xfrm>
                    <a:off x="9088839" y="3614678"/>
                    <a:ext cx="47364" cy="35230"/>
                  </a:xfrm>
                  <a:custGeom>
                    <a:avLst/>
                    <a:gdLst>
                      <a:gd name="connsiteX0" fmla="*/ 47794 w 47364"/>
                      <a:gd name="connsiteY0" fmla="*/ 17785 h 35230"/>
                      <a:gd name="connsiteX1" fmla="*/ 24111 w 47364"/>
                      <a:gd name="connsiteY1" fmla="*/ 35401 h 35230"/>
                      <a:gd name="connsiteX2" fmla="*/ 429 w 47364"/>
                      <a:gd name="connsiteY2" fmla="*/ 17785 h 35230"/>
                      <a:gd name="connsiteX3" fmla="*/ 24111 w 47364"/>
                      <a:gd name="connsiteY3" fmla="*/ 170 h 35230"/>
                      <a:gd name="connsiteX4" fmla="*/ 47794 w 47364"/>
                      <a:gd name="connsiteY4" fmla="*/ 17785 h 35230"/>
                      <a:gd name="connsiteX5" fmla="*/ 47794 w 47364"/>
                      <a:gd name="connsiteY5" fmla="*/ 1778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94" y="17785"/>
                        </a:moveTo>
                        <a:cubicBezTo>
                          <a:pt x="47794" y="27558"/>
                          <a:pt x="37250" y="35401"/>
                          <a:pt x="24111" y="35401"/>
                        </a:cubicBezTo>
                        <a:cubicBezTo>
                          <a:pt x="10973" y="35401"/>
                          <a:pt x="429" y="27558"/>
                          <a:pt x="429" y="17785"/>
                        </a:cubicBezTo>
                        <a:cubicBezTo>
                          <a:pt x="429" y="8012"/>
                          <a:pt x="10973" y="170"/>
                          <a:pt x="24111" y="170"/>
                        </a:cubicBezTo>
                        <a:cubicBezTo>
                          <a:pt x="37250" y="170"/>
                          <a:pt x="47794" y="8012"/>
                          <a:pt x="47794" y="17785"/>
                        </a:cubicBezTo>
                        <a:lnTo>
                          <a:pt x="47794" y="1778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9" name="Freeform: Shape 88">
                    <a:extLst>
                      <a:ext uri="{FF2B5EF4-FFF2-40B4-BE49-F238E27FC236}">
                        <a16:creationId xmlns:a16="http://schemas.microsoft.com/office/drawing/2014/main" id="{F5279F52-935E-DA1E-DEC6-7F27AB66D5A4}"/>
                      </a:ext>
                    </a:extLst>
                  </p:cNvPr>
                  <p:cNvSpPr/>
                  <p:nvPr/>
                </p:nvSpPr>
                <p:spPr>
                  <a:xfrm>
                    <a:off x="9121281" y="3614678"/>
                    <a:ext cx="47364" cy="35230"/>
                  </a:xfrm>
                  <a:custGeom>
                    <a:avLst/>
                    <a:gdLst>
                      <a:gd name="connsiteX0" fmla="*/ 47796 w 47364"/>
                      <a:gd name="connsiteY0" fmla="*/ 17785 h 35230"/>
                      <a:gd name="connsiteX1" fmla="*/ 24113 w 47364"/>
                      <a:gd name="connsiteY1" fmla="*/ 35401 h 35230"/>
                      <a:gd name="connsiteX2" fmla="*/ 431 w 47364"/>
                      <a:gd name="connsiteY2" fmla="*/ 17785 h 35230"/>
                      <a:gd name="connsiteX3" fmla="*/ 24113 w 47364"/>
                      <a:gd name="connsiteY3" fmla="*/ 170 h 35230"/>
                      <a:gd name="connsiteX4" fmla="*/ 47796 w 47364"/>
                      <a:gd name="connsiteY4" fmla="*/ 17785 h 35230"/>
                      <a:gd name="connsiteX5" fmla="*/ 47796 w 47364"/>
                      <a:gd name="connsiteY5" fmla="*/ 1778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96" y="17785"/>
                        </a:moveTo>
                        <a:cubicBezTo>
                          <a:pt x="47796" y="27558"/>
                          <a:pt x="37252" y="35401"/>
                          <a:pt x="24113" y="35401"/>
                        </a:cubicBezTo>
                        <a:cubicBezTo>
                          <a:pt x="10975" y="35401"/>
                          <a:pt x="431" y="27558"/>
                          <a:pt x="431" y="17785"/>
                        </a:cubicBezTo>
                        <a:cubicBezTo>
                          <a:pt x="431" y="8012"/>
                          <a:pt x="10975" y="170"/>
                          <a:pt x="24113" y="170"/>
                        </a:cubicBezTo>
                        <a:cubicBezTo>
                          <a:pt x="37252" y="170"/>
                          <a:pt x="47796" y="8012"/>
                          <a:pt x="47796" y="17785"/>
                        </a:cubicBezTo>
                        <a:lnTo>
                          <a:pt x="47796" y="1778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0" name="Freeform: Shape 89">
                    <a:extLst>
                      <a:ext uri="{FF2B5EF4-FFF2-40B4-BE49-F238E27FC236}">
                        <a16:creationId xmlns:a16="http://schemas.microsoft.com/office/drawing/2014/main" id="{A0EF6D9F-4EF9-7129-9375-9B3B6F62E567}"/>
                      </a:ext>
                    </a:extLst>
                  </p:cNvPr>
                  <p:cNvSpPr/>
                  <p:nvPr/>
                </p:nvSpPr>
                <p:spPr>
                  <a:xfrm>
                    <a:off x="9153723" y="3614678"/>
                    <a:ext cx="47364" cy="35230"/>
                  </a:xfrm>
                  <a:custGeom>
                    <a:avLst/>
                    <a:gdLst>
                      <a:gd name="connsiteX0" fmla="*/ 47798 w 47364"/>
                      <a:gd name="connsiteY0" fmla="*/ 17785 h 35230"/>
                      <a:gd name="connsiteX1" fmla="*/ 24115 w 47364"/>
                      <a:gd name="connsiteY1" fmla="*/ 35401 h 35230"/>
                      <a:gd name="connsiteX2" fmla="*/ 433 w 47364"/>
                      <a:gd name="connsiteY2" fmla="*/ 17785 h 35230"/>
                      <a:gd name="connsiteX3" fmla="*/ 24115 w 47364"/>
                      <a:gd name="connsiteY3" fmla="*/ 170 h 35230"/>
                      <a:gd name="connsiteX4" fmla="*/ 47798 w 47364"/>
                      <a:gd name="connsiteY4" fmla="*/ 17785 h 35230"/>
                      <a:gd name="connsiteX5" fmla="*/ 47798 w 47364"/>
                      <a:gd name="connsiteY5" fmla="*/ 1778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798" y="17785"/>
                        </a:moveTo>
                        <a:cubicBezTo>
                          <a:pt x="47798" y="27558"/>
                          <a:pt x="37254" y="35401"/>
                          <a:pt x="24115" y="35401"/>
                        </a:cubicBezTo>
                        <a:cubicBezTo>
                          <a:pt x="10977" y="35401"/>
                          <a:pt x="433" y="27558"/>
                          <a:pt x="433" y="17785"/>
                        </a:cubicBezTo>
                        <a:cubicBezTo>
                          <a:pt x="433" y="8012"/>
                          <a:pt x="10977" y="170"/>
                          <a:pt x="24115" y="170"/>
                        </a:cubicBezTo>
                        <a:cubicBezTo>
                          <a:pt x="37254" y="170"/>
                          <a:pt x="47798" y="8012"/>
                          <a:pt x="47798" y="17785"/>
                        </a:cubicBezTo>
                        <a:lnTo>
                          <a:pt x="47798" y="1778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1" name="Freeform: Shape 90">
                    <a:extLst>
                      <a:ext uri="{FF2B5EF4-FFF2-40B4-BE49-F238E27FC236}">
                        <a16:creationId xmlns:a16="http://schemas.microsoft.com/office/drawing/2014/main" id="{645D35D8-3846-6D07-5270-6F73FAE2F5FA}"/>
                      </a:ext>
                    </a:extLst>
                  </p:cNvPr>
                  <p:cNvSpPr/>
                  <p:nvPr/>
                </p:nvSpPr>
                <p:spPr>
                  <a:xfrm>
                    <a:off x="9186164" y="3614678"/>
                    <a:ext cx="47364" cy="35230"/>
                  </a:xfrm>
                  <a:custGeom>
                    <a:avLst/>
                    <a:gdLst>
                      <a:gd name="connsiteX0" fmla="*/ 47800 w 47364"/>
                      <a:gd name="connsiteY0" fmla="*/ 17785 h 35230"/>
                      <a:gd name="connsiteX1" fmla="*/ 24117 w 47364"/>
                      <a:gd name="connsiteY1" fmla="*/ 35401 h 35230"/>
                      <a:gd name="connsiteX2" fmla="*/ 435 w 47364"/>
                      <a:gd name="connsiteY2" fmla="*/ 17785 h 35230"/>
                      <a:gd name="connsiteX3" fmla="*/ 24117 w 47364"/>
                      <a:gd name="connsiteY3" fmla="*/ 170 h 35230"/>
                      <a:gd name="connsiteX4" fmla="*/ 47800 w 47364"/>
                      <a:gd name="connsiteY4" fmla="*/ 17785 h 35230"/>
                      <a:gd name="connsiteX5" fmla="*/ 47800 w 47364"/>
                      <a:gd name="connsiteY5" fmla="*/ 17785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00" y="17785"/>
                        </a:moveTo>
                        <a:cubicBezTo>
                          <a:pt x="47800" y="27558"/>
                          <a:pt x="37256" y="35401"/>
                          <a:pt x="24117" y="35401"/>
                        </a:cubicBezTo>
                        <a:cubicBezTo>
                          <a:pt x="10979" y="35401"/>
                          <a:pt x="435" y="27558"/>
                          <a:pt x="435" y="17785"/>
                        </a:cubicBezTo>
                        <a:cubicBezTo>
                          <a:pt x="435" y="8012"/>
                          <a:pt x="10979" y="170"/>
                          <a:pt x="24117" y="170"/>
                        </a:cubicBezTo>
                        <a:cubicBezTo>
                          <a:pt x="37256" y="170"/>
                          <a:pt x="47800" y="8012"/>
                          <a:pt x="47800" y="17785"/>
                        </a:cubicBezTo>
                        <a:lnTo>
                          <a:pt x="47800" y="17785"/>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grpSp>
            <p:sp>
              <p:nvSpPr>
                <p:cNvPr id="69" name="Freeform: Shape 68">
                  <a:extLst>
                    <a:ext uri="{FF2B5EF4-FFF2-40B4-BE49-F238E27FC236}">
                      <a16:creationId xmlns:a16="http://schemas.microsoft.com/office/drawing/2014/main" id="{B4F22027-441F-F703-9019-AF4BB906A583}"/>
                    </a:ext>
                  </a:extLst>
                </p:cNvPr>
                <p:cNvSpPr/>
                <p:nvPr/>
              </p:nvSpPr>
              <p:spPr>
                <a:xfrm>
                  <a:off x="9295493" y="3770322"/>
                  <a:ext cx="47364" cy="35230"/>
                </a:xfrm>
                <a:custGeom>
                  <a:avLst/>
                  <a:gdLst>
                    <a:gd name="connsiteX0" fmla="*/ 47807 w 47364"/>
                    <a:gd name="connsiteY0" fmla="*/ 17798 h 35230"/>
                    <a:gd name="connsiteX1" fmla="*/ 24124 w 47364"/>
                    <a:gd name="connsiteY1" fmla="*/ 35413 h 35230"/>
                    <a:gd name="connsiteX2" fmla="*/ 442 w 47364"/>
                    <a:gd name="connsiteY2" fmla="*/ 17798 h 35230"/>
                    <a:gd name="connsiteX3" fmla="*/ 24124 w 47364"/>
                    <a:gd name="connsiteY3" fmla="*/ 183 h 35230"/>
                    <a:gd name="connsiteX4" fmla="*/ 47807 w 47364"/>
                    <a:gd name="connsiteY4" fmla="*/ 17798 h 35230"/>
                    <a:gd name="connsiteX5" fmla="*/ 47807 w 47364"/>
                    <a:gd name="connsiteY5" fmla="*/ 1779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07" y="17798"/>
                      </a:moveTo>
                      <a:cubicBezTo>
                        <a:pt x="47807" y="27571"/>
                        <a:pt x="37263" y="35413"/>
                        <a:pt x="24124" y="35413"/>
                      </a:cubicBezTo>
                      <a:cubicBezTo>
                        <a:pt x="10985" y="35413"/>
                        <a:pt x="442" y="27571"/>
                        <a:pt x="442" y="17798"/>
                      </a:cubicBezTo>
                      <a:cubicBezTo>
                        <a:pt x="442" y="8025"/>
                        <a:pt x="10985" y="183"/>
                        <a:pt x="24124" y="183"/>
                      </a:cubicBezTo>
                      <a:cubicBezTo>
                        <a:pt x="37263" y="183"/>
                        <a:pt x="47807" y="8025"/>
                        <a:pt x="47807" y="17798"/>
                      </a:cubicBezTo>
                      <a:lnTo>
                        <a:pt x="47807" y="17798"/>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0" name="Freeform: Shape 69">
                  <a:extLst>
                    <a:ext uri="{FF2B5EF4-FFF2-40B4-BE49-F238E27FC236}">
                      <a16:creationId xmlns:a16="http://schemas.microsoft.com/office/drawing/2014/main" id="{CF66D676-14B1-1801-51B8-9A305171F051}"/>
                    </a:ext>
                  </a:extLst>
                </p:cNvPr>
                <p:cNvSpPr/>
                <p:nvPr/>
              </p:nvSpPr>
              <p:spPr>
                <a:xfrm>
                  <a:off x="9344156" y="3770322"/>
                  <a:ext cx="47364" cy="35230"/>
                </a:xfrm>
                <a:custGeom>
                  <a:avLst/>
                  <a:gdLst>
                    <a:gd name="connsiteX0" fmla="*/ 47810 w 47364"/>
                    <a:gd name="connsiteY0" fmla="*/ 17798 h 35230"/>
                    <a:gd name="connsiteX1" fmla="*/ 24127 w 47364"/>
                    <a:gd name="connsiteY1" fmla="*/ 35413 h 35230"/>
                    <a:gd name="connsiteX2" fmla="*/ 445 w 47364"/>
                    <a:gd name="connsiteY2" fmla="*/ 17798 h 35230"/>
                    <a:gd name="connsiteX3" fmla="*/ 24127 w 47364"/>
                    <a:gd name="connsiteY3" fmla="*/ 183 h 35230"/>
                    <a:gd name="connsiteX4" fmla="*/ 47810 w 47364"/>
                    <a:gd name="connsiteY4" fmla="*/ 17798 h 35230"/>
                    <a:gd name="connsiteX5" fmla="*/ 47810 w 47364"/>
                    <a:gd name="connsiteY5" fmla="*/ 1779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10" y="17798"/>
                      </a:moveTo>
                      <a:cubicBezTo>
                        <a:pt x="47810" y="27571"/>
                        <a:pt x="37266" y="35413"/>
                        <a:pt x="24127" y="35413"/>
                      </a:cubicBezTo>
                      <a:cubicBezTo>
                        <a:pt x="10988" y="35413"/>
                        <a:pt x="445" y="27571"/>
                        <a:pt x="445" y="17798"/>
                      </a:cubicBezTo>
                      <a:cubicBezTo>
                        <a:pt x="445" y="8025"/>
                        <a:pt x="10988" y="183"/>
                        <a:pt x="24127" y="183"/>
                      </a:cubicBezTo>
                      <a:cubicBezTo>
                        <a:pt x="37266" y="183"/>
                        <a:pt x="47810" y="8025"/>
                        <a:pt x="47810" y="17798"/>
                      </a:cubicBezTo>
                      <a:lnTo>
                        <a:pt x="47810" y="17798"/>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1" name="Freeform: Shape 70">
                  <a:extLst>
                    <a:ext uri="{FF2B5EF4-FFF2-40B4-BE49-F238E27FC236}">
                      <a16:creationId xmlns:a16="http://schemas.microsoft.com/office/drawing/2014/main" id="{D1BDFB6B-3CD9-4963-EC29-FBF62D3142CA}"/>
                    </a:ext>
                  </a:extLst>
                </p:cNvPr>
                <p:cNvSpPr/>
                <p:nvPr/>
              </p:nvSpPr>
              <p:spPr>
                <a:xfrm>
                  <a:off x="9392818" y="3770322"/>
                  <a:ext cx="47364" cy="35230"/>
                </a:xfrm>
                <a:custGeom>
                  <a:avLst/>
                  <a:gdLst>
                    <a:gd name="connsiteX0" fmla="*/ 47813 w 47364"/>
                    <a:gd name="connsiteY0" fmla="*/ 17798 h 35230"/>
                    <a:gd name="connsiteX1" fmla="*/ 24130 w 47364"/>
                    <a:gd name="connsiteY1" fmla="*/ 35413 h 35230"/>
                    <a:gd name="connsiteX2" fmla="*/ 448 w 47364"/>
                    <a:gd name="connsiteY2" fmla="*/ 17798 h 35230"/>
                    <a:gd name="connsiteX3" fmla="*/ 24130 w 47364"/>
                    <a:gd name="connsiteY3" fmla="*/ 183 h 35230"/>
                    <a:gd name="connsiteX4" fmla="*/ 47813 w 47364"/>
                    <a:gd name="connsiteY4" fmla="*/ 17798 h 35230"/>
                    <a:gd name="connsiteX5" fmla="*/ 47813 w 47364"/>
                    <a:gd name="connsiteY5" fmla="*/ 1779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13" y="17798"/>
                      </a:moveTo>
                      <a:cubicBezTo>
                        <a:pt x="47813" y="27571"/>
                        <a:pt x="37269" y="35413"/>
                        <a:pt x="24130" y="35413"/>
                      </a:cubicBezTo>
                      <a:cubicBezTo>
                        <a:pt x="10991" y="35413"/>
                        <a:pt x="448" y="27571"/>
                        <a:pt x="448" y="17798"/>
                      </a:cubicBezTo>
                      <a:cubicBezTo>
                        <a:pt x="448" y="8025"/>
                        <a:pt x="10991" y="183"/>
                        <a:pt x="24130" y="183"/>
                      </a:cubicBezTo>
                      <a:cubicBezTo>
                        <a:pt x="37269" y="183"/>
                        <a:pt x="47813" y="8025"/>
                        <a:pt x="47813" y="17798"/>
                      </a:cubicBezTo>
                      <a:lnTo>
                        <a:pt x="47813" y="17798"/>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2" name="Freeform: Shape 71">
                  <a:extLst>
                    <a:ext uri="{FF2B5EF4-FFF2-40B4-BE49-F238E27FC236}">
                      <a16:creationId xmlns:a16="http://schemas.microsoft.com/office/drawing/2014/main" id="{5FE7FCE0-11D3-4621-430B-AD7FEB85789C}"/>
                    </a:ext>
                  </a:extLst>
                </p:cNvPr>
                <p:cNvSpPr/>
                <p:nvPr/>
              </p:nvSpPr>
              <p:spPr>
                <a:xfrm>
                  <a:off x="9441481" y="3770322"/>
                  <a:ext cx="47364" cy="35230"/>
                </a:xfrm>
                <a:custGeom>
                  <a:avLst/>
                  <a:gdLst>
                    <a:gd name="connsiteX0" fmla="*/ 47816 w 47364"/>
                    <a:gd name="connsiteY0" fmla="*/ 17798 h 35230"/>
                    <a:gd name="connsiteX1" fmla="*/ 24133 w 47364"/>
                    <a:gd name="connsiteY1" fmla="*/ 35413 h 35230"/>
                    <a:gd name="connsiteX2" fmla="*/ 451 w 47364"/>
                    <a:gd name="connsiteY2" fmla="*/ 17798 h 35230"/>
                    <a:gd name="connsiteX3" fmla="*/ 24133 w 47364"/>
                    <a:gd name="connsiteY3" fmla="*/ 183 h 35230"/>
                    <a:gd name="connsiteX4" fmla="*/ 47816 w 47364"/>
                    <a:gd name="connsiteY4" fmla="*/ 17798 h 35230"/>
                    <a:gd name="connsiteX5" fmla="*/ 47816 w 47364"/>
                    <a:gd name="connsiteY5" fmla="*/ 1779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16" y="17798"/>
                      </a:moveTo>
                      <a:cubicBezTo>
                        <a:pt x="47816" y="27571"/>
                        <a:pt x="37272" y="35413"/>
                        <a:pt x="24133" y="35413"/>
                      </a:cubicBezTo>
                      <a:cubicBezTo>
                        <a:pt x="10994" y="35413"/>
                        <a:pt x="451" y="27571"/>
                        <a:pt x="451" y="17798"/>
                      </a:cubicBezTo>
                      <a:cubicBezTo>
                        <a:pt x="451" y="8025"/>
                        <a:pt x="10994" y="183"/>
                        <a:pt x="24133" y="183"/>
                      </a:cubicBezTo>
                      <a:cubicBezTo>
                        <a:pt x="37272" y="183"/>
                        <a:pt x="47816" y="8025"/>
                        <a:pt x="47816" y="17798"/>
                      </a:cubicBezTo>
                      <a:lnTo>
                        <a:pt x="47816" y="17798"/>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3" name="Freeform: Shape 72">
                  <a:extLst>
                    <a:ext uri="{FF2B5EF4-FFF2-40B4-BE49-F238E27FC236}">
                      <a16:creationId xmlns:a16="http://schemas.microsoft.com/office/drawing/2014/main" id="{1600024B-30D7-C80B-46A8-337390F6EEB0}"/>
                    </a:ext>
                  </a:extLst>
                </p:cNvPr>
                <p:cNvSpPr/>
                <p:nvPr/>
              </p:nvSpPr>
              <p:spPr>
                <a:xfrm>
                  <a:off x="9490143" y="3770322"/>
                  <a:ext cx="47364" cy="35230"/>
                </a:xfrm>
                <a:custGeom>
                  <a:avLst/>
                  <a:gdLst>
                    <a:gd name="connsiteX0" fmla="*/ 47819 w 47364"/>
                    <a:gd name="connsiteY0" fmla="*/ 17798 h 35230"/>
                    <a:gd name="connsiteX1" fmla="*/ 24136 w 47364"/>
                    <a:gd name="connsiteY1" fmla="*/ 35413 h 35230"/>
                    <a:gd name="connsiteX2" fmla="*/ 454 w 47364"/>
                    <a:gd name="connsiteY2" fmla="*/ 17798 h 35230"/>
                    <a:gd name="connsiteX3" fmla="*/ 24136 w 47364"/>
                    <a:gd name="connsiteY3" fmla="*/ 183 h 35230"/>
                    <a:gd name="connsiteX4" fmla="*/ 47819 w 47364"/>
                    <a:gd name="connsiteY4" fmla="*/ 17798 h 35230"/>
                    <a:gd name="connsiteX5" fmla="*/ 47819 w 47364"/>
                    <a:gd name="connsiteY5" fmla="*/ 1779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19" y="17798"/>
                      </a:moveTo>
                      <a:cubicBezTo>
                        <a:pt x="47819" y="27571"/>
                        <a:pt x="37275" y="35413"/>
                        <a:pt x="24136" y="35413"/>
                      </a:cubicBezTo>
                      <a:cubicBezTo>
                        <a:pt x="10997" y="35413"/>
                        <a:pt x="454" y="27571"/>
                        <a:pt x="454" y="17798"/>
                      </a:cubicBezTo>
                      <a:cubicBezTo>
                        <a:pt x="454" y="8025"/>
                        <a:pt x="10997" y="183"/>
                        <a:pt x="24136" y="183"/>
                      </a:cubicBezTo>
                      <a:cubicBezTo>
                        <a:pt x="37275" y="183"/>
                        <a:pt x="47819" y="8025"/>
                        <a:pt x="47819" y="17798"/>
                      </a:cubicBezTo>
                      <a:lnTo>
                        <a:pt x="47819" y="17798"/>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4" name="Freeform: Shape 73">
                  <a:extLst>
                    <a:ext uri="{FF2B5EF4-FFF2-40B4-BE49-F238E27FC236}">
                      <a16:creationId xmlns:a16="http://schemas.microsoft.com/office/drawing/2014/main" id="{CB6C3292-95EC-37AC-E2E8-D7D0812227F1}"/>
                    </a:ext>
                  </a:extLst>
                </p:cNvPr>
                <p:cNvSpPr/>
                <p:nvPr/>
              </p:nvSpPr>
              <p:spPr>
                <a:xfrm>
                  <a:off x="9538806" y="3770322"/>
                  <a:ext cx="47364" cy="35230"/>
                </a:xfrm>
                <a:custGeom>
                  <a:avLst/>
                  <a:gdLst>
                    <a:gd name="connsiteX0" fmla="*/ 47822 w 47364"/>
                    <a:gd name="connsiteY0" fmla="*/ 17798 h 35230"/>
                    <a:gd name="connsiteX1" fmla="*/ 24139 w 47364"/>
                    <a:gd name="connsiteY1" fmla="*/ 35413 h 35230"/>
                    <a:gd name="connsiteX2" fmla="*/ 457 w 47364"/>
                    <a:gd name="connsiteY2" fmla="*/ 17798 h 35230"/>
                    <a:gd name="connsiteX3" fmla="*/ 24139 w 47364"/>
                    <a:gd name="connsiteY3" fmla="*/ 183 h 35230"/>
                    <a:gd name="connsiteX4" fmla="*/ 47822 w 47364"/>
                    <a:gd name="connsiteY4" fmla="*/ 17798 h 35230"/>
                    <a:gd name="connsiteX5" fmla="*/ 47822 w 47364"/>
                    <a:gd name="connsiteY5" fmla="*/ 1779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822" y="17798"/>
                      </a:moveTo>
                      <a:cubicBezTo>
                        <a:pt x="47822" y="27571"/>
                        <a:pt x="37278" y="35413"/>
                        <a:pt x="24139" y="35413"/>
                      </a:cubicBezTo>
                      <a:cubicBezTo>
                        <a:pt x="11000" y="35413"/>
                        <a:pt x="457" y="27571"/>
                        <a:pt x="457" y="17798"/>
                      </a:cubicBezTo>
                      <a:cubicBezTo>
                        <a:pt x="457" y="8025"/>
                        <a:pt x="11000" y="183"/>
                        <a:pt x="24139" y="183"/>
                      </a:cubicBezTo>
                      <a:cubicBezTo>
                        <a:pt x="37278" y="183"/>
                        <a:pt x="47822" y="8025"/>
                        <a:pt x="47822" y="17798"/>
                      </a:cubicBezTo>
                      <a:lnTo>
                        <a:pt x="47822" y="17798"/>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5" name="Freeform: Shape 74">
                  <a:extLst>
                    <a:ext uri="{FF2B5EF4-FFF2-40B4-BE49-F238E27FC236}">
                      <a16:creationId xmlns:a16="http://schemas.microsoft.com/office/drawing/2014/main" id="{9515B77A-27C2-1C63-F53F-3F752CC5905A}"/>
                    </a:ext>
                  </a:extLst>
                </p:cNvPr>
                <p:cNvSpPr/>
                <p:nvPr/>
              </p:nvSpPr>
              <p:spPr>
                <a:xfrm>
                  <a:off x="2765787" y="1598861"/>
                  <a:ext cx="47364" cy="35230"/>
                </a:xfrm>
                <a:custGeom>
                  <a:avLst/>
                  <a:gdLst>
                    <a:gd name="connsiteX0" fmla="*/ 47404 w 47364"/>
                    <a:gd name="connsiteY0" fmla="*/ 17619 h 35230"/>
                    <a:gd name="connsiteX1" fmla="*/ 23722 w 47364"/>
                    <a:gd name="connsiteY1" fmla="*/ 35235 h 35230"/>
                    <a:gd name="connsiteX2" fmla="*/ 39 w 47364"/>
                    <a:gd name="connsiteY2" fmla="*/ 17619 h 35230"/>
                    <a:gd name="connsiteX3" fmla="*/ 23722 w 47364"/>
                    <a:gd name="connsiteY3" fmla="*/ 4 h 35230"/>
                    <a:gd name="connsiteX4" fmla="*/ 47404 w 47364"/>
                    <a:gd name="connsiteY4" fmla="*/ 17619 h 35230"/>
                    <a:gd name="connsiteX5" fmla="*/ 47404 w 47364"/>
                    <a:gd name="connsiteY5" fmla="*/ 17619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404" y="17619"/>
                      </a:moveTo>
                      <a:cubicBezTo>
                        <a:pt x="47404" y="27392"/>
                        <a:pt x="36861" y="35235"/>
                        <a:pt x="23722" y="35235"/>
                      </a:cubicBezTo>
                      <a:cubicBezTo>
                        <a:pt x="10583" y="35235"/>
                        <a:pt x="39" y="27392"/>
                        <a:pt x="39" y="17619"/>
                      </a:cubicBezTo>
                      <a:cubicBezTo>
                        <a:pt x="39" y="7846"/>
                        <a:pt x="10583" y="4"/>
                        <a:pt x="23722" y="4"/>
                      </a:cubicBezTo>
                      <a:cubicBezTo>
                        <a:pt x="36861" y="4"/>
                        <a:pt x="47404" y="7846"/>
                        <a:pt x="47404" y="17619"/>
                      </a:cubicBezTo>
                      <a:lnTo>
                        <a:pt x="47404" y="17619"/>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6" name="Freeform: Shape 75">
                  <a:extLst>
                    <a:ext uri="{FF2B5EF4-FFF2-40B4-BE49-F238E27FC236}">
                      <a16:creationId xmlns:a16="http://schemas.microsoft.com/office/drawing/2014/main" id="{7DE9275B-3902-12E6-C177-285C98BDCDBD}"/>
                    </a:ext>
                  </a:extLst>
                </p:cNvPr>
                <p:cNvSpPr/>
                <p:nvPr/>
              </p:nvSpPr>
              <p:spPr>
                <a:xfrm>
                  <a:off x="2668462" y="1586795"/>
                  <a:ext cx="47364" cy="35230"/>
                </a:xfrm>
                <a:custGeom>
                  <a:avLst/>
                  <a:gdLst>
                    <a:gd name="connsiteX0" fmla="*/ 47398 w 47364"/>
                    <a:gd name="connsiteY0" fmla="*/ 17618 h 35230"/>
                    <a:gd name="connsiteX1" fmla="*/ 23716 w 47364"/>
                    <a:gd name="connsiteY1" fmla="*/ 35234 h 35230"/>
                    <a:gd name="connsiteX2" fmla="*/ 33 w 47364"/>
                    <a:gd name="connsiteY2" fmla="*/ 17618 h 35230"/>
                    <a:gd name="connsiteX3" fmla="*/ 23716 w 47364"/>
                    <a:gd name="connsiteY3" fmla="*/ 3 h 35230"/>
                    <a:gd name="connsiteX4" fmla="*/ 47398 w 47364"/>
                    <a:gd name="connsiteY4" fmla="*/ 17618 h 35230"/>
                    <a:gd name="connsiteX5" fmla="*/ 47398 w 47364"/>
                    <a:gd name="connsiteY5" fmla="*/ 17618 h 3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4" h="35230">
                      <a:moveTo>
                        <a:pt x="47398" y="17618"/>
                      </a:moveTo>
                      <a:cubicBezTo>
                        <a:pt x="47398" y="27391"/>
                        <a:pt x="36855" y="35234"/>
                        <a:pt x="23716" y="35234"/>
                      </a:cubicBezTo>
                      <a:cubicBezTo>
                        <a:pt x="10577" y="35234"/>
                        <a:pt x="33" y="27391"/>
                        <a:pt x="33" y="17618"/>
                      </a:cubicBezTo>
                      <a:cubicBezTo>
                        <a:pt x="33" y="7845"/>
                        <a:pt x="10577" y="3"/>
                        <a:pt x="23716" y="3"/>
                      </a:cubicBezTo>
                      <a:cubicBezTo>
                        <a:pt x="36855" y="3"/>
                        <a:pt x="47398" y="7845"/>
                        <a:pt x="47398" y="17618"/>
                      </a:cubicBezTo>
                      <a:lnTo>
                        <a:pt x="47398" y="17618"/>
                      </a:lnTo>
                      <a:close/>
                    </a:path>
                  </a:pathLst>
                </a:custGeom>
                <a:grpFill/>
                <a:ln w="16202"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7" name="Freeform: Shape 76">
                  <a:extLst>
                    <a:ext uri="{FF2B5EF4-FFF2-40B4-BE49-F238E27FC236}">
                      <a16:creationId xmlns:a16="http://schemas.microsoft.com/office/drawing/2014/main" id="{4157B433-3527-DB5B-9B99-A387479B6D08}"/>
                    </a:ext>
                  </a:extLst>
                </p:cNvPr>
                <p:cNvSpPr/>
                <p:nvPr/>
              </p:nvSpPr>
              <p:spPr>
                <a:xfrm>
                  <a:off x="2238029" y="1562384"/>
                  <a:ext cx="7336531" cy="2220878"/>
                </a:xfrm>
                <a:custGeom>
                  <a:avLst/>
                  <a:gdLst>
                    <a:gd name="connsiteX0" fmla="*/ 0 w 7336531"/>
                    <a:gd name="connsiteY0" fmla="*/ 0 h 2220878"/>
                    <a:gd name="connsiteX1" fmla="*/ 251910 w 7336531"/>
                    <a:gd name="connsiteY1" fmla="*/ 0 h 2220878"/>
                    <a:gd name="connsiteX2" fmla="*/ 251910 w 7336531"/>
                    <a:gd name="connsiteY2" fmla="*/ 9532 h 2220878"/>
                    <a:gd name="connsiteX3" fmla="*/ 375513 w 7336531"/>
                    <a:gd name="connsiteY3" fmla="*/ 9532 h 2220878"/>
                    <a:gd name="connsiteX4" fmla="*/ 375513 w 7336531"/>
                    <a:gd name="connsiteY4" fmla="*/ 26182 h 2220878"/>
                    <a:gd name="connsiteX5" fmla="*/ 414281 w 7336531"/>
                    <a:gd name="connsiteY5" fmla="*/ 26182 h 2220878"/>
                    <a:gd name="connsiteX6" fmla="*/ 414281 w 7336531"/>
                    <a:gd name="connsiteY6" fmla="*/ 42591 h 2220878"/>
                    <a:gd name="connsiteX7" fmla="*/ 555564 w 7336531"/>
                    <a:gd name="connsiteY7" fmla="*/ 42591 h 2220878"/>
                    <a:gd name="connsiteX8" fmla="*/ 555564 w 7336531"/>
                    <a:gd name="connsiteY8" fmla="*/ 62257 h 2220878"/>
                    <a:gd name="connsiteX9" fmla="*/ 615582 w 7336531"/>
                    <a:gd name="connsiteY9" fmla="*/ 62257 h 2220878"/>
                    <a:gd name="connsiteX10" fmla="*/ 615582 w 7336531"/>
                    <a:gd name="connsiteY10" fmla="*/ 80597 h 2220878"/>
                    <a:gd name="connsiteX11" fmla="*/ 709176 w 7336531"/>
                    <a:gd name="connsiteY11" fmla="*/ 80597 h 2220878"/>
                    <a:gd name="connsiteX12" fmla="*/ 709176 w 7336531"/>
                    <a:gd name="connsiteY12" fmla="*/ 91094 h 2220878"/>
                    <a:gd name="connsiteX13" fmla="*/ 940485 w 7336531"/>
                    <a:gd name="connsiteY13" fmla="*/ 91094 h 2220878"/>
                    <a:gd name="connsiteX14" fmla="*/ 940485 w 7336531"/>
                    <a:gd name="connsiteY14" fmla="*/ 100263 h 2220878"/>
                    <a:gd name="connsiteX15" fmla="*/ 958166 w 7336531"/>
                    <a:gd name="connsiteY15" fmla="*/ 100263 h 2220878"/>
                    <a:gd name="connsiteX16" fmla="*/ 958166 w 7336531"/>
                    <a:gd name="connsiteY16" fmla="*/ 116069 h 2220878"/>
                    <a:gd name="connsiteX17" fmla="*/ 1060520 w 7336531"/>
                    <a:gd name="connsiteY17" fmla="*/ 116069 h 2220878"/>
                    <a:gd name="connsiteX18" fmla="*/ 1060520 w 7336531"/>
                    <a:gd name="connsiteY18" fmla="*/ 147560 h 2220878"/>
                    <a:gd name="connsiteX19" fmla="*/ 1173417 w 7336531"/>
                    <a:gd name="connsiteY19" fmla="*/ 147560 h 2220878"/>
                    <a:gd name="connsiteX20" fmla="*/ 1173417 w 7336531"/>
                    <a:gd name="connsiteY20" fmla="*/ 159384 h 2220878"/>
                    <a:gd name="connsiteX21" fmla="*/ 1267011 w 7336531"/>
                    <a:gd name="connsiteY21" fmla="*/ 159384 h 2220878"/>
                    <a:gd name="connsiteX22" fmla="*/ 1267011 w 7336531"/>
                    <a:gd name="connsiteY22" fmla="*/ 173862 h 2220878"/>
                    <a:gd name="connsiteX23" fmla="*/ 1346493 w 7336531"/>
                    <a:gd name="connsiteY23" fmla="*/ 173862 h 2220878"/>
                    <a:gd name="connsiteX24" fmla="*/ 1346493 w 7336531"/>
                    <a:gd name="connsiteY24" fmla="*/ 193529 h 2220878"/>
                    <a:gd name="connsiteX25" fmla="*/ 1484209 w 7336531"/>
                    <a:gd name="connsiteY25" fmla="*/ 193529 h 2220878"/>
                    <a:gd name="connsiteX26" fmla="*/ 1484209 w 7336531"/>
                    <a:gd name="connsiteY26" fmla="*/ 215850 h 2220878"/>
                    <a:gd name="connsiteX27" fmla="*/ 1579587 w 7336531"/>
                    <a:gd name="connsiteY27" fmla="*/ 215850 h 2220878"/>
                    <a:gd name="connsiteX28" fmla="*/ 1579263 w 7336531"/>
                    <a:gd name="connsiteY28" fmla="*/ 224054 h 2220878"/>
                    <a:gd name="connsiteX29" fmla="*/ 1671073 w 7336531"/>
                    <a:gd name="connsiteY29" fmla="*/ 224054 h 2220878"/>
                    <a:gd name="connsiteX30" fmla="*/ 1671397 w 7336531"/>
                    <a:gd name="connsiteY30" fmla="*/ 251322 h 2220878"/>
                    <a:gd name="connsiteX31" fmla="*/ 1782672 w 7336531"/>
                    <a:gd name="connsiteY31" fmla="*/ 251322 h 2220878"/>
                    <a:gd name="connsiteX32" fmla="*/ 1782672 w 7336531"/>
                    <a:gd name="connsiteY32" fmla="*/ 267128 h 2220878"/>
                    <a:gd name="connsiteX33" fmla="*/ 1833930 w 7336531"/>
                    <a:gd name="connsiteY33" fmla="*/ 267128 h 2220878"/>
                    <a:gd name="connsiteX34" fmla="*/ 1833930 w 7336531"/>
                    <a:gd name="connsiteY34" fmla="*/ 288122 h 2220878"/>
                    <a:gd name="connsiteX35" fmla="*/ 1895732 w 7336531"/>
                    <a:gd name="connsiteY35" fmla="*/ 288122 h 2220878"/>
                    <a:gd name="connsiteX36" fmla="*/ 1895732 w 7336531"/>
                    <a:gd name="connsiteY36" fmla="*/ 334091 h 2220878"/>
                    <a:gd name="connsiteX37" fmla="*/ 1936284 w 7336531"/>
                    <a:gd name="connsiteY37" fmla="*/ 334091 h 2220878"/>
                    <a:gd name="connsiteX38" fmla="*/ 1936284 w 7336531"/>
                    <a:gd name="connsiteY38" fmla="*/ 348569 h 2220878"/>
                    <a:gd name="connsiteX39" fmla="*/ 2013982 w 7336531"/>
                    <a:gd name="connsiteY39" fmla="*/ 348569 h 2220878"/>
                    <a:gd name="connsiteX40" fmla="*/ 2013982 w 7336531"/>
                    <a:gd name="connsiteY40" fmla="*/ 365582 h 2220878"/>
                    <a:gd name="connsiteX41" fmla="*/ 2038637 w 7336531"/>
                    <a:gd name="connsiteY41" fmla="*/ 365582 h 2220878"/>
                    <a:gd name="connsiteX42" fmla="*/ 2038637 w 7336531"/>
                    <a:gd name="connsiteY42" fmla="*/ 381387 h 2220878"/>
                    <a:gd name="connsiteX43" fmla="*/ 2100439 w 7336531"/>
                    <a:gd name="connsiteY43" fmla="*/ 381387 h 2220878"/>
                    <a:gd name="connsiteX44" fmla="*/ 2100439 w 7336531"/>
                    <a:gd name="connsiteY44" fmla="*/ 426029 h 2220878"/>
                    <a:gd name="connsiteX45" fmla="*/ 2183327 w 7336531"/>
                    <a:gd name="connsiteY45" fmla="*/ 426029 h 2220878"/>
                    <a:gd name="connsiteX46" fmla="*/ 2183327 w 7336531"/>
                    <a:gd name="connsiteY46" fmla="*/ 447023 h 2220878"/>
                    <a:gd name="connsiteX47" fmla="*/ 2213336 w 7336531"/>
                    <a:gd name="connsiteY47" fmla="*/ 447023 h 2220878"/>
                    <a:gd name="connsiteX48" fmla="*/ 2213336 w 7336531"/>
                    <a:gd name="connsiteY48" fmla="*/ 491665 h 2220878"/>
                    <a:gd name="connsiteX49" fmla="*/ 2262810 w 7336531"/>
                    <a:gd name="connsiteY49" fmla="*/ 491665 h 2220878"/>
                    <a:gd name="connsiteX50" fmla="*/ 2262810 w 7336531"/>
                    <a:gd name="connsiteY50" fmla="*/ 519295 h 2220878"/>
                    <a:gd name="connsiteX51" fmla="*/ 2326396 w 7336531"/>
                    <a:gd name="connsiteY51" fmla="*/ 519295 h 2220878"/>
                    <a:gd name="connsiteX52" fmla="*/ 2326396 w 7336531"/>
                    <a:gd name="connsiteY52" fmla="*/ 553440 h 2220878"/>
                    <a:gd name="connsiteX53" fmla="*/ 2377654 w 7336531"/>
                    <a:gd name="connsiteY53" fmla="*/ 553440 h 2220878"/>
                    <a:gd name="connsiteX54" fmla="*/ 2377654 w 7336531"/>
                    <a:gd name="connsiteY54" fmla="*/ 588912 h 2220878"/>
                    <a:gd name="connsiteX55" fmla="*/ 2444808 w 7336531"/>
                    <a:gd name="connsiteY55" fmla="*/ 588912 h 2220878"/>
                    <a:gd name="connsiteX56" fmla="*/ 2444808 w 7336531"/>
                    <a:gd name="connsiteY56" fmla="*/ 619076 h 2220878"/>
                    <a:gd name="connsiteX57" fmla="*/ 2473032 w 7336531"/>
                    <a:gd name="connsiteY57" fmla="*/ 619076 h 2220878"/>
                    <a:gd name="connsiteX58" fmla="*/ 2473032 w 7336531"/>
                    <a:gd name="connsiteY58" fmla="*/ 636088 h 2220878"/>
                    <a:gd name="connsiteX59" fmla="*/ 2536618 w 7336531"/>
                    <a:gd name="connsiteY59" fmla="*/ 636088 h 2220878"/>
                    <a:gd name="connsiteX60" fmla="*/ 2536618 w 7336531"/>
                    <a:gd name="connsiteY60" fmla="*/ 663718 h 2220878"/>
                    <a:gd name="connsiteX61" fmla="*/ 2563058 w 7336531"/>
                    <a:gd name="connsiteY61" fmla="*/ 663718 h 2220878"/>
                    <a:gd name="connsiteX62" fmla="*/ 2563058 w 7336531"/>
                    <a:gd name="connsiteY62" fmla="*/ 687366 h 2220878"/>
                    <a:gd name="connsiteX63" fmla="*/ 2598419 w 7336531"/>
                    <a:gd name="connsiteY63" fmla="*/ 687366 h 2220878"/>
                    <a:gd name="connsiteX64" fmla="*/ 2598419 w 7336531"/>
                    <a:gd name="connsiteY64" fmla="*/ 704378 h 2220878"/>
                    <a:gd name="connsiteX65" fmla="*/ 2631996 w 7336531"/>
                    <a:gd name="connsiteY65" fmla="*/ 704378 h 2220878"/>
                    <a:gd name="connsiteX66" fmla="*/ 2631996 w 7336531"/>
                    <a:gd name="connsiteY66" fmla="*/ 721390 h 2220878"/>
                    <a:gd name="connsiteX67" fmla="*/ 2676117 w 7336531"/>
                    <a:gd name="connsiteY67" fmla="*/ 721390 h 2220878"/>
                    <a:gd name="connsiteX68" fmla="*/ 2676117 w 7336531"/>
                    <a:gd name="connsiteY68" fmla="*/ 739730 h 2220878"/>
                    <a:gd name="connsiteX69" fmla="*/ 2743272 w 7336531"/>
                    <a:gd name="connsiteY69" fmla="*/ 739730 h 2220878"/>
                    <a:gd name="connsiteX70" fmla="*/ 2743272 w 7336531"/>
                    <a:gd name="connsiteY70" fmla="*/ 748899 h 2220878"/>
                    <a:gd name="connsiteX71" fmla="*/ 2805073 w 7336531"/>
                    <a:gd name="connsiteY71" fmla="*/ 748899 h 2220878"/>
                    <a:gd name="connsiteX72" fmla="*/ 2805073 w 7336531"/>
                    <a:gd name="connsiteY72" fmla="*/ 756742 h 2220878"/>
                    <a:gd name="connsiteX73" fmla="*/ 2831513 w 7336531"/>
                    <a:gd name="connsiteY73" fmla="*/ 756742 h 2220878"/>
                    <a:gd name="connsiteX74" fmla="*/ 2831513 w 7336531"/>
                    <a:gd name="connsiteY74" fmla="*/ 772547 h 2220878"/>
                    <a:gd name="connsiteX75" fmla="*/ 2882771 w 7336531"/>
                    <a:gd name="connsiteY75" fmla="*/ 772547 h 2220878"/>
                    <a:gd name="connsiteX76" fmla="*/ 2882771 w 7336531"/>
                    <a:gd name="connsiteY76" fmla="*/ 788353 h 2220878"/>
                    <a:gd name="connsiteX77" fmla="*/ 2986909 w 7336531"/>
                    <a:gd name="connsiteY77" fmla="*/ 788353 h 2220878"/>
                    <a:gd name="connsiteX78" fmla="*/ 2986909 w 7336531"/>
                    <a:gd name="connsiteY78" fmla="*/ 800177 h 2220878"/>
                    <a:gd name="connsiteX79" fmla="*/ 3062822 w 7336531"/>
                    <a:gd name="connsiteY79" fmla="*/ 800177 h 2220878"/>
                    <a:gd name="connsiteX80" fmla="*/ 3062822 w 7336531"/>
                    <a:gd name="connsiteY80" fmla="*/ 814656 h 2220878"/>
                    <a:gd name="connsiteX81" fmla="*/ 3121055 w 7336531"/>
                    <a:gd name="connsiteY81" fmla="*/ 814656 h 2220878"/>
                    <a:gd name="connsiteX82" fmla="*/ 3121055 w 7336531"/>
                    <a:gd name="connsiteY82" fmla="*/ 826480 h 2220878"/>
                    <a:gd name="connsiteX83" fmla="*/ 3218218 w 7336531"/>
                    <a:gd name="connsiteY83" fmla="*/ 826480 h 2220878"/>
                    <a:gd name="connsiteX84" fmla="*/ 3218218 w 7336531"/>
                    <a:gd name="connsiteY84" fmla="*/ 834322 h 2220878"/>
                    <a:gd name="connsiteX85" fmla="*/ 3286995 w 7336531"/>
                    <a:gd name="connsiteY85" fmla="*/ 834322 h 2220878"/>
                    <a:gd name="connsiteX86" fmla="*/ 3286995 w 7336531"/>
                    <a:gd name="connsiteY86" fmla="*/ 852662 h 2220878"/>
                    <a:gd name="connsiteX87" fmla="*/ 3309866 w 7336531"/>
                    <a:gd name="connsiteY87" fmla="*/ 852662 h 2220878"/>
                    <a:gd name="connsiteX88" fmla="*/ 3309866 w 7336531"/>
                    <a:gd name="connsiteY88" fmla="*/ 865813 h 2220878"/>
                    <a:gd name="connsiteX89" fmla="*/ 3366315 w 7336531"/>
                    <a:gd name="connsiteY89" fmla="*/ 865813 h 2220878"/>
                    <a:gd name="connsiteX90" fmla="*/ 3366315 w 7336531"/>
                    <a:gd name="connsiteY90" fmla="*/ 898631 h 2220878"/>
                    <a:gd name="connsiteX91" fmla="*/ 3387564 w 7336531"/>
                    <a:gd name="connsiteY91" fmla="*/ 898631 h 2220878"/>
                    <a:gd name="connsiteX92" fmla="*/ 3387564 w 7336531"/>
                    <a:gd name="connsiteY92" fmla="*/ 919625 h 2220878"/>
                    <a:gd name="connsiteX93" fmla="*/ 3422926 w 7336531"/>
                    <a:gd name="connsiteY93" fmla="*/ 919625 h 2220878"/>
                    <a:gd name="connsiteX94" fmla="*/ 3422926 w 7336531"/>
                    <a:gd name="connsiteY94" fmla="*/ 943273 h 2220878"/>
                    <a:gd name="connsiteX95" fmla="*/ 3440606 w 7336531"/>
                    <a:gd name="connsiteY95" fmla="*/ 943273 h 2220878"/>
                    <a:gd name="connsiteX96" fmla="*/ 3440606 w 7336531"/>
                    <a:gd name="connsiteY96" fmla="*/ 960285 h 2220878"/>
                    <a:gd name="connsiteX97" fmla="*/ 3512951 w 7336531"/>
                    <a:gd name="connsiteY97" fmla="*/ 960285 h 2220878"/>
                    <a:gd name="connsiteX98" fmla="*/ 3512951 w 7336531"/>
                    <a:gd name="connsiteY98" fmla="*/ 979952 h 2220878"/>
                    <a:gd name="connsiteX99" fmla="*/ 3542960 w 7336531"/>
                    <a:gd name="connsiteY99" fmla="*/ 979952 h 2220878"/>
                    <a:gd name="connsiteX100" fmla="*/ 3542960 w 7336531"/>
                    <a:gd name="connsiteY100" fmla="*/ 990449 h 2220878"/>
                    <a:gd name="connsiteX101" fmla="*/ 3587081 w 7336531"/>
                    <a:gd name="connsiteY101" fmla="*/ 990449 h 2220878"/>
                    <a:gd name="connsiteX102" fmla="*/ 3587081 w 7336531"/>
                    <a:gd name="connsiteY102" fmla="*/ 1018078 h 2220878"/>
                    <a:gd name="connsiteX103" fmla="*/ 3601193 w 7336531"/>
                    <a:gd name="connsiteY103" fmla="*/ 1018078 h 2220878"/>
                    <a:gd name="connsiteX104" fmla="*/ 3601193 w 7336531"/>
                    <a:gd name="connsiteY104" fmla="*/ 1037745 h 2220878"/>
                    <a:gd name="connsiteX105" fmla="*/ 3613521 w 7336531"/>
                    <a:gd name="connsiteY105" fmla="*/ 1037745 h 2220878"/>
                    <a:gd name="connsiteX106" fmla="*/ 3613521 w 7336531"/>
                    <a:gd name="connsiteY106" fmla="*/ 1060066 h 2220878"/>
                    <a:gd name="connsiteX107" fmla="*/ 3641745 w 7336531"/>
                    <a:gd name="connsiteY107" fmla="*/ 1060066 h 2220878"/>
                    <a:gd name="connsiteX108" fmla="*/ 3641745 w 7336531"/>
                    <a:gd name="connsiteY108" fmla="*/ 1082387 h 2220878"/>
                    <a:gd name="connsiteX109" fmla="*/ 3693003 w 7336531"/>
                    <a:gd name="connsiteY109" fmla="*/ 1082387 h 2220878"/>
                    <a:gd name="connsiteX110" fmla="*/ 3693003 w 7336531"/>
                    <a:gd name="connsiteY110" fmla="*/ 1148023 h 2220878"/>
                    <a:gd name="connsiteX111" fmla="*/ 3728527 w 7336531"/>
                    <a:gd name="connsiteY111" fmla="*/ 1148023 h 2220878"/>
                    <a:gd name="connsiteX112" fmla="*/ 3728527 w 7336531"/>
                    <a:gd name="connsiteY112" fmla="*/ 1189890 h 2220878"/>
                    <a:gd name="connsiteX113" fmla="*/ 3779460 w 7336531"/>
                    <a:gd name="connsiteY113" fmla="*/ 1189890 h 2220878"/>
                    <a:gd name="connsiteX114" fmla="*/ 3779460 w 7336531"/>
                    <a:gd name="connsiteY114" fmla="*/ 1207023 h 2220878"/>
                    <a:gd name="connsiteX115" fmla="*/ 3834287 w 7336531"/>
                    <a:gd name="connsiteY115" fmla="*/ 1207023 h 2220878"/>
                    <a:gd name="connsiteX116" fmla="*/ 3834287 w 7336531"/>
                    <a:gd name="connsiteY116" fmla="*/ 1242495 h 2220878"/>
                    <a:gd name="connsiteX117" fmla="*/ 3915391 w 7336531"/>
                    <a:gd name="connsiteY117" fmla="*/ 1242495 h 2220878"/>
                    <a:gd name="connsiteX118" fmla="*/ 3915391 w 7336531"/>
                    <a:gd name="connsiteY118" fmla="*/ 1275313 h 2220878"/>
                    <a:gd name="connsiteX119" fmla="*/ 4010769 w 7336531"/>
                    <a:gd name="connsiteY119" fmla="*/ 1275313 h 2220878"/>
                    <a:gd name="connsiteX120" fmla="*/ 4010769 w 7336531"/>
                    <a:gd name="connsiteY120" fmla="*/ 1296307 h 2220878"/>
                    <a:gd name="connsiteX121" fmla="*/ 4114907 w 7336531"/>
                    <a:gd name="connsiteY121" fmla="*/ 1296307 h 2220878"/>
                    <a:gd name="connsiteX122" fmla="*/ 4114907 w 7336531"/>
                    <a:gd name="connsiteY122" fmla="*/ 1347584 h 2220878"/>
                    <a:gd name="connsiteX123" fmla="*/ 4204771 w 7336531"/>
                    <a:gd name="connsiteY123" fmla="*/ 1347584 h 2220878"/>
                    <a:gd name="connsiteX124" fmla="*/ 4204771 w 7336531"/>
                    <a:gd name="connsiteY124" fmla="*/ 1380282 h 2220878"/>
                    <a:gd name="connsiteX125" fmla="*/ 4238510 w 7336531"/>
                    <a:gd name="connsiteY125" fmla="*/ 1380282 h 2220878"/>
                    <a:gd name="connsiteX126" fmla="*/ 4238510 w 7336531"/>
                    <a:gd name="connsiteY126" fmla="*/ 1431439 h 2220878"/>
                    <a:gd name="connsiteX127" fmla="*/ 4307287 w 7336531"/>
                    <a:gd name="connsiteY127" fmla="*/ 1431439 h 2220878"/>
                    <a:gd name="connsiteX128" fmla="*/ 4307287 w 7336531"/>
                    <a:gd name="connsiteY128" fmla="*/ 1459069 h 2220878"/>
                    <a:gd name="connsiteX129" fmla="*/ 4328536 w 7336531"/>
                    <a:gd name="connsiteY129" fmla="*/ 1459069 h 2220878"/>
                    <a:gd name="connsiteX130" fmla="*/ 4328536 w 7336531"/>
                    <a:gd name="connsiteY130" fmla="*/ 1474874 h 2220878"/>
                    <a:gd name="connsiteX131" fmla="*/ 4450355 w 7336531"/>
                    <a:gd name="connsiteY131" fmla="*/ 1474874 h 2220878"/>
                    <a:gd name="connsiteX132" fmla="*/ 4449706 w 7336531"/>
                    <a:gd name="connsiteY132" fmla="*/ 1498643 h 2220878"/>
                    <a:gd name="connsiteX133" fmla="*/ 4545085 w 7336531"/>
                    <a:gd name="connsiteY133" fmla="*/ 1498643 h 2220878"/>
                    <a:gd name="connsiteX134" fmla="*/ 4545733 w 7336531"/>
                    <a:gd name="connsiteY134" fmla="*/ 1524825 h 2220878"/>
                    <a:gd name="connsiteX135" fmla="*/ 4592449 w 7336531"/>
                    <a:gd name="connsiteY135" fmla="*/ 1524825 h 2220878"/>
                    <a:gd name="connsiteX136" fmla="*/ 4592449 w 7336531"/>
                    <a:gd name="connsiteY136" fmla="*/ 1558850 h 2220878"/>
                    <a:gd name="connsiteX137" fmla="*/ 4716052 w 7336531"/>
                    <a:gd name="connsiteY137" fmla="*/ 1558850 h 2220878"/>
                    <a:gd name="connsiteX138" fmla="*/ 4716864 w 7336531"/>
                    <a:gd name="connsiteY138" fmla="*/ 1566933 h 2220878"/>
                    <a:gd name="connsiteX139" fmla="*/ 4796346 w 7336531"/>
                    <a:gd name="connsiteY139" fmla="*/ 1566933 h 2220878"/>
                    <a:gd name="connsiteX140" fmla="*/ 4796346 w 7336531"/>
                    <a:gd name="connsiteY140" fmla="*/ 1581412 h 2220878"/>
                    <a:gd name="connsiteX141" fmla="*/ 4831707 w 7336531"/>
                    <a:gd name="connsiteY141" fmla="*/ 1581412 h 2220878"/>
                    <a:gd name="connsiteX142" fmla="*/ 4831707 w 7336531"/>
                    <a:gd name="connsiteY142" fmla="*/ 1615678 h 2220878"/>
                    <a:gd name="connsiteX143" fmla="*/ 4995375 w 7336531"/>
                    <a:gd name="connsiteY143" fmla="*/ 1615678 h 2220878"/>
                    <a:gd name="connsiteX144" fmla="*/ 4995375 w 7336531"/>
                    <a:gd name="connsiteY144" fmla="*/ 1630639 h 2220878"/>
                    <a:gd name="connsiteX145" fmla="*/ 5088484 w 7336531"/>
                    <a:gd name="connsiteY145" fmla="*/ 1630518 h 2220878"/>
                    <a:gd name="connsiteX146" fmla="*/ 5088159 w 7336531"/>
                    <a:gd name="connsiteY146" fmla="*/ 1652115 h 2220878"/>
                    <a:gd name="connsiteX147" fmla="*/ 5172345 w 7336531"/>
                    <a:gd name="connsiteY147" fmla="*/ 1653201 h 2220878"/>
                    <a:gd name="connsiteX148" fmla="*/ 5172345 w 7336531"/>
                    <a:gd name="connsiteY148" fmla="*/ 1678176 h 2220878"/>
                    <a:gd name="connsiteX149" fmla="*/ 5251665 w 7336531"/>
                    <a:gd name="connsiteY149" fmla="*/ 1677090 h 2220878"/>
                    <a:gd name="connsiteX150" fmla="*/ 5252800 w 7336531"/>
                    <a:gd name="connsiteY150" fmla="*/ 1690724 h 2220878"/>
                    <a:gd name="connsiteX151" fmla="*/ 5338771 w 7336531"/>
                    <a:gd name="connsiteY151" fmla="*/ 1690724 h 2220878"/>
                    <a:gd name="connsiteX152" fmla="*/ 5339744 w 7336531"/>
                    <a:gd name="connsiteY152" fmla="*/ 1703152 h 2220878"/>
                    <a:gd name="connsiteX153" fmla="*/ 5430419 w 7336531"/>
                    <a:gd name="connsiteY153" fmla="*/ 1703152 h 2220878"/>
                    <a:gd name="connsiteX154" fmla="*/ 5429122 w 7336531"/>
                    <a:gd name="connsiteY154" fmla="*/ 1717992 h 2220878"/>
                    <a:gd name="connsiteX155" fmla="*/ 5485083 w 7336531"/>
                    <a:gd name="connsiteY155" fmla="*/ 1717992 h 2220878"/>
                    <a:gd name="connsiteX156" fmla="*/ 5482813 w 7336531"/>
                    <a:gd name="connsiteY156" fmla="*/ 1750810 h 2220878"/>
                    <a:gd name="connsiteX157" fmla="*/ 5543478 w 7336531"/>
                    <a:gd name="connsiteY157" fmla="*/ 1749724 h 2220878"/>
                    <a:gd name="connsiteX158" fmla="*/ 5543478 w 7336531"/>
                    <a:gd name="connsiteY158" fmla="*/ 1781215 h 2220878"/>
                    <a:gd name="connsiteX159" fmla="*/ 5578677 w 7336531"/>
                    <a:gd name="connsiteY159" fmla="*/ 1782301 h 2220878"/>
                    <a:gd name="connsiteX160" fmla="*/ 5578677 w 7336531"/>
                    <a:gd name="connsiteY160" fmla="*/ 1800640 h 2220878"/>
                    <a:gd name="connsiteX161" fmla="*/ 5610633 w 7336531"/>
                    <a:gd name="connsiteY161" fmla="*/ 1802933 h 2220878"/>
                    <a:gd name="connsiteX162" fmla="*/ 5610633 w 7336531"/>
                    <a:gd name="connsiteY162" fmla="*/ 1808603 h 2220878"/>
                    <a:gd name="connsiteX163" fmla="*/ 5659457 w 7336531"/>
                    <a:gd name="connsiteY163" fmla="*/ 1809689 h 2220878"/>
                    <a:gd name="connsiteX164" fmla="*/ 5658971 w 7336531"/>
                    <a:gd name="connsiteY164" fmla="*/ 1824530 h 2220878"/>
                    <a:gd name="connsiteX165" fmla="*/ 5738778 w 7336531"/>
                    <a:gd name="connsiteY165" fmla="*/ 1822237 h 2220878"/>
                    <a:gd name="connsiteX166" fmla="*/ 5739264 w 7336531"/>
                    <a:gd name="connsiteY166" fmla="*/ 1830804 h 2220878"/>
                    <a:gd name="connsiteX167" fmla="*/ 5809825 w 7336531"/>
                    <a:gd name="connsiteY167" fmla="*/ 1830804 h 2220878"/>
                    <a:gd name="connsiteX168" fmla="*/ 5809825 w 7336531"/>
                    <a:gd name="connsiteY168" fmla="*/ 1844317 h 2220878"/>
                    <a:gd name="connsiteX169" fmla="*/ 5862705 w 7336531"/>
                    <a:gd name="connsiteY169" fmla="*/ 1844317 h 2220878"/>
                    <a:gd name="connsiteX170" fmla="*/ 5862705 w 7336531"/>
                    <a:gd name="connsiteY170" fmla="*/ 1853125 h 2220878"/>
                    <a:gd name="connsiteX171" fmla="*/ 5915585 w 7336531"/>
                    <a:gd name="connsiteY171" fmla="*/ 1853125 h 2220878"/>
                    <a:gd name="connsiteX172" fmla="*/ 5914936 w 7336531"/>
                    <a:gd name="connsiteY172" fmla="*/ 1859640 h 2220878"/>
                    <a:gd name="connsiteX173" fmla="*/ 6020858 w 7336531"/>
                    <a:gd name="connsiteY173" fmla="*/ 1859640 h 2220878"/>
                    <a:gd name="connsiteX174" fmla="*/ 6019398 w 7336531"/>
                    <a:gd name="connsiteY174" fmla="*/ 1858554 h 2220878"/>
                    <a:gd name="connsiteX175" fmla="*/ 6105855 w 7336531"/>
                    <a:gd name="connsiteY175" fmla="*/ 1858554 h 2220878"/>
                    <a:gd name="connsiteX176" fmla="*/ 6144299 w 7336531"/>
                    <a:gd name="connsiteY176" fmla="*/ 1859640 h 2220878"/>
                    <a:gd name="connsiteX177" fmla="*/ 6146246 w 7336531"/>
                    <a:gd name="connsiteY177" fmla="*/ 1894992 h 2220878"/>
                    <a:gd name="connsiteX178" fmla="*/ 6204803 w 7336531"/>
                    <a:gd name="connsiteY178" fmla="*/ 1893906 h 2220878"/>
                    <a:gd name="connsiteX179" fmla="*/ 6205289 w 7336531"/>
                    <a:gd name="connsiteY179" fmla="*/ 1907419 h 2220878"/>
                    <a:gd name="connsiteX180" fmla="*/ 6238867 w 7336531"/>
                    <a:gd name="connsiteY180" fmla="*/ 1907419 h 2220878"/>
                    <a:gd name="connsiteX181" fmla="*/ 6239353 w 7336531"/>
                    <a:gd name="connsiteY181" fmla="*/ 1918760 h 2220878"/>
                    <a:gd name="connsiteX182" fmla="*/ 6292233 w 7336531"/>
                    <a:gd name="connsiteY182" fmla="*/ 1918760 h 2220878"/>
                    <a:gd name="connsiteX183" fmla="*/ 6291260 w 7336531"/>
                    <a:gd name="connsiteY183" fmla="*/ 1938548 h 2220878"/>
                    <a:gd name="connsiteX184" fmla="*/ 6291260 w 7336531"/>
                    <a:gd name="connsiteY184" fmla="*/ 1964850 h 2220878"/>
                    <a:gd name="connsiteX185" fmla="*/ 6323053 w 7336531"/>
                    <a:gd name="connsiteY185" fmla="*/ 1964850 h 2220878"/>
                    <a:gd name="connsiteX186" fmla="*/ 6323702 w 7336531"/>
                    <a:gd name="connsiteY186" fmla="*/ 1992601 h 2220878"/>
                    <a:gd name="connsiteX187" fmla="*/ 6341058 w 7336531"/>
                    <a:gd name="connsiteY187" fmla="*/ 1992601 h 2220878"/>
                    <a:gd name="connsiteX188" fmla="*/ 6341058 w 7336531"/>
                    <a:gd name="connsiteY188" fmla="*/ 2014198 h 2220878"/>
                    <a:gd name="connsiteX189" fmla="*/ 6372040 w 7336531"/>
                    <a:gd name="connsiteY189" fmla="*/ 2014198 h 2220878"/>
                    <a:gd name="connsiteX190" fmla="*/ 6372040 w 7336531"/>
                    <a:gd name="connsiteY190" fmla="*/ 2036881 h 2220878"/>
                    <a:gd name="connsiteX191" fmla="*/ 6394424 w 7336531"/>
                    <a:gd name="connsiteY191" fmla="*/ 2036881 h 2220878"/>
                    <a:gd name="connsiteX192" fmla="*/ 6394424 w 7336531"/>
                    <a:gd name="connsiteY192" fmla="*/ 2064631 h 2220878"/>
                    <a:gd name="connsiteX193" fmla="*/ 7027363 w 7336531"/>
                    <a:gd name="connsiteY193" fmla="*/ 2064631 h 2220878"/>
                    <a:gd name="connsiteX194" fmla="*/ 7055587 w 7336531"/>
                    <a:gd name="connsiteY194" fmla="*/ 2064631 h 2220878"/>
                    <a:gd name="connsiteX195" fmla="*/ 7055587 w 7336531"/>
                    <a:gd name="connsiteY195" fmla="*/ 2220878 h 2220878"/>
                    <a:gd name="connsiteX196" fmla="*/ 7336532 w 7336531"/>
                    <a:gd name="connsiteY196" fmla="*/ 2220878 h 22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7336531" h="2220878">
                      <a:moveTo>
                        <a:pt x="0" y="0"/>
                      </a:moveTo>
                      <a:lnTo>
                        <a:pt x="251910" y="0"/>
                      </a:lnTo>
                      <a:lnTo>
                        <a:pt x="251910" y="9532"/>
                      </a:lnTo>
                      <a:lnTo>
                        <a:pt x="375513" y="9532"/>
                      </a:lnTo>
                      <a:lnTo>
                        <a:pt x="375513" y="26182"/>
                      </a:lnTo>
                      <a:cubicBezTo>
                        <a:pt x="375513" y="26182"/>
                        <a:pt x="414281" y="26182"/>
                        <a:pt x="414281" y="26182"/>
                      </a:cubicBezTo>
                      <a:lnTo>
                        <a:pt x="414281" y="42591"/>
                      </a:lnTo>
                      <a:lnTo>
                        <a:pt x="555564" y="42591"/>
                      </a:lnTo>
                      <a:lnTo>
                        <a:pt x="555564" y="62257"/>
                      </a:lnTo>
                      <a:lnTo>
                        <a:pt x="615582" y="62257"/>
                      </a:lnTo>
                      <a:lnTo>
                        <a:pt x="615582" y="80597"/>
                      </a:lnTo>
                      <a:lnTo>
                        <a:pt x="709176" y="80597"/>
                      </a:lnTo>
                      <a:lnTo>
                        <a:pt x="709176" y="91094"/>
                      </a:lnTo>
                      <a:lnTo>
                        <a:pt x="940485" y="91094"/>
                      </a:lnTo>
                      <a:lnTo>
                        <a:pt x="940485" y="100263"/>
                      </a:lnTo>
                      <a:lnTo>
                        <a:pt x="958166" y="100263"/>
                      </a:lnTo>
                      <a:lnTo>
                        <a:pt x="958166" y="116069"/>
                      </a:lnTo>
                      <a:lnTo>
                        <a:pt x="1060520" y="116069"/>
                      </a:lnTo>
                      <a:lnTo>
                        <a:pt x="1060520" y="147560"/>
                      </a:lnTo>
                      <a:lnTo>
                        <a:pt x="1173417" y="147560"/>
                      </a:lnTo>
                      <a:lnTo>
                        <a:pt x="1173417" y="159384"/>
                      </a:lnTo>
                      <a:lnTo>
                        <a:pt x="1267011" y="159384"/>
                      </a:lnTo>
                      <a:lnTo>
                        <a:pt x="1267011" y="173862"/>
                      </a:lnTo>
                      <a:lnTo>
                        <a:pt x="1346493" y="173862"/>
                      </a:lnTo>
                      <a:lnTo>
                        <a:pt x="1346493" y="193529"/>
                      </a:lnTo>
                      <a:lnTo>
                        <a:pt x="1484209" y="193529"/>
                      </a:lnTo>
                      <a:lnTo>
                        <a:pt x="1484209" y="215850"/>
                      </a:lnTo>
                      <a:lnTo>
                        <a:pt x="1579587" y="215850"/>
                      </a:lnTo>
                      <a:lnTo>
                        <a:pt x="1579263" y="224054"/>
                      </a:lnTo>
                      <a:lnTo>
                        <a:pt x="1671073" y="224054"/>
                      </a:lnTo>
                      <a:lnTo>
                        <a:pt x="1671397" y="251322"/>
                      </a:lnTo>
                      <a:lnTo>
                        <a:pt x="1782672" y="251322"/>
                      </a:lnTo>
                      <a:lnTo>
                        <a:pt x="1782672" y="267128"/>
                      </a:lnTo>
                      <a:lnTo>
                        <a:pt x="1833930" y="267128"/>
                      </a:lnTo>
                      <a:lnTo>
                        <a:pt x="1833930" y="288122"/>
                      </a:lnTo>
                      <a:lnTo>
                        <a:pt x="1895732" y="288122"/>
                      </a:lnTo>
                      <a:lnTo>
                        <a:pt x="1895732" y="334091"/>
                      </a:lnTo>
                      <a:lnTo>
                        <a:pt x="1936284" y="334091"/>
                      </a:lnTo>
                      <a:lnTo>
                        <a:pt x="1936284" y="348569"/>
                      </a:lnTo>
                      <a:lnTo>
                        <a:pt x="2013982" y="348569"/>
                      </a:lnTo>
                      <a:lnTo>
                        <a:pt x="2013982" y="365582"/>
                      </a:lnTo>
                      <a:lnTo>
                        <a:pt x="2038637" y="365582"/>
                      </a:lnTo>
                      <a:lnTo>
                        <a:pt x="2038637" y="381387"/>
                      </a:lnTo>
                      <a:lnTo>
                        <a:pt x="2100439" y="381387"/>
                      </a:lnTo>
                      <a:lnTo>
                        <a:pt x="2100439" y="426029"/>
                      </a:lnTo>
                      <a:lnTo>
                        <a:pt x="2183327" y="426029"/>
                      </a:lnTo>
                      <a:lnTo>
                        <a:pt x="2183327" y="447023"/>
                      </a:lnTo>
                      <a:lnTo>
                        <a:pt x="2213336" y="447023"/>
                      </a:lnTo>
                      <a:lnTo>
                        <a:pt x="2213336" y="491665"/>
                      </a:lnTo>
                      <a:lnTo>
                        <a:pt x="2262810" y="491665"/>
                      </a:lnTo>
                      <a:lnTo>
                        <a:pt x="2262810" y="519295"/>
                      </a:lnTo>
                      <a:lnTo>
                        <a:pt x="2326396" y="519295"/>
                      </a:lnTo>
                      <a:lnTo>
                        <a:pt x="2326396" y="553440"/>
                      </a:lnTo>
                      <a:lnTo>
                        <a:pt x="2377654" y="553440"/>
                      </a:lnTo>
                      <a:lnTo>
                        <a:pt x="2377654" y="588912"/>
                      </a:lnTo>
                      <a:lnTo>
                        <a:pt x="2444808" y="588912"/>
                      </a:lnTo>
                      <a:lnTo>
                        <a:pt x="2444808" y="619076"/>
                      </a:lnTo>
                      <a:lnTo>
                        <a:pt x="2473032" y="619076"/>
                      </a:lnTo>
                      <a:lnTo>
                        <a:pt x="2473032" y="636088"/>
                      </a:lnTo>
                      <a:lnTo>
                        <a:pt x="2536618" y="636088"/>
                      </a:lnTo>
                      <a:lnTo>
                        <a:pt x="2536618" y="663718"/>
                      </a:lnTo>
                      <a:lnTo>
                        <a:pt x="2563058" y="663718"/>
                      </a:lnTo>
                      <a:lnTo>
                        <a:pt x="2563058" y="687366"/>
                      </a:lnTo>
                      <a:lnTo>
                        <a:pt x="2598419" y="687366"/>
                      </a:lnTo>
                      <a:lnTo>
                        <a:pt x="2598419" y="704378"/>
                      </a:lnTo>
                      <a:lnTo>
                        <a:pt x="2631996" y="704378"/>
                      </a:lnTo>
                      <a:lnTo>
                        <a:pt x="2631996" y="721390"/>
                      </a:lnTo>
                      <a:lnTo>
                        <a:pt x="2676117" y="721390"/>
                      </a:lnTo>
                      <a:lnTo>
                        <a:pt x="2676117" y="739730"/>
                      </a:lnTo>
                      <a:lnTo>
                        <a:pt x="2743272" y="739730"/>
                      </a:lnTo>
                      <a:lnTo>
                        <a:pt x="2743272" y="748899"/>
                      </a:lnTo>
                      <a:lnTo>
                        <a:pt x="2805073" y="748899"/>
                      </a:lnTo>
                      <a:lnTo>
                        <a:pt x="2805073" y="756742"/>
                      </a:lnTo>
                      <a:lnTo>
                        <a:pt x="2831513" y="756742"/>
                      </a:lnTo>
                      <a:lnTo>
                        <a:pt x="2831513" y="772547"/>
                      </a:lnTo>
                      <a:lnTo>
                        <a:pt x="2882771" y="772547"/>
                      </a:lnTo>
                      <a:lnTo>
                        <a:pt x="2882771" y="788353"/>
                      </a:lnTo>
                      <a:lnTo>
                        <a:pt x="2986909" y="788353"/>
                      </a:lnTo>
                      <a:lnTo>
                        <a:pt x="2986909" y="800177"/>
                      </a:lnTo>
                      <a:lnTo>
                        <a:pt x="3062822" y="800177"/>
                      </a:lnTo>
                      <a:lnTo>
                        <a:pt x="3062822" y="814656"/>
                      </a:lnTo>
                      <a:lnTo>
                        <a:pt x="3121055" y="814656"/>
                      </a:lnTo>
                      <a:lnTo>
                        <a:pt x="3121055" y="826480"/>
                      </a:lnTo>
                      <a:lnTo>
                        <a:pt x="3218218" y="826480"/>
                      </a:lnTo>
                      <a:lnTo>
                        <a:pt x="3218218" y="834322"/>
                      </a:lnTo>
                      <a:lnTo>
                        <a:pt x="3286995" y="834322"/>
                      </a:lnTo>
                      <a:lnTo>
                        <a:pt x="3286995" y="852662"/>
                      </a:lnTo>
                      <a:lnTo>
                        <a:pt x="3309866" y="852662"/>
                      </a:lnTo>
                      <a:lnTo>
                        <a:pt x="3309866" y="865813"/>
                      </a:lnTo>
                      <a:lnTo>
                        <a:pt x="3366315" y="865813"/>
                      </a:lnTo>
                      <a:lnTo>
                        <a:pt x="3366315" y="898631"/>
                      </a:lnTo>
                      <a:lnTo>
                        <a:pt x="3387564" y="898631"/>
                      </a:lnTo>
                      <a:lnTo>
                        <a:pt x="3387564" y="919625"/>
                      </a:lnTo>
                      <a:lnTo>
                        <a:pt x="3422926" y="919625"/>
                      </a:lnTo>
                      <a:lnTo>
                        <a:pt x="3422926" y="943273"/>
                      </a:lnTo>
                      <a:lnTo>
                        <a:pt x="3440606" y="943273"/>
                      </a:lnTo>
                      <a:lnTo>
                        <a:pt x="3440606" y="960285"/>
                      </a:lnTo>
                      <a:lnTo>
                        <a:pt x="3512951" y="960285"/>
                      </a:lnTo>
                      <a:lnTo>
                        <a:pt x="3512951" y="979952"/>
                      </a:lnTo>
                      <a:lnTo>
                        <a:pt x="3542960" y="979952"/>
                      </a:lnTo>
                      <a:lnTo>
                        <a:pt x="3542960" y="990449"/>
                      </a:lnTo>
                      <a:lnTo>
                        <a:pt x="3587081" y="990449"/>
                      </a:lnTo>
                      <a:lnTo>
                        <a:pt x="3587081" y="1018078"/>
                      </a:lnTo>
                      <a:lnTo>
                        <a:pt x="3601193" y="1018078"/>
                      </a:lnTo>
                      <a:lnTo>
                        <a:pt x="3601193" y="1037745"/>
                      </a:lnTo>
                      <a:lnTo>
                        <a:pt x="3613521" y="1037745"/>
                      </a:lnTo>
                      <a:lnTo>
                        <a:pt x="3613521" y="1060066"/>
                      </a:lnTo>
                      <a:lnTo>
                        <a:pt x="3641745" y="1060066"/>
                      </a:lnTo>
                      <a:lnTo>
                        <a:pt x="3641745" y="1082387"/>
                      </a:lnTo>
                      <a:lnTo>
                        <a:pt x="3693003" y="1082387"/>
                      </a:lnTo>
                      <a:lnTo>
                        <a:pt x="3693003" y="1148023"/>
                      </a:lnTo>
                      <a:lnTo>
                        <a:pt x="3728527" y="1148023"/>
                      </a:lnTo>
                      <a:cubicBezTo>
                        <a:pt x="3728527" y="1148023"/>
                        <a:pt x="3728527" y="1189890"/>
                        <a:pt x="3728527" y="1189890"/>
                      </a:cubicBezTo>
                      <a:lnTo>
                        <a:pt x="3779460" y="1189890"/>
                      </a:lnTo>
                      <a:lnTo>
                        <a:pt x="3779460" y="1207023"/>
                      </a:lnTo>
                      <a:lnTo>
                        <a:pt x="3834287" y="1207023"/>
                      </a:lnTo>
                      <a:lnTo>
                        <a:pt x="3834287" y="1242495"/>
                      </a:lnTo>
                      <a:lnTo>
                        <a:pt x="3915391" y="1242495"/>
                      </a:lnTo>
                      <a:lnTo>
                        <a:pt x="3915391" y="1275313"/>
                      </a:lnTo>
                      <a:lnTo>
                        <a:pt x="4010769" y="1275313"/>
                      </a:lnTo>
                      <a:lnTo>
                        <a:pt x="4010769" y="1296307"/>
                      </a:lnTo>
                      <a:lnTo>
                        <a:pt x="4114907" y="1296307"/>
                      </a:lnTo>
                      <a:lnTo>
                        <a:pt x="4114907" y="1347584"/>
                      </a:lnTo>
                      <a:cubicBezTo>
                        <a:pt x="4114907" y="1347584"/>
                        <a:pt x="4204771" y="1347584"/>
                        <a:pt x="4204771" y="1347584"/>
                      </a:cubicBezTo>
                      <a:lnTo>
                        <a:pt x="4204771" y="1380282"/>
                      </a:lnTo>
                      <a:lnTo>
                        <a:pt x="4238510" y="1380282"/>
                      </a:lnTo>
                      <a:lnTo>
                        <a:pt x="4238510" y="1431439"/>
                      </a:lnTo>
                      <a:lnTo>
                        <a:pt x="4307287" y="1431439"/>
                      </a:lnTo>
                      <a:lnTo>
                        <a:pt x="4307287" y="1459069"/>
                      </a:lnTo>
                      <a:lnTo>
                        <a:pt x="4328536" y="1459069"/>
                      </a:lnTo>
                      <a:lnTo>
                        <a:pt x="4328536" y="1474874"/>
                      </a:lnTo>
                      <a:lnTo>
                        <a:pt x="4450355" y="1474874"/>
                      </a:lnTo>
                      <a:lnTo>
                        <a:pt x="4449706" y="1498643"/>
                      </a:lnTo>
                      <a:lnTo>
                        <a:pt x="4545085" y="1498643"/>
                      </a:lnTo>
                      <a:lnTo>
                        <a:pt x="4545733" y="1524825"/>
                      </a:lnTo>
                      <a:lnTo>
                        <a:pt x="4592449" y="1524825"/>
                      </a:lnTo>
                      <a:lnTo>
                        <a:pt x="4592449" y="1558850"/>
                      </a:lnTo>
                      <a:lnTo>
                        <a:pt x="4716052" y="1558850"/>
                      </a:lnTo>
                      <a:lnTo>
                        <a:pt x="4716864" y="1566933"/>
                      </a:lnTo>
                      <a:lnTo>
                        <a:pt x="4796346" y="1566933"/>
                      </a:lnTo>
                      <a:lnTo>
                        <a:pt x="4796346" y="1581412"/>
                      </a:lnTo>
                      <a:lnTo>
                        <a:pt x="4831707" y="1581412"/>
                      </a:lnTo>
                      <a:lnTo>
                        <a:pt x="4831707" y="1615678"/>
                      </a:lnTo>
                      <a:lnTo>
                        <a:pt x="4995375" y="1615678"/>
                      </a:lnTo>
                      <a:lnTo>
                        <a:pt x="4995375" y="1630639"/>
                      </a:lnTo>
                      <a:cubicBezTo>
                        <a:pt x="4995375" y="1630639"/>
                        <a:pt x="5088484" y="1630518"/>
                        <a:pt x="5088484" y="1630518"/>
                      </a:cubicBezTo>
                      <a:lnTo>
                        <a:pt x="5088159" y="1652115"/>
                      </a:lnTo>
                      <a:lnTo>
                        <a:pt x="5172345" y="1653201"/>
                      </a:lnTo>
                      <a:lnTo>
                        <a:pt x="5172345" y="1678176"/>
                      </a:lnTo>
                      <a:cubicBezTo>
                        <a:pt x="5172345" y="1678176"/>
                        <a:pt x="5251665" y="1677090"/>
                        <a:pt x="5251665" y="1677090"/>
                      </a:cubicBezTo>
                      <a:lnTo>
                        <a:pt x="5252800" y="1690724"/>
                      </a:lnTo>
                      <a:lnTo>
                        <a:pt x="5338771" y="1690724"/>
                      </a:lnTo>
                      <a:lnTo>
                        <a:pt x="5339744" y="1703152"/>
                      </a:lnTo>
                      <a:lnTo>
                        <a:pt x="5430419" y="1703152"/>
                      </a:lnTo>
                      <a:lnTo>
                        <a:pt x="5429122" y="1717992"/>
                      </a:lnTo>
                      <a:lnTo>
                        <a:pt x="5485083" y="1717992"/>
                      </a:lnTo>
                      <a:lnTo>
                        <a:pt x="5482813" y="1750810"/>
                      </a:lnTo>
                      <a:lnTo>
                        <a:pt x="5543478" y="1749724"/>
                      </a:lnTo>
                      <a:lnTo>
                        <a:pt x="5543478" y="1781215"/>
                      </a:lnTo>
                      <a:lnTo>
                        <a:pt x="5578677" y="1782301"/>
                      </a:lnTo>
                      <a:lnTo>
                        <a:pt x="5578677" y="1800640"/>
                      </a:lnTo>
                      <a:lnTo>
                        <a:pt x="5610633" y="1802933"/>
                      </a:lnTo>
                      <a:lnTo>
                        <a:pt x="5610633" y="1808603"/>
                      </a:lnTo>
                      <a:lnTo>
                        <a:pt x="5659457" y="1809689"/>
                      </a:lnTo>
                      <a:lnTo>
                        <a:pt x="5658971" y="1824530"/>
                      </a:lnTo>
                      <a:lnTo>
                        <a:pt x="5738778" y="1822237"/>
                      </a:lnTo>
                      <a:lnTo>
                        <a:pt x="5739264" y="1830804"/>
                      </a:lnTo>
                      <a:lnTo>
                        <a:pt x="5809825" y="1830804"/>
                      </a:lnTo>
                      <a:lnTo>
                        <a:pt x="5809825" y="1844317"/>
                      </a:lnTo>
                      <a:lnTo>
                        <a:pt x="5862705" y="1844317"/>
                      </a:lnTo>
                      <a:lnTo>
                        <a:pt x="5862705" y="1853125"/>
                      </a:lnTo>
                      <a:lnTo>
                        <a:pt x="5915585" y="1853125"/>
                      </a:lnTo>
                      <a:lnTo>
                        <a:pt x="5914936" y="1859640"/>
                      </a:lnTo>
                      <a:lnTo>
                        <a:pt x="6020858" y="1859640"/>
                      </a:lnTo>
                      <a:lnTo>
                        <a:pt x="6019398" y="1858554"/>
                      </a:lnTo>
                      <a:lnTo>
                        <a:pt x="6105855" y="1858554"/>
                      </a:lnTo>
                      <a:lnTo>
                        <a:pt x="6144299" y="1859640"/>
                      </a:lnTo>
                      <a:lnTo>
                        <a:pt x="6146246" y="1894992"/>
                      </a:lnTo>
                      <a:lnTo>
                        <a:pt x="6204803" y="1893906"/>
                      </a:lnTo>
                      <a:lnTo>
                        <a:pt x="6205289" y="1907419"/>
                      </a:lnTo>
                      <a:lnTo>
                        <a:pt x="6238867" y="1907419"/>
                      </a:lnTo>
                      <a:lnTo>
                        <a:pt x="6239353" y="1918760"/>
                      </a:lnTo>
                      <a:lnTo>
                        <a:pt x="6292233" y="1918760"/>
                      </a:lnTo>
                      <a:lnTo>
                        <a:pt x="6291260" y="1938548"/>
                      </a:lnTo>
                      <a:lnTo>
                        <a:pt x="6291260" y="1964850"/>
                      </a:lnTo>
                      <a:lnTo>
                        <a:pt x="6323053" y="1964850"/>
                      </a:lnTo>
                      <a:lnTo>
                        <a:pt x="6323702" y="1992601"/>
                      </a:lnTo>
                      <a:lnTo>
                        <a:pt x="6341058" y="1992601"/>
                      </a:lnTo>
                      <a:lnTo>
                        <a:pt x="6341058" y="2014198"/>
                      </a:lnTo>
                      <a:lnTo>
                        <a:pt x="6372040" y="2014198"/>
                      </a:lnTo>
                      <a:lnTo>
                        <a:pt x="6372040" y="2036881"/>
                      </a:lnTo>
                      <a:lnTo>
                        <a:pt x="6394424" y="2036881"/>
                      </a:lnTo>
                      <a:lnTo>
                        <a:pt x="6394424" y="2064631"/>
                      </a:lnTo>
                      <a:cubicBezTo>
                        <a:pt x="6394424" y="2064631"/>
                        <a:pt x="7026714" y="2064993"/>
                        <a:pt x="7027363" y="2064631"/>
                      </a:cubicBezTo>
                      <a:lnTo>
                        <a:pt x="7055587" y="2064631"/>
                      </a:lnTo>
                      <a:lnTo>
                        <a:pt x="7055587" y="2220878"/>
                      </a:lnTo>
                      <a:lnTo>
                        <a:pt x="7336532" y="2220878"/>
                      </a:lnTo>
                    </a:path>
                  </a:pathLst>
                </a:custGeom>
                <a:grp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3F4444"/>
                    </a:solidFill>
                    <a:effectLst/>
                    <a:uLnTx/>
                    <a:uFillTx/>
                    <a:latin typeface="Calibri"/>
                    <a:ea typeface="+mn-ea"/>
                    <a:cs typeface="+mn-cs"/>
                  </a:endParaRPr>
                </a:p>
              </p:txBody>
            </p:sp>
          </p:grpSp>
        </p:grpSp>
      </p:grpSp>
      <p:cxnSp>
        <p:nvCxnSpPr>
          <p:cNvPr id="3" name="Straight Connector 2">
            <a:extLst>
              <a:ext uri="{FF2B5EF4-FFF2-40B4-BE49-F238E27FC236}">
                <a16:creationId xmlns:a16="http://schemas.microsoft.com/office/drawing/2014/main" id="{4975D0C8-9A41-1A1C-C2BA-973D494ADC9B}"/>
              </a:ext>
            </a:extLst>
          </p:cNvPr>
          <p:cNvCxnSpPr>
            <a:cxnSpLocks/>
          </p:cNvCxnSpPr>
          <p:nvPr/>
        </p:nvCxnSpPr>
        <p:spPr>
          <a:xfrm>
            <a:off x="1710982" y="3696278"/>
            <a:ext cx="5095290" cy="76182"/>
          </a:xfrm>
          <a:prstGeom prst="line">
            <a:avLst/>
          </a:prstGeom>
          <a:ln w="2857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Rectangle: Rounded Corners 369">
            <a:extLst>
              <a:ext uri="{FF2B5EF4-FFF2-40B4-BE49-F238E27FC236}">
                <a16:creationId xmlns:a16="http://schemas.microsoft.com/office/drawing/2014/main" id="{68D8073E-1FFE-3681-656B-23AFA27C9DDA}"/>
              </a:ext>
            </a:extLst>
          </p:cNvPr>
          <p:cNvSpPr/>
          <p:nvPr/>
        </p:nvSpPr>
        <p:spPr>
          <a:xfrm>
            <a:off x="7363940" y="4091371"/>
            <a:ext cx="4351585" cy="1593378"/>
          </a:xfrm>
          <a:prstGeom prst="round2DiagRect">
            <a:avLst/>
          </a:prstGeom>
          <a:solidFill>
            <a:schemeClr val="accent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a:ln>
                  <a:noFill/>
                </a:ln>
                <a:solidFill>
                  <a:srgbClr val="004D74"/>
                </a:solidFill>
                <a:effectLst/>
                <a:uLnTx/>
                <a:uFillTx/>
                <a:latin typeface="Calibri body"/>
                <a:cs typeface="Arial" panose="020B0604020202020204" pitchFamily="34" charset="0"/>
              </a:rPr>
              <a:t>Медиана ОВ в группе комбинации олапариба и </a:t>
            </a:r>
            <a:r>
              <a:rPr kumimoji="0" lang="ru-RU" sz="1600" b="1" i="0" u="none" strike="noStrike" kern="0" cap="none" spc="0" normalizeH="0" baseline="0" noProof="0" dirty="0" err="1">
                <a:ln>
                  <a:noFill/>
                </a:ln>
                <a:solidFill>
                  <a:srgbClr val="004D74"/>
                </a:solidFill>
                <a:effectLst/>
                <a:uLnTx/>
                <a:uFillTx/>
                <a:latin typeface="Calibri body"/>
                <a:cs typeface="Arial" panose="020B0604020202020204" pitchFamily="34" charset="0"/>
              </a:rPr>
              <a:t>абиратерона</a:t>
            </a:r>
            <a:r>
              <a:rPr kumimoji="0" lang="ru-RU" sz="1600" b="1" i="0" u="none" strike="noStrike" kern="0" cap="none" spc="0" normalizeH="0" baseline="0" noProof="0" dirty="0">
                <a:ln>
                  <a:noFill/>
                </a:ln>
                <a:solidFill>
                  <a:srgbClr val="004D74"/>
                </a:solidFill>
                <a:effectLst/>
                <a:uLnTx/>
                <a:uFillTx/>
                <a:latin typeface="Calibri body"/>
                <a:cs typeface="Arial" panose="020B0604020202020204" pitchFamily="34" charset="0"/>
              </a:rPr>
              <a:t> составила более 42 месяцев, что ранее не было достигнуто ни в одном клиническом исследовании </a:t>
            </a:r>
            <a:r>
              <a:rPr kumimoji="0" lang="ru-RU" sz="1600" b="1" i="0" u="none" strike="noStrike" kern="0" cap="none" spc="0" normalizeH="0" baseline="0" noProof="0" dirty="0" err="1">
                <a:ln>
                  <a:noFill/>
                </a:ln>
                <a:solidFill>
                  <a:srgbClr val="004D74"/>
                </a:solidFill>
                <a:effectLst/>
                <a:uLnTx/>
                <a:uFillTx/>
                <a:latin typeface="Calibri body"/>
                <a:cs typeface="Arial" panose="020B0604020202020204" pitchFamily="34" charset="0"/>
              </a:rPr>
              <a:t>мКРРПЖ</a:t>
            </a:r>
            <a:r>
              <a:rPr kumimoji="0" lang="ru-RU" sz="1600" b="1" i="0" u="none" strike="noStrike" kern="0" cap="none" spc="0" normalizeH="0" baseline="0" noProof="0" dirty="0">
                <a:ln>
                  <a:noFill/>
                </a:ln>
                <a:solidFill>
                  <a:srgbClr val="004D74"/>
                </a:solidFill>
                <a:effectLst/>
                <a:uLnTx/>
                <a:uFillTx/>
                <a:latin typeface="Calibri body"/>
                <a:cs typeface="Arial" panose="020B0604020202020204" pitchFamily="34" charset="0"/>
              </a:rPr>
              <a:t> III фазы</a:t>
            </a:r>
          </a:p>
        </p:txBody>
      </p:sp>
      <p:graphicFrame>
        <p:nvGraphicFramePr>
          <p:cNvPr id="6" name="Table 5">
            <a:extLst>
              <a:ext uri="{FF2B5EF4-FFF2-40B4-BE49-F238E27FC236}">
                <a16:creationId xmlns:a16="http://schemas.microsoft.com/office/drawing/2014/main" id="{6CA239C9-6BB0-57BF-9E99-E903B28B5015}"/>
              </a:ext>
            </a:extLst>
          </p:cNvPr>
          <p:cNvGraphicFramePr>
            <a:graphicFrameLocks noGrp="1"/>
          </p:cNvGraphicFramePr>
          <p:nvPr>
            <p:extLst>
              <p:ext uri="{D42A27DB-BD31-4B8C-83A1-F6EECF244321}">
                <p14:modId xmlns:p14="http://schemas.microsoft.com/office/powerpoint/2010/main" val="1860496978"/>
              </p:ext>
            </p:extLst>
          </p:nvPr>
        </p:nvGraphicFramePr>
        <p:xfrm>
          <a:off x="2001711" y="4247840"/>
          <a:ext cx="4400325" cy="304800"/>
        </p:xfrm>
        <a:graphic>
          <a:graphicData uri="http://schemas.openxmlformats.org/drawingml/2006/table">
            <a:tbl>
              <a:tblPr firstRow="1" bandRow="1">
                <a:tableStyleId>{5C22544A-7EE6-4342-B048-85BDC9FD1C3A}</a:tableStyleId>
              </a:tblPr>
              <a:tblGrid>
                <a:gridCol w="1805261">
                  <a:extLst>
                    <a:ext uri="{9D8B030D-6E8A-4147-A177-3AD203B41FA5}">
                      <a16:colId xmlns:a16="http://schemas.microsoft.com/office/drawing/2014/main" val="266320167"/>
                    </a:ext>
                  </a:extLst>
                </a:gridCol>
                <a:gridCol w="2595064">
                  <a:extLst>
                    <a:ext uri="{9D8B030D-6E8A-4147-A177-3AD203B41FA5}">
                      <a16:colId xmlns:a16="http://schemas.microsoft.com/office/drawing/2014/main" val="3026951909"/>
                    </a:ext>
                  </a:extLst>
                </a:gridCol>
              </a:tblGrid>
              <a:tr h="0">
                <a:tc>
                  <a:txBody>
                    <a:bodyPr/>
                    <a:lstStyle/>
                    <a:p>
                      <a:pPr algn="r"/>
                      <a:r>
                        <a:rPr lang="ru-RU" sz="1400" b="1" dirty="0">
                          <a:solidFill>
                            <a:schemeClr val="tx1"/>
                          </a:solidFill>
                          <a:latin typeface="+mn-lt"/>
                          <a:cs typeface="Arial" panose="020B0604020202020204" pitchFamily="34" charset="0"/>
                        </a:rPr>
                        <a:t>ОР</a:t>
                      </a:r>
                      <a:r>
                        <a:rPr lang="en-GB" sz="1400" b="1" dirty="0">
                          <a:solidFill>
                            <a:schemeClr val="tx1"/>
                          </a:solidFill>
                          <a:latin typeface="+mn-lt"/>
                          <a:cs typeface="Arial" panose="020B0604020202020204" pitchFamily="34" charset="0"/>
                        </a:rPr>
                        <a:t> (95% </a:t>
                      </a:r>
                      <a:r>
                        <a:rPr lang="ru-RU" sz="1400" b="1" dirty="0">
                          <a:solidFill>
                            <a:schemeClr val="tx1"/>
                          </a:solidFill>
                          <a:latin typeface="+mn-lt"/>
                          <a:cs typeface="Arial" panose="020B0604020202020204" pitchFamily="34" charset="0"/>
                        </a:rPr>
                        <a:t>ДИ</a:t>
                      </a:r>
                      <a:r>
                        <a:rPr lang="en-GB" sz="1400" b="1" dirty="0">
                          <a:solidFill>
                            <a:schemeClr val="tx1"/>
                          </a:solidFill>
                          <a:latin typeface="+mn-lt"/>
                          <a:cs typeface="Arial" panose="020B0604020202020204" pitchFamily="34" charset="0"/>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a:solidFill>
                            <a:schemeClr val="tx1"/>
                          </a:solidFill>
                          <a:latin typeface="+mn-lt"/>
                          <a:cs typeface="Arial" panose="020B0604020202020204" pitchFamily="34" charset="0"/>
                        </a:rPr>
                        <a:t>0.81 (0.67‒1.00); p=0.054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243645369"/>
                  </a:ext>
                </a:extLst>
              </a:tr>
            </a:tbl>
          </a:graphicData>
        </a:graphic>
      </p:graphicFrame>
    </p:spTree>
    <p:extLst>
      <p:ext uri="{BB962C8B-B14F-4D97-AF65-F5344CB8AC3E}">
        <p14:creationId xmlns:p14="http://schemas.microsoft.com/office/powerpoint/2010/main" val="26179637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99A3C04-6B6A-1C48-8C9D-395ABD787350}"/>
              </a:ext>
            </a:extLst>
          </p:cNvPr>
          <p:cNvSpPr>
            <a:spLocks noGrp="1"/>
          </p:cNvSpPr>
          <p:nvPr>
            <p:ph type="title"/>
          </p:nvPr>
        </p:nvSpPr>
        <p:spPr>
          <a:solidFill>
            <a:schemeClr val="tx1"/>
          </a:solidFill>
        </p:spPr>
        <p:txBody>
          <a:bodyPr bIns="2124000" rtlCol="0">
            <a:noAutofit/>
          </a:bodyPr>
          <a:lstStyle/>
          <a:p>
            <a:pPr rtl="0"/>
            <a:endParaRPr lang="en-US" sz="4400" dirty="0"/>
          </a:p>
        </p:txBody>
      </p:sp>
      <p:sp>
        <p:nvSpPr>
          <p:cNvPr id="2" name="Rectangle 1">
            <a:extLst>
              <a:ext uri="{FF2B5EF4-FFF2-40B4-BE49-F238E27FC236}">
                <a16:creationId xmlns:a16="http://schemas.microsoft.com/office/drawing/2014/main" id="{8C4DE25B-9083-0029-A702-59C21CB0C503}"/>
              </a:ext>
            </a:extLst>
          </p:cNvPr>
          <p:cNvSpPr/>
          <p:nvPr/>
        </p:nvSpPr>
        <p:spPr>
          <a:xfrm>
            <a:off x="466062" y="978195"/>
            <a:ext cx="5096539" cy="4203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 sz="4400" dirty="0"/>
              <a:t>Результаты исследования PROpel:</a:t>
            </a:r>
            <a:br>
              <a:rPr lang="ru" sz="4400" dirty="0"/>
            </a:br>
            <a:r>
              <a:rPr lang="ru" sz="4400" dirty="0"/>
              <a:t>Дополнительные конечные точки</a:t>
            </a:r>
            <a:endParaRPr lang="ru-RU" sz="4400" dirty="0"/>
          </a:p>
        </p:txBody>
      </p:sp>
    </p:spTree>
    <p:extLst>
      <p:ext uri="{BB962C8B-B14F-4D97-AF65-F5344CB8AC3E}">
        <p14:creationId xmlns:p14="http://schemas.microsoft.com/office/powerpoint/2010/main" val="32264984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B88F7-8CDD-66D5-6E43-40BEE3CDE0D0}"/>
              </a:ext>
            </a:extLst>
          </p:cNvPr>
          <p:cNvSpPr>
            <a:spLocks noGrp="1"/>
          </p:cNvSpPr>
          <p:nvPr>
            <p:ph type="title"/>
          </p:nvPr>
        </p:nvSpPr>
        <p:spPr>
          <a:xfrm>
            <a:off x="208467" y="168420"/>
            <a:ext cx="11983533" cy="1007427"/>
          </a:xfrm>
        </p:spPr>
        <p:txBody>
          <a:bodyPr rtlCol="0">
            <a:normAutofit fontScale="90000"/>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2400" b="1" i="1" u="none" strike="noStrike" kern="1200" cap="none" spc="0" normalizeH="0" baseline="0" noProof="0" dirty="0">
                <a:ln>
                  <a:noFill/>
                </a:ln>
                <a:solidFill>
                  <a:srgbClr val="004D74"/>
                </a:solidFill>
                <a:effectLst/>
                <a:uLnTx/>
                <a:uFillTx/>
                <a:latin typeface="Arial" panose="020B0604020202020204"/>
                <a:ea typeface="+mn-ea"/>
                <a:cs typeface="+mn-cs"/>
              </a:rPr>
              <a:t>Время до первой последующей терапии и выживаемость без второго прогрессирования заболевания (</a:t>
            </a:r>
            <a:r>
              <a:rPr kumimoji="0" lang="ru-RU" sz="2400" b="1" i="1" u="none" strike="noStrike" kern="1200" cap="none" spc="0" normalizeH="0" baseline="0" noProof="0" dirty="0">
                <a:ln>
                  <a:noFill/>
                </a:ln>
                <a:solidFill>
                  <a:srgbClr val="960064"/>
                </a:solidFill>
                <a:effectLst/>
                <a:uLnTx/>
                <a:uFillTx/>
                <a:latin typeface="Arial" panose="020B0604020202020204"/>
                <a:ea typeface="+mn-ea"/>
                <a:cs typeface="+mn-cs"/>
              </a:rPr>
              <a:t>при итоговом анализе</a:t>
            </a:r>
            <a:r>
              <a:rPr kumimoji="0" lang="ru-RU" sz="2400" b="1" i="1" u="none" strike="noStrike" kern="1200" cap="none" spc="0" normalizeH="0" baseline="0" noProof="0" dirty="0">
                <a:ln>
                  <a:noFill/>
                </a:ln>
                <a:solidFill>
                  <a:srgbClr val="004D74"/>
                </a:solidFill>
                <a:effectLst/>
                <a:uLnTx/>
                <a:uFillTx/>
                <a:latin typeface="Arial" panose="020B0604020202020204"/>
                <a:ea typeface="+mn-ea"/>
                <a:cs typeface="+mn-cs"/>
              </a:rPr>
              <a:t>) продолжают демонстрировать преимущество комбинации </a:t>
            </a:r>
            <a:r>
              <a:rPr lang="ru-RU" b="1" i="1" dirty="0">
                <a:solidFill>
                  <a:srgbClr val="004D74"/>
                </a:solidFill>
                <a:latin typeface="Arial" panose="020B0604020202020204"/>
                <a:ea typeface="+mn-ea"/>
                <a:cs typeface="+mn-cs"/>
              </a:rPr>
              <a:t>препарата </a:t>
            </a:r>
            <a:r>
              <a:rPr lang="ru-RU" b="1" i="1" dirty="0" err="1">
                <a:solidFill>
                  <a:srgbClr val="004D74"/>
                </a:solidFill>
                <a:latin typeface="Arial" panose="020B0604020202020204"/>
                <a:ea typeface="+mn-ea"/>
                <a:cs typeface="+mn-cs"/>
              </a:rPr>
              <a:t>Линпарза</a:t>
            </a:r>
            <a:r>
              <a:rPr lang="ru" b="1" i="1" baseline="30000" dirty="0">
                <a:solidFill>
                  <a:srgbClr val="004D74"/>
                </a:solidFill>
                <a:latin typeface="Arial" panose="020B0604020202020204"/>
                <a:ea typeface="+mn-ea"/>
                <a:cs typeface="+mn-cs"/>
              </a:rPr>
              <a:t>®</a:t>
            </a:r>
            <a:r>
              <a:rPr lang="ru-RU" b="1" i="1" dirty="0">
                <a:solidFill>
                  <a:srgbClr val="004D74"/>
                </a:solidFill>
                <a:latin typeface="Arial" panose="020B0604020202020204"/>
                <a:ea typeface="+mn-ea"/>
                <a:cs typeface="+mn-cs"/>
              </a:rPr>
              <a:t> </a:t>
            </a:r>
            <a:r>
              <a:rPr kumimoji="0" lang="ru-RU" sz="2400" b="1" i="1" u="none" strike="noStrike" kern="1200" cap="none" spc="0" normalizeH="0" baseline="0" noProof="0" dirty="0">
                <a:ln>
                  <a:noFill/>
                </a:ln>
                <a:solidFill>
                  <a:srgbClr val="004D74"/>
                </a:solidFill>
                <a:effectLst/>
                <a:uLnTx/>
                <a:uFillTx/>
                <a:latin typeface="Arial" panose="020B0604020202020204"/>
                <a:ea typeface="+mn-ea"/>
                <a:cs typeface="+mn-cs"/>
              </a:rPr>
              <a:t>и абиратерона</a:t>
            </a:r>
            <a:r>
              <a:rPr kumimoji="0" lang="ru-RU" b="1" i="0" u="none" strike="noStrike" kern="1200" cap="none" spc="0" normalizeH="0" baseline="30000" noProof="0" dirty="0">
                <a:ln>
                  <a:noFill/>
                </a:ln>
                <a:solidFill>
                  <a:srgbClr val="004D74"/>
                </a:solidFill>
                <a:effectLst/>
                <a:uLnTx/>
                <a:uFillTx/>
                <a:latin typeface="Arial" panose="020B0604020202020204"/>
                <a:ea typeface="+mn-ea"/>
                <a:cs typeface="+mn-cs"/>
              </a:rPr>
              <a:t>1</a:t>
            </a:r>
            <a:endParaRPr kumimoji="0" lang="en-GB" b="1" i="0" u="none" strike="noStrike" kern="1200" cap="none" spc="0" normalizeH="0" baseline="30000" noProof="0" dirty="0">
              <a:ln>
                <a:noFill/>
              </a:ln>
              <a:solidFill>
                <a:srgbClr val="004D74"/>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FD9D09A2-90EB-20DC-AC78-C097CD6E752A}"/>
              </a:ext>
            </a:extLst>
          </p:cNvPr>
          <p:cNvSpPr>
            <a:spLocks noGrp="1"/>
          </p:cNvSpPr>
          <p:nvPr>
            <p:ph type="body" sz="quarter" idx="111"/>
          </p:nvPr>
        </p:nvSpPr>
        <p:spPr>
          <a:xfrm>
            <a:off x="407988" y="6200774"/>
            <a:ext cx="11315348" cy="657225"/>
          </a:xfrm>
        </p:spPr>
        <p:txBody>
          <a:bodyPr rtlCol="0"/>
          <a:lstStyle/>
          <a:p>
            <a:pPr marL="0" indent="0" rtl="0">
              <a:spcAft>
                <a:spcPts val="0"/>
              </a:spcAft>
            </a:pPr>
            <a:r>
              <a:rPr lang="ru-RU" dirty="0"/>
              <a:t>Третий срез данных: 12 октября 2022 г.</a:t>
            </a:r>
          </a:p>
          <a:p>
            <a:pPr marL="0" indent="0" rtl="0">
              <a:spcAft>
                <a:spcPts val="0"/>
              </a:spcAft>
            </a:pPr>
            <a:r>
              <a:rPr lang="ru-RU" dirty="0"/>
              <a:t>179 (44,9 %) пациентов в группе абиратерон + олапариб и 215 (54,2 %) в группе абиратерон + плацебо получали последующую терапию.</a:t>
            </a:r>
            <a:r>
              <a:rPr lang="en-US" dirty="0"/>
              <a:t> </a:t>
            </a:r>
            <a:r>
              <a:rPr lang="ru-RU" dirty="0"/>
              <a:t>Наиболее часто в качестве первой последующей терапии применяли цитотоксическую химиотерапию (n = 242) и гормональную терапию (n = 113).</a:t>
            </a:r>
            <a:r>
              <a:rPr lang="en-US" dirty="0"/>
              <a:t> </a:t>
            </a:r>
            <a:r>
              <a:rPr lang="ru-RU" dirty="0"/>
              <a:t>ДИ — доверительный интервал; ОР — отношение рисков; НД — не достигнуто; ВБП2 — выживаемость без второго прогрессирования заболевания или смерти.</a:t>
            </a:r>
          </a:p>
          <a:p>
            <a:pPr marL="0" indent="0" rtl="0">
              <a:spcAft>
                <a:spcPts val="0"/>
              </a:spcAft>
            </a:pPr>
            <a:r>
              <a:rPr lang="ru-RU" dirty="0"/>
              <a:t>Clarke N, et al. Представлено на симпозиуме ASCO GU 2023, 16–18 февраля 2023 г. Сан-Франциско, США. Тезисы #LBA16.</a:t>
            </a:r>
          </a:p>
        </p:txBody>
      </p:sp>
      <p:graphicFrame>
        <p:nvGraphicFramePr>
          <p:cNvPr id="3" name="Table 10">
            <a:extLst>
              <a:ext uri="{FF2B5EF4-FFF2-40B4-BE49-F238E27FC236}">
                <a16:creationId xmlns:a16="http://schemas.microsoft.com/office/drawing/2014/main" id="{10C402C4-7EEC-22B8-AA1B-AFA10D0EF4F3}"/>
              </a:ext>
            </a:extLst>
          </p:cNvPr>
          <p:cNvGraphicFramePr>
            <a:graphicFrameLocks noGrp="1"/>
          </p:cNvGraphicFramePr>
          <p:nvPr>
            <p:extLst>
              <p:ext uri="{D42A27DB-BD31-4B8C-83A1-F6EECF244321}">
                <p14:modId xmlns:p14="http://schemas.microsoft.com/office/powerpoint/2010/main" val="3913002835"/>
              </p:ext>
            </p:extLst>
          </p:nvPr>
        </p:nvGraphicFramePr>
        <p:xfrm>
          <a:off x="2841371" y="2202623"/>
          <a:ext cx="2865475" cy="990600"/>
        </p:xfrm>
        <a:graphic>
          <a:graphicData uri="http://schemas.openxmlformats.org/drawingml/2006/table">
            <a:tbl>
              <a:tblPr firstRow="1" bandRow="1">
                <a:tableStyleId>{5C22544A-7EE6-4342-B048-85BDC9FD1C3A}</a:tableStyleId>
              </a:tblPr>
              <a:tblGrid>
                <a:gridCol w="1325193">
                  <a:extLst>
                    <a:ext uri="{9D8B030D-6E8A-4147-A177-3AD203B41FA5}">
                      <a16:colId xmlns:a16="http://schemas.microsoft.com/office/drawing/2014/main" val="256280186"/>
                    </a:ext>
                  </a:extLst>
                </a:gridCol>
                <a:gridCol w="770141">
                  <a:extLst>
                    <a:ext uri="{9D8B030D-6E8A-4147-A177-3AD203B41FA5}">
                      <a16:colId xmlns:a16="http://schemas.microsoft.com/office/drawing/2014/main" val="2660757379"/>
                    </a:ext>
                  </a:extLst>
                </a:gridCol>
                <a:gridCol w="770141">
                  <a:extLst>
                    <a:ext uri="{9D8B030D-6E8A-4147-A177-3AD203B41FA5}">
                      <a16:colId xmlns:a16="http://schemas.microsoft.com/office/drawing/2014/main" val="351983716"/>
                    </a:ext>
                  </a:extLst>
                </a:gridCol>
              </a:tblGrid>
              <a:tr h="182682">
                <a:tc>
                  <a:txBody>
                    <a:bodyPr/>
                    <a:lstStyle/>
                    <a:p>
                      <a:pPr rtl="0"/>
                      <a:endParaRPr lang="en-GB" sz="900" dirty="0">
                        <a:solidFill>
                          <a:schemeClr val="bg1"/>
                        </a:solidFill>
                        <a:latin typeface="+mn-lt"/>
                        <a:cs typeface="Arial" panose="020B0604020202020204" pitchFamily="34" charset="0"/>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r>
                        <a:rPr lang="ru" sz="900" dirty="0">
                          <a:solidFill>
                            <a:schemeClr val="bg1"/>
                          </a:solidFill>
                          <a:latin typeface="+mn-lt"/>
                          <a:cs typeface="Arial" panose="020B0604020202020204" pitchFamily="34" charset="0"/>
                        </a:rPr>
                        <a:t>Олапариб + абиратерон (n = 39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rtl="0"/>
                      <a:r>
                        <a:rPr lang="ru" sz="900" dirty="0">
                          <a:solidFill>
                            <a:schemeClr val="bg1"/>
                          </a:solidFill>
                          <a:latin typeface="+mn-lt"/>
                          <a:cs typeface="Arial" panose="020B0604020202020204" pitchFamily="34" charset="0"/>
                        </a:rPr>
                        <a:t>Плацебо + абиратерон (n = 39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534889841"/>
                  </a:ext>
                </a:extLst>
              </a:tr>
              <a:tr h="0">
                <a:tc>
                  <a:txBody>
                    <a:bodyPr/>
                    <a:lstStyle/>
                    <a:p>
                      <a:pPr algn="r" rtl="0"/>
                      <a:r>
                        <a:rPr lang="ru" sz="900" b="1" dirty="0">
                          <a:solidFill>
                            <a:schemeClr val="tx1"/>
                          </a:solidFill>
                          <a:latin typeface="+mn-lt"/>
                          <a:cs typeface="Arial" panose="020B0604020202020204" pitchFamily="34" charset="0"/>
                        </a:rPr>
                        <a:t>События, n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ru" sz="900" b="1">
                          <a:solidFill>
                            <a:schemeClr val="tx1"/>
                          </a:solidFill>
                          <a:latin typeface="+mn-lt"/>
                          <a:cs typeface="Arial" panose="020B0604020202020204" pitchFamily="34" charset="0"/>
                        </a:rPr>
                        <a:t>255 (63,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a:r>
                        <a:rPr lang="ru" sz="900" b="1" dirty="0">
                          <a:solidFill>
                            <a:schemeClr val="tx1"/>
                          </a:solidFill>
                          <a:latin typeface="+mn-lt"/>
                          <a:cs typeface="Arial" panose="020B0604020202020204" pitchFamily="34" charset="0"/>
                        </a:rPr>
                        <a:t>285 (7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32230878"/>
                  </a:ext>
                </a:extLst>
              </a:tr>
              <a:tr h="0">
                <a:tc>
                  <a:txBody>
                    <a:bodyPr/>
                    <a:lstStyle/>
                    <a:p>
                      <a:pPr algn="r" rtl="0"/>
                      <a:r>
                        <a:rPr lang="ru" sz="900" b="1" dirty="0">
                          <a:solidFill>
                            <a:schemeClr val="tx1"/>
                          </a:solidFill>
                          <a:latin typeface="+mn-lt"/>
                          <a:cs typeface="Arial" panose="020B0604020202020204" pitchFamily="34" charset="0"/>
                        </a:rPr>
                        <a:t>Медиана, месяц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ru" sz="1100" b="1" dirty="0">
                          <a:solidFill>
                            <a:schemeClr val="accent1"/>
                          </a:solidFill>
                          <a:latin typeface="+mn-lt"/>
                          <a:cs typeface="Arial" panose="020B0604020202020204" pitchFamily="34" charset="0"/>
                        </a:rPr>
                        <a:t>24,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a:r>
                        <a:rPr lang="ru" sz="1100" b="1" dirty="0">
                          <a:solidFill>
                            <a:schemeClr val="tx1"/>
                          </a:solidFill>
                          <a:latin typeface="+mn-lt"/>
                          <a:cs typeface="Arial" panose="020B0604020202020204" pitchFamily="34" charset="0"/>
                        </a:rPr>
                        <a:t>19,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3592731"/>
                  </a:ext>
                </a:extLst>
              </a:tr>
            </a:tbl>
          </a:graphicData>
        </a:graphic>
      </p:graphicFrame>
      <p:graphicFrame>
        <p:nvGraphicFramePr>
          <p:cNvPr id="6" name="Table 10">
            <a:extLst>
              <a:ext uri="{FF2B5EF4-FFF2-40B4-BE49-F238E27FC236}">
                <a16:creationId xmlns:a16="http://schemas.microsoft.com/office/drawing/2014/main" id="{33C0C33A-ABC4-4887-0502-BBEC78AA09D8}"/>
              </a:ext>
            </a:extLst>
          </p:cNvPr>
          <p:cNvGraphicFramePr>
            <a:graphicFrameLocks noGrp="1"/>
          </p:cNvGraphicFramePr>
          <p:nvPr>
            <p:extLst>
              <p:ext uri="{D42A27DB-BD31-4B8C-83A1-F6EECF244321}">
                <p14:modId xmlns:p14="http://schemas.microsoft.com/office/powerpoint/2010/main" val="2629372463"/>
              </p:ext>
            </p:extLst>
          </p:nvPr>
        </p:nvGraphicFramePr>
        <p:xfrm>
          <a:off x="7822018" y="3682710"/>
          <a:ext cx="3292548" cy="1203960"/>
        </p:xfrm>
        <a:graphic>
          <a:graphicData uri="http://schemas.openxmlformats.org/drawingml/2006/table">
            <a:tbl>
              <a:tblPr firstRow="1" bandRow="1">
                <a:tableStyleId>{5C22544A-7EE6-4342-B048-85BDC9FD1C3A}</a:tableStyleId>
              </a:tblPr>
              <a:tblGrid>
                <a:gridCol w="1422706">
                  <a:extLst>
                    <a:ext uri="{9D8B030D-6E8A-4147-A177-3AD203B41FA5}">
                      <a16:colId xmlns:a16="http://schemas.microsoft.com/office/drawing/2014/main" val="256280186"/>
                    </a:ext>
                  </a:extLst>
                </a:gridCol>
                <a:gridCol w="934921">
                  <a:extLst>
                    <a:ext uri="{9D8B030D-6E8A-4147-A177-3AD203B41FA5}">
                      <a16:colId xmlns:a16="http://schemas.microsoft.com/office/drawing/2014/main" val="2660757379"/>
                    </a:ext>
                  </a:extLst>
                </a:gridCol>
                <a:gridCol w="934921">
                  <a:extLst>
                    <a:ext uri="{9D8B030D-6E8A-4147-A177-3AD203B41FA5}">
                      <a16:colId xmlns:a16="http://schemas.microsoft.com/office/drawing/2014/main" val="351983716"/>
                    </a:ext>
                  </a:extLst>
                </a:gridCol>
              </a:tblGrid>
              <a:tr h="391411">
                <a:tc>
                  <a:txBody>
                    <a:bodyPr/>
                    <a:lstStyle/>
                    <a:p>
                      <a:pPr rtl="0"/>
                      <a:endParaRPr lang="en-GB" sz="900" dirty="0">
                        <a:solidFill>
                          <a:schemeClr val="bg1"/>
                        </a:solidFill>
                        <a:latin typeface="+mn-lt"/>
                        <a:cs typeface="Arial" panose="020B0604020202020204" pitchFamily="34" charset="0"/>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r>
                        <a:rPr lang="ru" sz="900" dirty="0">
                          <a:solidFill>
                            <a:schemeClr val="bg1"/>
                          </a:solidFill>
                          <a:latin typeface="+mn-lt"/>
                          <a:cs typeface="Arial" panose="020B0604020202020204" pitchFamily="34" charset="0"/>
                        </a:rPr>
                        <a:t>Олапариб + абиратерон (n = 39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rtl="0"/>
                      <a:r>
                        <a:rPr lang="ru" sz="900" dirty="0">
                          <a:solidFill>
                            <a:schemeClr val="bg1"/>
                          </a:solidFill>
                          <a:latin typeface="+mn-lt"/>
                          <a:cs typeface="Arial" panose="020B0604020202020204" pitchFamily="34" charset="0"/>
                        </a:rPr>
                        <a:t>Плацебо + абиратерон (n = 39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534889841"/>
                  </a:ext>
                </a:extLst>
              </a:tr>
              <a:tr h="177914">
                <a:tc>
                  <a:txBody>
                    <a:bodyPr/>
                    <a:lstStyle/>
                    <a:p>
                      <a:pPr algn="r" rtl="0"/>
                      <a:r>
                        <a:rPr lang="ru" sz="900" b="1" dirty="0">
                          <a:solidFill>
                            <a:schemeClr val="tx1"/>
                          </a:solidFill>
                          <a:latin typeface="+mn-lt"/>
                          <a:cs typeface="Arial" panose="020B0604020202020204" pitchFamily="34" charset="0"/>
                        </a:rPr>
                        <a:t>События, n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ru" sz="900" b="1">
                          <a:solidFill>
                            <a:schemeClr val="tx1"/>
                          </a:solidFill>
                          <a:latin typeface="+mn-lt"/>
                          <a:cs typeface="Arial" panose="020B0604020202020204" pitchFamily="34" charset="0"/>
                        </a:rPr>
                        <a:t>103 (25,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a:r>
                        <a:rPr lang="ru" sz="900" b="1">
                          <a:solidFill>
                            <a:schemeClr val="tx1"/>
                          </a:solidFill>
                          <a:latin typeface="+mn-lt"/>
                          <a:cs typeface="Arial" panose="020B0604020202020204" pitchFamily="34" charset="0"/>
                        </a:rPr>
                        <a:t>126 (3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32230878"/>
                  </a:ext>
                </a:extLst>
              </a:tr>
              <a:tr h="177914">
                <a:tc>
                  <a:txBody>
                    <a:bodyPr/>
                    <a:lstStyle/>
                    <a:p>
                      <a:pPr algn="r" rtl="0"/>
                      <a:r>
                        <a:rPr lang="ru" sz="900" b="1">
                          <a:solidFill>
                            <a:schemeClr val="tx1"/>
                          </a:solidFill>
                          <a:latin typeface="+mn-lt"/>
                          <a:cs typeface="Arial" panose="020B0604020202020204" pitchFamily="34" charset="0"/>
                        </a:rPr>
                        <a:t>Медиана ВБП2, месяцев</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ru" sz="1000" b="1" dirty="0">
                          <a:solidFill>
                            <a:schemeClr val="tx1"/>
                          </a:solidFill>
                          <a:latin typeface="+mn-lt"/>
                          <a:cs typeface="Arial" panose="020B0604020202020204" pitchFamily="34" charset="0"/>
                        </a:rPr>
                        <a:t>НД</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a:r>
                        <a:rPr lang="ru" sz="1000" b="1" dirty="0">
                          <a:solidFill>
                            <a:schemeClr val="tx1"/>
                          </a:solidFill>
                          <a:latin typeface="+mn-lt"/>
                          <a:cs typeface="Arial" panose="020B0604020202020204" pitchFamily="34" charset="0"/>
                        </a:rPr>
                        <a:t>НД</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3592731"/>
                  </a:ext>
                </a:extLst>
              </a:tr>
              <a:tr h="177914">
                <a:tc>
                  <a:txBody>
                    <a:bodyPr/>
                    <a:lstStyle/>
                    <a:p>
                      <a:pPr algn="r" rtl="0"/>
                      <a:r>
                        <a:rPr lang="ru" sz="900" b="1">
                          <a:solidFill>
                            <a:schemeClr val="tx1"/>
                          </a:solidFill>
                          <a:latin typeface="+mn-lt"/>
                          <a:cs typeface="Arial" panose="020B0604020202020204" pitchFamily="34" charset="0"/>
                        </a:rPr>
                        <a:t>ОР (95 % Д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rtl="0"/>
                      <a:r>
                        <a:rPr lang="ru" sz="900" b="1" dirty="0">
                          <a:solidFill>
                            <a:schemeClr val="tx1"/>
                          </a:solidFill>
                          <a:latin typeface="+mn-lt"/>
                          <a:cs typeface="Arial" panose="020B0604020202020204" pitchFamily="34" charset="0"/>
                        </a:rPr>
                        <a:t>0,76 (0,59–0,9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grpSp>
        <p:nvGrpSpPr>
          <p:cNvPr id="7" name="Group 6">
            <a:extLst>
              <a:ext uri="{FF2B5EF4-FFF2-40B4-BE49-F238E27FC236}">
                <a16:creationId xmlns:a16="http://schemas.microsoft.com/office/drawing/2014/main" id="{03AC7928-C97A-6E4E-F632-E2E473BABA63}"/>
              </a:ext>
            </a:extLst>
          </p:cNvPr>
          <p:cNvGrpSpPr/>
          <p:nvPr/>
        </p:nvGrpSpPr>
        <p:grpSpPr>
          <a:xfrm>
            <a:off x="208467" y="2213041"/>
            <a:ext cx="5695354" cy="3725449"/>
            <a:chOff x="457454" y="2128167"/>
            <a:chExt cx="5527051" cy="2883258"/>
          </a:xfrm>
        </p:grpSpPr>
        <p:grpSp>
          <p:nvGrpSpPr>
            <p:cNvPr id="16" name="Group 15">
              <a:extLst>
                <a:ext uri="{FF2B5EF4-FFF2-40B4-BE49-F238E27FC236}">
                  <a16:creationId xmlns:a16="http://schemas.microsoft.com/office/drawing/2014/main" id="{F026F4B6-2B4C-B2E1-5423-551D186E1B2E}"/>
                </a:ext>
              </a:extLst>
            </p:cNvPr>
            <p:cNvGrpSpPr/>
            <p:nvPr/>
          </p:nvGrpSpPr>
          <p:grpSpPr>
            <a:xfrm>
              <a:off x="1259673" y="2128167"/>
              <a:ext cx="218484" cy="2330783"/>
              <a:chOff x="1240337" y="2542839"/>
              <a:chExt cx="197159" cy="2330783"/>
            </a:xfrm>
          </p:grpSpPr>
          <p:sp>
            <p:nvSpPr>
              <p:cNvPr id="212" name="TextBox 211">
                <a:extLst>
                  <a:ext uri="{FF2B5EF4-FFF2-40B4-BE49-F238E27FC236}">
                    <a16:creationId xmlns:a16="http://schemas.microsoft.com/office/drawing/2014/main" id="{501D28B3-4C4A-8CE6-A41D-40A70A4A66E9}"/>
                  </a:ext>
                </a:extLst>
              </p:cNvPr>
              <p:cNvSpPr txBox="1"/>
              <p:nvPr/>
            </p:nvSpPr>
            <p:spPr>
              <a:xfrm>
                <a:off x="1240337" y="2542839"/>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1,0</a:t>
                </a:r>
              </a:p>
            </p:txBody>
          </p:sp>
          <p:sp>
            <p:nvSpPr>
              <p:cNvPr id="213" name="TextBox 212">
                <a:extLst>
                  <a:ext uri="{FF2B5EF4-FFF2-40B4-BE49-F238E27FC236}">
                    <a16:creationId xmlns:a16="http://schemas.microsoft.com/office/drawing/2014/main" id="{13AD9720-2B28-0DAB-0D58-68CFAEB1D28D}"/>
                  </a:ext>
                </a:extLst>
              </p:cNvPr>
              <p:cNvSpPr txBox="1"/>
              <p:nvPr/>
            </p:nvSpPr>
            <p:spPr>
              <a:xfrm>
                <a:off x="1240337" y="2756351"/>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9</a:t>
                </a:r>
              </a:p>
            </p:txBody>
          </p:sp>
          <p:sp>
            <p:nvSpPr>
              <p:cNvPr id="214" name="TextBox 213">
                <a:extLst>
                  <a:ext uri="{FF2B5EF4-FFF2-40B4-BE49-F238E27FC236}">
                    <a16:creationId xmlns:a16="http://schemas.microsoft.com/office/drawing/2014/main" id="{DAF7BA93-5D18-059D-69B4-DBD0AA76EC0F}"/>
                  </a:ext>
                </a:extLst>
              </p:cNvPr>
              <p:cNvSpPr txBox="1"/>
              <p:nvPr/>
            </p:nvSpPr>
            <p:spPr>
              <a:xfrm>
                <a:off x="1240337" y="2974626"/>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8</a:t>
                </a:r>
              </a:p>
            </p:txBody>
          </p:sp>
          <p:sp>
            <p:nvSpPr>
              <p:cNvPr id="215" name="TextBox 214">
                <a:extLst>
                  <a:ext uri="{FF2B5EF4-FFF2-40B4-BE49-F238E27FC236}">
                    <a16:creationId xmlns:a16="http://schemas.microsoft.com/office/drawing/2014/main" id="{B7665C51-1583-AB7A-613C-50F9B547370D}"/>
                  </a:ext>
                </a:extLst>
              </p:cNvPr>
              <p:cNvSpPr txBox="1"/>
              <p:nvPr/>
            </p:nvSpPr>
            <p:spPr>
              <a:xfrm>
                <a:off x="1240337" y="3197664"/>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7</a:t>
                </a:r>
              </a:p>
            </p:txBody>
          </p:sp>
          <p:sp>
            <p:nvSpPr>
              <p:cNvPr id="216" name="TextBox 215">
                <a:extLst>
                  <a:ext uri="{FF2B5EF4-FFF2-40B4-BE49-F238E27FC236}">
                    <a16:creationId xmlns:a16="http://schemas.microsoft.com/office/drawing/2014/main" id="{F32EB333-D55F-9C86-9FA8-2B8F13D4BEA0}"/>
                  </a:ext>
                </a:extLst>
              </p:cNvPr>
              <p:cNvSpPr txBox="1"/>
              <p:nvPr/>
            </p:nvSpPr>
            <p:spPr>
              <a:xfrm>
                <a:off x="1240337" y="3411176"/>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6</a:t>
                </a:r>
              </a:p>
            </p:txBody>
          </p:sp>
          <p:sp>
            <p:nvSpPr>
              <p:cNvPr id="217" name="TextBox 216">
                <a:extLst>
                  <a:ext uri="{FF2B5EF4-FFF2-40B4-BE49-F238E27FC236}">
                    <a16:creationId xmlns:a16="http://schemas.microsoft.com/office/drawing/2014/main" id="{87175208-2445-01D9-F35D-4CDA0BFD4627}"/>
                  </a:ext>
                </a:extLst>
              </p:cNvPr>
              <p:cNvSpPr txBox="1"/>
              <p:nvPr/>
            </p:nvSpPr>
            <p:spPr>
              <a:xfrm>
                <a:off x="1240337" y="3629451"/>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5</a:t>
                </a:r>
              </a:p>
            </p:txBody>
          </p:sp>
          <p:sp>
            <p:nvSpPr>
              <p:cNvPr id="218" name="TextBox 217">
                <a:extLst>
                  <a:ext uri="{FF2B5EF4-FFF2-40B4-BE49-F238E27FC236}">
                    <a16:creationId xmlns:a16="http://schemas.microsoft.com/office/drawing/2014/main" id="{7229CC6D-A49B-A2B4-DC79-F389786E0718}"/>
                  </a:ext>
                </a:extLst>
              </p:cNvPr>
              <p:cNvSpPr txBox="1"/>
              <p:nvPr/>
            </p:nvSpPr>
            <p:spPr>
              <a:xfrm>
                <a:off x="1240337" y="3847726"/>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4</a:t>
                </a:r>
              </a:p>
            </p:txBody>
          </p:sp>
          <p:sp>
            <p:nvSpPr>
              <p:cNvPr id="219" name="TextBox 218">
                <a:extLst>
                  <a:ext uri="{FF2B5EF4-FFF2-40B4-BE49-F238E27FC236}">
                    <a16:creationId xmlns:a16="http://schemas.microsoft.com/office/drawing/2014/main" id="{1564D266-805A-AD86-200B-29FC017EEF14}"/>
                  </a:ext>
                </a:extLst>
              </p:cNvPr>
              <p:cNvSpPr txBox="1"/>
              <p:nvPr/>
            </p:nvSpPr>
            <p:spPr>
              <a:xfrm>
                <a:off x="1240337" y="4070764"/>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3</a:t>
                </a:r>
              </a:p>
            </p:txBody>
          </p:sp>
          <p:sp>
            <p:nvSpPr>
              <p:cNvPr id="220" name="TextBox 219">
                <a:extLst>
                  <a:ext uri="{FF2B5EF4-FFF2-40B4-BE49-F238E27FC236}">
                    <a16:creationId xmlns:a16="http://schemas.microsoft.com/office/drawing/2014/main" id="{9B7B8DFB-7F6B-0E3A-F10E-793331976D59}"/>
                  </a:ext>
                </a:extLst>
              </p:cNvPr>
              <p:cNvSpPr txBox="1"/>
              <p:nvPr/>
            </p:nvSpPr>
            <p:spPr>
              <a:xfrm>
                <a:off x="1240337" y="4289039"/>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2</a:t>
                </a:r>
              </a:p>
            </p:txBody>
          </p:sp>
          <p:sp>
            <p:nvSpPr>
              <p:cNvPr id="221" name="TextBox 220">
                <a:extLst>
                  <a:ext uri="{FF2B5EF4-FFF2-40B4-BE49-F238E27FC236}">
                    <a16:creationId xmlns:a16="http://schemas.microsoft.com/office/drawing/2014/main" id="{CE06D0FD-27A4-73CA-9D8B-6241464746BE}"/>
                  </a:ext>
                </a:extLst>
              </p:cNvPr>
              <p:cNvSpPr txBox="1"/>
              <p:nvPr/>
            </p:nvSpPr>
            <p:spPr>
              <a:xfrm>
                <a:off x="1240337" y="4507314"/>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1</a:t>
                </a:r>
              </a:p>
            </p:txBody>
          </p:sp>
          <p:sp>
            <p:nvSpPr>
              <p:cNvPr id="222" name="TextBox 221">
                <a:extLst>
                  <a:ext uri="{FF2B5EF4-FFF2-40B4-BE49-F238E27FC236}">
                    <a16:creationId xmlns:a16="http://schemas.microsoft.com/office/drawing/2014/main" id="{A4FB3FA7-5244-2EFF-0D01-71F4D14791D1}"/>
                  </a:ext>
                </a:extLst>
              </p:cNvPr>
              <p:cNvSpPr txBox="1"/>
              <p:nvPr/>
            </p:nvSpPr>
            <p:spPr>
              <a:xfrm>
                <a:off x="1240337" y="4720831"/>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0</a:t>
                </a:r>
              </a:p>
            </p:txBody>
          </p:sp>
        </p:grpSp>
        <p:grpSp>
          <p:nvGrpSpPr>
            <p:cNvPr id="17" name="Group 16">
              <a:extLst>
                <a:ext uri="{FF2B5EF4-FFF2-40B4-BE49-F238E27FC236}">
                  <a16:creationId xmlns:a16="http://schemas.microsoft.com/office/drawing/2014/main" id="{DA14D185-7B62-E9D4-7B26-E57E0249E446}"/>
                </a:ext>
              </a:extLst>
            </p:cNvPr>
            <p:cNvGrpSpPr/>
            <p:nvPr/>
          </p:nvGrpSpPr>
          <p:grpSpPr>
            <a:xfrm>
              <a:off x="1487169" y="4427244"/>
              <a:ext cx="4476894" cy="151363"/>
              <a:chOff x="3203191" y="4990542"/>
              <a:chExt cx="4728938" cy="195351"/>
            </a:xfrm>
          </p:grpSpPr>
          <p:sp>
            <p:nvSpPr>
              <p:cNvPr id="187" name="TextBox 186">
                <a:extLst>
                  <a:ext uri="{FF2B5EF4-FFF2-40B4-BE49-F238E27FC236}">
                    <a16:creationId xmlns:a16="http://schemas.microsoft.com/office/drawing/2014/main" id="{8D9D11C2-C762-410D-5E53-BC0E45E3769F}"/>
                  </a:ext>
                </a:extLst>
              </p:cNvPr>
              <p:cNvSpPr txBox="1"/>
              <p:nvPr/>
            </p:nvSpPr>
            <p:spPr>
              <a:xfrm>
                <a:off x="3203191"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a:t>
                </a:r>
              </a:p>
            </p:txBody>
          </p:sp>
          <p:sp>
            <p:nvSpPr>
              <p:cNvPr id="188" name="TextBox 187">
                <a:extLst>
                  <a:ext uri="{FF2B5EF4-FFF2-40B4-BE49-F238E27FC236}">
                    <a16:creationId xmlns:a16="http://schemas.microsoft.com/office/drawing/2014/main" id="{83704671-8794-C8F9-558C-A9E1DC9C8CE9}"/>
                  </a:ext>
                </a:extLst>
              </p:cNvPr>
              <p:cNvSpPr txBox="1"/>
              <p:nvPr/>
            </p:nvSpPr>
            <p:spPr>
              <a:xfrm>
                <a:off x="339110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2</a:t>
                </a:r>
              </a:p>
            </p:txBody>
          </p:sp>
          <p:sp>
            <p:nvSpPr>
              <p:cNvPr id="189" name="TextBox 188">
                <a:extLst>
                  <a:ext uri="{FF2B5EF4-FFF2-40B4-BE49-F238E27FC236}">
                    <a16:creationId xmlns:a16="http://schemas.microsoft.com/office/drawing/2014/main" id="{CE2D3871-ED46-CEEE-5E29-FF2E0FF0C9CE}"/>
                  </a:ext>
                </a:extLst>
              </p:cNvPr>
              <p:cNvSpPr txBox="1"/>
              <p:nvPr/>
            </p:nvSpPr>
            <p:spPr>
              <a:xfrm>
                <a:off x="358639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4</a:t>
                </a:r>
              </a:p>
            </p:txBody>
          </p:sp>
          <p:sp>
            <p:nvSpPr>
              <p:cNvPr id="190" name="TextBox 189">
                <a:extLst>
                  <a:ext uri="{FF2B5EF4-FFF2-40B4-BE49-F238E27FC236}">
                    <a16:creationId xmlns:a16="http://schemas.microsoft.com/office/drawing/2014/main" id="{5588D25B-2CA4-ED7E-2019-83124050AB31}"/>
                  </a:ext>
                </a:extLst>
              </p:cNvPr>
              <p:cNvSpPr txBox="1"/>
              <p:nvPr/>
            </p:nvSpPr>
            <p:spPr>
              <a:xfrm>
                <a:off x="3779345"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6</a:t>
                </a:r>
              </a:p>
            </p:txBody>
          </p:sp>
          <p:sp>
            <p:nvSpPr>
              <p:cNvPr id="191" name="TextBox 190">
                <a:extLst>
                  <a:ext uri="{FF2B5EF4-FFF2-40B4-BE49-F238E27FC236}">
                    <a16:creationId xmlns:a16="http://schemas.microsoft.com/office/drawing/2014/main" id="{40AC561E-4E2E-DC81-1C7B-1AB283BD4C23}"/>
                  </a:ext>
                </a:extLst>
              </p:cNvPr>
              <p:cNvSpPr txBox="1"/>
              <p:nvPr/>
            </p:nvSpPr>
            <p:spPr>
              <a:xfrm>
                <a:off x="3956912"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8</a:t>
                </a:r>
              </a:p>
            </p:txBody>
          </p:sp>
          <p:sp>
            <p:nvSpPr>
              <p:cNvPr id="192" name="TextBox 191">
                <a:extLst>
                  <a:ext uri="{FF2B5EF4-FFF2-40B4-BE49-F238E27FC236}">
                    <a16:creationId xmlns:a16="http://schemas.microsoft.com/office/drawing/2014/main" id="{68F2B2A2-DD88-C626-740B-475C92C77401}"/>
                  </a:ext>
                </a:extLst>
              </p:cNvPr>
              <p:cNvSpPr txBox="1"/>
              <p:nvPr/>
            </p:nvSpPr>
            <p:spPr>
              <a:xfrm>
                <a:off x="414985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10</a:t>
                </a:r>
              </a:p>
            </p:txBody>
          </p:sp>
          <p:sp>
            <p:nvSpPr>
              <p:cNvPr id="193" name="TextBox 192">
                <a:extLst>
                  <a:ext uri="{FF2B5EF4-FFF2-40B4-BE49-F238E27FC236}">
                    <a16:creationId xmlns:a16="http://schemas.microsoft.com/office/drawing/2014/main" id="{A9E4686C-B8CF-7EBF-FC14-352C06285ED2}"/>
                  </a:ext>
                </a:extLst>
              </p:cNvPr>
              <p:cNvSpPr txBox="1"/>
              <p:nvPr/>
            </p:nvSpPr>
            <p:spPr>
              <a:xfrm>
                <a:off x="4345436"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12</a:t>
                </a:r>
              </a:p>
            </p:txBody>
          </p:sp>
          <p:sp>
            <p:nvSpPr>
              <p:cNvPr id="194" name="TextBox 193">
                <a:extLst>
                  <a:ext uri="{FF2B5EF4-FFF2-40B4-BE49-F238E27FC236}">
                    <a16:creationId xmlns:a16="http://schemas.microsoft.com/office/drawing/2014/main" id="{0A610BBA-0637-81B5-3F5A-632EF4574BDD}"/>
                  </a:ext>
                </a:extLst>
              </p:cNvPr>
              <p:cNvSpPr txBox="1"/>
              <p:nvPr/>
            </p:nvSpPr>
            <p:spPr>
              <a:xfrm>
                <a:off x="453100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14</a:t>
                </a:r>
              </a:p>
            </p:txBody>
          </p:sp>
          <p:sp>
            <p:nvSpPr>
              <p:cNvPr id="195" name="TextBox 194">
                <a:extLst>
                  <a:ext uri="{FF2B5EF4-FFF2-40B4-BE49-F238E27FC236}">
                    <a16:creationId xmlns:a16="http://schemas.microsoft.com/office/drawing/2014/main" id="{2EF2B544-C3C2-93B5-9ED8-8BFFE5CF31D9}"/>
                  </a:ext>
                </a:extLst>
              </p:cNvPr>
              <p:cNvSpPr txBox="1"/>
              <p:nvPr/>
            </p:nvSpPr>
            <p:spPr>
              <a:xfrm>
                <a:off x="4721266"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16</a:t>
                </a:r>
              </a:p>
            </p:txBody>
          </p:sp>
          <p:sp>
            <p:nvSpPr>
              <p:cNvPr id="196" name="TextBox 195">
                <a:extLst>
                  <a:ext uri="{FF2B5EF4-FFF2-40B4-BE49-F238E27FC236}">
                    <a16:creationId xmlns:a16="http://schemas.microsoft.com/office/drawing/2014/main" id="{1EE6F758-E787-F70D-483B-40579315E54C}"/>
                  </a:ext>
                </a:extLst>
              </p:cNvPr>
              <p:cNvSpPr txBox="1"/>
              <p:nvPr/>
            </p:nvSpPr>
            <p:spPr>
              <a:xfrm>
                <a:off x="4926615"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18</a:t>
                </a:r>
              </a:p>
            </p:txBody>
          </p:sp>
          <p:sp>
            <p:nvSpPr>
              <p:cNvPr id="197" name="TextBox 196">
                <a:extLst>
                  <a:ext uri="{FF2B5EF4-FFF2-40B4-BE49-F238E27FC236}">
                    <a16:creationId xmlns:a16="http://schemas.microsoft.com/office/drawing/2014/main" id="{0DA01B4E-87DD-9E4D-FDFF-ADB7C7C95576}"/>
                  </a:ext>
                </a:extLst>
              </p:cNvPr>
              <p:cNvSpPr txBox="1"/>
              <p:nvPr/>
            </p:nvSpPr>
            <p:spPr>
              <a:xfrm>
                <a:off x="530244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22</a:t>
                </a:r>
              </a:p>
            </p:txBody>
          </p:sp>
          <p:sp>
            <p:nvSpPr>
              <p:cNvPr id="198" name="TextBox 197">
                <a:extLst>
                  <a:ext uri="{FF2B5EF4-FFF2-40B4-BE49-F238E27FC236}">
                    <a16:creationId xmlns:a16="http://schemas.microsoft.com/office/drawing/2014/main" id="{617EB345-CA6D-BEC4-4370-78497A0173CE}"/>
                  </a:ext>
                </a:extLst>
              </p:cNvPr>
              <p:cNvSpPr txBox="1"/>
              <p:nvPr/>
            </p:nvSpPr>
            <p:spPr>
              <a:xfrm>
                <a:off x="511687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20</a:t>
                </a:r>
              </a:p>
            </p:txBody>
          </p:sp>
          <p:sp>
            <p:nvSpPr>
              <p:cNvPr id="199" name="TextBox 198">
                <a:extLst>
                  <a:ext uri="{FF2B5EF4-FFF2-40B4-BE49-F238E27FC236}">
                    <a16:creationId xmlns:a16="http://schemas.microsoft.com/office/drawing/2014/main" id="{27EFE655-FC76-885D-A339-2E855AF1AC52}"/>
                  </a:ext>
                </a:extLst>
              </p:cNvPr>
              <p:cNvSpPr txBox="1"/>
              <p:nvPr/>
            </p:nvSpPr>
            <p:spPr>
              <a:xfrm>
                <a:off x="6066522"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30</a:t>
                </a:r>
              </a:p>
            </p:txBody>
          </p:sp>
          <p:sp>
            <p:nvSpPr>
              <p:cNvPr id="200" name="TextBox 199">
                <a:extLst>
                  <a:ext uri="{FF2B5EF4-FFF2-40B4-BE49-F238E27FC236}">
                    <a16:creationId xmlns:a16="http://schemas.microsoft.com/office/drawing/2014/main" id="{95C7B1B5-A5F0-5FD8-4CB8-95E30B3C9A0E}"/>
                  </a:ext>
                </a:extLst>
              </p:cNvPr>
              <p:cNvSpPr txBox="1"/>
              <p:nvPr/>
            </p:nvSpPr>
            <p:spPr>
              <a:xfrm>
                <a:off x="6256775"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32</a:t>
                </a:r>
              </a:p>
            </p:txBody>
          </p:sp>
          <p:sp>
            <p:nvSpPr>
              <p:cNvPr id="201" name="TextBox 200">
                <a:extLst>
                  <a:ext uri="{FF2B5EF4-FFF2-40B4-BE49-F238E27FC236}">
                    <a16:creationId xmlns:a16="http://schemas.microsoft.com/office/drawing/2014/main" id="{F718980B-A104-4F8F-1F56-7459142942FE}"/>
                  </a:ext>
                </a:extLst>
              </p:cNvPr>
              <p:cNvSpPr txBox="1"/>
              <p:nvPr/>
            </p:nvSpPr>
            <p:spPr>
              <a:xfrm>
                <a:off x="6452412"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34</a:t>
                </a:r>
              </a:p>
            </p:txBody>
          </p:sp>
          <p:sp>
            <p:nvSpPr>
              <p:cNvPr id="202" name="TextBox 201">
                <a:extLst>
                  <a:ext uri="{FF2B5EF4-FFF2-40B4-BE49-F238E27FC236}">
                    <a16:creationId xmlns:a16="http://schemas.microsoft.com/office/drawing/2014/main" id="{E159D6A2-B577-D2A2-6238-0F43CC547AB7}"/>
                  </a:ext>
                </a:extLst>
              </p:cNvPr>
              <p:cNvSpPr txBox="1"/>
              <p:nvPr/>
            </p:nvSpPr>
            <p:spPr>
              <a:xfrm>
                <a:off x="6647702"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36</a:t>
                </a:r>
              </a:p>
            </p:txBody>
          </p:sp>
          <p:sp>
            <p:nvSpPr>
              <p:cNvPr id="203" name="TextBox 202">
                <a:extLst>
                  <a:ext uri="{FF2B5EF4-FFF2-40B4-BE49-F238E27FC236}">
                    <a16:creationId xmlns:a16="http://schemas.microsoft.com/office/drawing/2014/main" id="{1E8778DB-EA52-98BF-961F-8829ACE323D8}"/>
                  </a:ext>
                </a:extLst>
              </p:cNvPr>
              <p:cNvSpPr txBox="1"/>
              <p:nvPr/>
            </p:nvSpPr>
            <p:spPr>
              <a:xfrm>
                <a:off x="6842990"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38</a:t>
                </a:r>
              </a:p>
            </p:txBody>
          </p:sp>
          <p:sp>
            <p:nvSpPr>
              <p:cNvPr id="204" name="TextBox 203">
                <a:extLst>
                  <a:ext uri="{FF2B5EF4-FFF2-40B4-BE49-F238E27FC236}">
                    <a16:creationId xmlns:a16="http://schemas.microsoft.com/office/drawing/2014/main" id="{F367BC96-5577-9A02-7A4A-6179BD8BE38C}"/>
                  </a:ext>
                </a:extLst>
              </p:cNvPr>
              <p:cNvSpPr txBox="1"/>
              <p:nvPr/>
            </p:nvSpPr>
            <p:spPr>
              <a:xfrm>
                <a:off x="721144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42</a:t>
                </a:r>
              </a:p>
            </p:txBody>
          </p:sp>
          <p:sp>
            <p:nvSpPr>
              <p:cNvPr id="205" name="TextBox 204">
                <a:extLst>
                  <a:ext uri="{FF2B5EF4-FFF2-40B4-BE49-F238E27FC236}">
                    <a16:creationId xmlns:a16="http://schemas.microsoft.com/office/drawing/2014/main" id="{9154BC30-975F-9E61-48D1-AFB16E62704A}"/>
                  </a:ext>
                </a:extLst>
              </p:cNvPr>
              <p:cNvSpPr txBox="1"/>
              <p:nvPr/>
            </p:nvSpPr>
            <p:spPr>
              <a:xfrm>
                <a:off x="7023533"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40</a:t>
                </a:r>
              </a:p>
            </p:txBody>
          </p:sp>
          <p:sp>
            <p:nvSpPr>
              <p:cNvPr id="206" name="TextBox 205">
                <a:extLst>
                  <a:ext uri="{FF2B5EF4-FFF2-40B4-BE49-F238E27FC236}">
                    <a16:creationId xmlns:a16="http://schemas.microsoft.com/office/drawing/2014/main" id="{1A64A75B-764D-5F6A-34B5-2585FF265D55}"/>
                  </a:ext>
                </a:extLst>
              </p:cNvPr>
              <p:cNvSpPr txBox="1"/>
              <p:nvPr/>
            </p:nvSpPr>
            <p:spPr>
              <a:xfrm>
                <a:off x="5497740"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24</a:t>
                </a:r>
              </a:p>
            </p:txBody>
          </p:sp>
          <p:sp>
            <p:nvSpPr>
              <p:cNvPr id="207" name="TextBox 206">
                <a:extLst>
                  <a:ext uri="{FF2B5EF4-FFF2-40B4-BE49-F238E27FC236}">
                    <a16:creationId xmlns:a16="http://schemas.microsoft.com/office/drawing/2014/main" id="{ACF9BF09-00C7-E0A3-546F-C6B6563091E3}"/>
                  </a:ext>
                </a:extLst>
              </p:cNvPr>
              <p:cNvSpPr txBox="1"/>
              <p:nvPr/>
            </p:nvSpPr>
            <p:spPr>
              <a:xfrm>
                <a:off x="5688341"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26</a:t>
                </a:r>
              </a:p>
            </p:txBody>
          </p:sp>
          <p:sp>
            <p:nvSpPr>
              <p:cNvPr id="208" name="TextBox 207">
                <a:extLst>
                  <a:ext uri="{FF2B5EF4-FFF2-40B4-BE49-F238E27FC236}">
                    <a16:creationId xmlns:a16="http://schemas.microsoft.com/office/drawing/2014/main" id="{3FFAC7AA-3550-D15E-4ED8-1021CBE38EEF}"/>
                  </a:ext>
                </a:extLst>
              </p:cNvPr>
              <p:cNvSpPr txBox="1"/>
              <p:nvPr/>
            </p:nvSpPr>
            <p:spPr>
              <a:xfrm>
                <a:off x="587122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28</a:t>
                </a:r>
              </a:p>
            </p:txBody>
          </p:sp>
          <p:sp>
            <p:nvSpPr>
              <p:cNvPr id="209" name="TextBox 208">
                <a:extLst>
                  <a:ext uri="{FF2B5EF4-FFF2-40B4-BE49-F238E27FC236}">
                    <a16:creationId xmlns:a16="http://schemas.microsoft.com/office/drawing/2014/main" id="{8ADFBA97-7A1B-05A7-713E-00336CBF5BB0}"/>
                  </a:ext>
                </a:extLst>
              </p:cNvPr>
              <p:cNvSpPr txBox="1"/>
              <p:nvPr/>
            </p:nvSpPr>
            <p:spPr>
              <a:xfrm>
                <a:off x="7399353"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44</a:t>
                </a:r>
              </a:p>
            </p:txBody>
          </p:sp>
          <p:sp>
            <p:nvSpPr>
              <p:cNvPr id="210" name="TextBox 209">
                <a:extLst>
                  <a:ext uri="{FF2B5EF4-FFF2-40B4-BE49-F238E27FC236}">
                    <a16:creationId xmlns:a16="http://schemas.microsoft.com/office/drawing/2014/main" id="{D95FB1A0-272B-E18C-CC01-4CA3DD584D15}"/>
                  </a:ext>
                </a:extLst>
              </p:cNvPr>
              <p:cNvSpPr txBox="1"/>
              <p:nvPr/>
            </p:nvSpPr>
            <p:spPr>
              <a:xfrm>
                <a:off x="7602853"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46</a:t>
                </a:r>
              </a:p>
            </p:txBody>
          </p:sp>
          <p:sp>
            <p:nvSpPr>
              <p:cNvPr id="211" name="TextBox 210">
                <a:extLst>
                  <a:ext uri="{FF2B5EF4-FFF2-40B4-BE49-F238E27FC236}">
                    <a16:creationId xmlns:a16="http://schemas.microsoft.com/office/drawing/2014/main" id="{169B8837-61BD-B4E0-53B0-1B11EDBEDC57}"/>
                  </a:ext>
                </a:extLst>
              </p:cNvPr>
              <p:cNvSpPr txBox="1"/>
              <p:nvPr/>
            </p:nvSpPr>
            <p:spPr>
              <a:xfrm>
                <a:off x="779119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48</a:t>
                </a:r>
              </a:p>
            </p:txBody>
          </p:sp>
        </p:grpSp>
        <p:sp>
          <p:nvSpPr>
            <p:cNvPr id="18" name="TextBox 17">
              <a:extLst>
                <a:ext uri="{FF2B5EF4-FFF2-40B4-BE49-F238E27FC236}">
                  <a16:creationId xmlns:a16="http://schemas.microsoft.com/office/drawing/2014/main" id="{AF06930D-0879-F36D-0755-BAF8F790DB71}"/>
                </a:ext>
              </a:extLst>
            </p:cNvPr>
            <p:cNvSpPr txBox="1"/>
            <p:nvPr/>
          </p:nvSpPr>
          <p:spPr>
            <a:xfrm>
              <a:off x="1942427" y="4594699"/>
              <a:ext cx="3550727" cy="14292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3F4444"/>
                  </a:solidFill>
                  <a:effectLst/>
                  <a:uLnTx/>
                  <a:uFillTx/>
                  <a:latin typeface="Calibri"/>
                  <a:ea typeface="+mn-ea"/>
                  <a:cs typeface="+mn-cs"/>
                </a:rPr>
                <a:t>Время с момента рандомизации (месяцы)</a:t>
              </a:r>
            </a:p>
          </p:txBody>
        </p:sp>
        <p:sp>
          <p:nvSpPr>
            <p:cNvPr id="19" name="TextBox 18">
              <a:extLst>
                <a:ext uri="{FF2B5EF4-FFF2-40B4-BE49-F238E27FC236}">
                  <a16:creationId xmlns:a16="http://schemas.microsoft.com/office/drawing/2014/main" id="{BBF56AA3-32E4-B11E-350D-E6CA25ED41BB}"/>
                </a:ext>
              </a:extLst>
            </p:cNvPr>
            <p:cNvSpPr txBox="1"/>
            <p:nvPr/>
          </p:nvSpPr>
          <p:spPr>
            <a:xfrm rot="16200000">
              <a:off x="-157323" y="3110454"/>
              <a:ext cx="223865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3F4444"/>
                  </a:solidFill>
                  <a:effectLst/>
                  <a:uLnTx/>
                  <a:uFillTx/>
                  <a:latin typeface="Calibri"/>
                  <a:ea typeface="+mn-ea"/>
                  <a:cs typeface="+mn-cs"/>
                </a:rPr>
                <a:t>Вероятность отсутствия первой последующей терапии или смерти</a:t>
              </a:r>
            </a:p>
          </p:txBody>
        </p:sp>
        <p:grpSp>
          <p:nvGrpSpPr>
            <p:cNvPr id="20" name="Group 19">
              <a:extLst>
                <a:ext uri="{FF2B5EF4-FFF2-40B4-BE49-F238E27FC236}">
                  <a16:creationId xmlns:a16="http://schemas.microsoft.com/office/drawing/2014/main" id="{773C1263-4CE4-9704-C6E3-B2CBFDF5DC84}"/>
                </a:ext>
              </a:extLst>
            </p:cNvPr>
            <p:cNvGrpSpPr/>
            <p:nvPr/>
          </p:nvGrpSpPr>
          <p:grpSpPr>
            <a:xfrm>
              <a:off x="457454" y="4746213"/>
              <a:ext cx="5527051" cy="265212"/>
              <a:chOff x="516420" y="4837035"/>
              <a:chExt cx="4987576" cy="265212"/>
            </a:xfrm>
          </p:grpSpPr>
          <p:grpSp>
            <p:nvGrpSpPr>
              <p:cNvPr id="158" name="Group 157">
                <a:extLst>
                  <a:ext uri="{FF2B5EF4-FFF2-40B4-BE49-F238E27FC236}">
                    <a16:creationId xmlns:a16="http://schemas.microsoft.com/office/drawing/2014/main" id="{4ADE90FF-25DF-BDA6-B933-D2CC0BC0E7ED}"/>
                  </a:ext>
                </a:extLst>
              </p:cNvPr>
              <p:cNvGrpSpPr/>
              <p:nvPr/>
            </p:nvGrpSpPr>
            <p:grpSpPr>
              <a:xfrm>
                <a:off x="516420" y="4837035"/>
                <a:ext cx="1445287" cy="265212"/>
                <a:chOff x="1292524" y="-719468"/>
                <a:chExt cx="1369962" cy="265212"/>
              </a:xfrm>
            </p:grpSpPr>
            <p:sp>
              <p:nvSpPr>
                <p:cNvPr id="185" name="TextBox 184">
                  <a:extLst>
                    <a:ext uri="{FF2B5EF4-FFF2-40B4-BE49-F238E27FC236}">
                      <a16:creationId xmlns:a16="http://schemas.microsoft.com/office/drawing/2014/main" id="{BCA8D8D9-BAFA-7EEA-073D-6DFA2004B46B}"/>
                    </a:ext>
                  </a:extLst>
                </p:cNvPr>
                <p:cNvSpPr txBox="1"/>
                <p:nvPr/>
              </p:nvSpPr>
              <p:spPr>
                <a:xfrm>
                  <a:off x="1292524" y="-719468"/>
                  <a:ext cx="1369962" cy="8337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1" i="0" u="none" strike="noStrike" kern="1200" cap="none" spc="0" normalizeH="0" baseline="0" noProof="0" dirty="0">
                      <a:ln>
                        <a:noFill/>
                      </a:ln>
                      <a:solidFill>
                        <a:srgbClr val="3F4444"/>
                      </a:solidFill>
                      <a:effectLst/>
                      <a:uLnTx/>
                      <a:uFillTx/>
                      <a:latin typeface="Calibri"/>
                      <a:ea typeface="+mn-ea"/>
                      <a:cs typeface="+mn-cs"/>
                    </a:rPr>
                    <a:t>Кол-во пациентов, подверженных риску</a:t>
                  </a:r>
                </a:p>
              </p:txBody>
            </p:sp>
            <p:sp>
              <p:nvSpPr>
                <p:cNvPr id="186" name="TextBox 185">
                  <a:extLst>
                    <a:ext uri="{FF2B5EF4-FFF2-40B4-BE49-F238E27FC236}">
                      <a16:creationId xmlns:a16="http://schemas.microsoft.com/office/drawing/2014/main" id="{4F5ED8CF-5D62-2790-A9D4-39E8B87423AE}"/>
                    </a:ext>
                  </a:extLst>
                </p:cNvPr>
                <p:cNvSpPr txBox="1"/>
                <p:nvPr/>
              </p:nvSpPr>
              <p:spPr>
                <a:xfrm>
                  <a:off x="1292524" y="-620996"/>
                  <a:ext cx="977498" cy="1667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1" i="0" u="none" strike="noStrike" kern="1200" cap="none" spc="0" normalizeH="0" baseline="0" noProof="0" dirty="0">
                      <a:ln>
                        <a:noFill/>
                      </a:ln>
                      <a:solidFill>
                        <a:srgbClr val="830051"/>
                      </a:solidFill>
                      <a:effectLst/>
                      <a:uLnTx/>
                      <a:uFillTx/>
                      <a:latin typeface="Calibri"/>
                      <a:ea typeface="+mn-ea"/>
                      <a:cs typeface="+mn-cs"/>
                    </a:rPr>
                    <a:t>Олапариб + абиратерон</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1" i="0" u="none" strike="noStrike" kern="1200" cap="none" spc="0" normalizeH="0" baseline="0" noProof="0" dirty="0">
                      <a:ln>
                        <a:noFill/>
                      </a:ln>
                      <a:solidFill>
                        <a:schemeClr val="tx2"/>
                      </a:solidFill>
                      <a:effectLst/>
                      <a:uLnTx/>
                      <a:uFillTx/>
                      <a:latin typeface="Calibri"/>
                      <a:ea typeface="+mn-ea"/>
                      <a:cs typeface="+mn-cs"/>
                    </a:rPr>
                    <a:t>Плацебо + абиратерон</a:t>
                  </a:r>
                </a:p>
              </p:txBody>
            </p:sp>
          </p:grpSp>
          <p:grpSp>
            <p:nvGrpSpPr>
              <p:cNvPr id="159" name="Group 158">
                <a:extLst>
                  <a:ext uri="{FF2B5EF4-FFF2-40B4-BE49-F238E27FC236}">
                    <a16:creationId xmlns:a16="http://schemas.microsoft.com/office/drawing/2014/main" id="{C6D4FD47-35C8-FF49-956E-9EE1795F0E07}"/>
                  </a:ext>
                </a:extLst>
              </p:cNvPr>
              <p:cNvGrpSpPr/>
              <p:nvPr/>
            </p:nvGrpSpPr>
            <p:grpSpPr>
              <a:xfrm>
                <a:off x="1427400" y="4934364"/>
                <a:ext cx="4076596" cy="166740"/>
                <a:chOff x="3187972" y="5496057"/>
                <a:chExt cx="4765083" cy="166740"/>
              </a:xfrm>
            </p:grpSpPr>
            <p:sp>
              <p:nvSpPr>
                <p:cNvPr id="160" name="TextBox 159">
                  <a:extLst>
                    <a:ext uri="{FF2B5EF4-FFF2-40B4-BE49-F238E27FC236}">
                      <a16:creationId xmlns:a16="http://schemas.microsoft.com/office/drawing/2014/main" id="{FB330EE2-6896-6EA7-2804-660D52C2F64A}"/>
                    </a:ext>
                  </a:extLst>
                </p:cNvPr>
                <p:cNvSpPr txBox="1"/>
                <p:nvPr/>
              </p:nvSpPr>
              <p:spPr>
                <a:xfrm>
                  <a:off x="7192962"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5</a:t>
                  </a:r>
                </a:p>
              </p:txBody>
            </p:sp>
            <p:sp>
              <p:nvSpPr>
                <p:cNvPr id="161" name="TextBox 160">
                  <a:extLst>
                    <a:ext uri="{FF2B5EF4-FFF2-40B4-BE49-F238E27FC236}">
                      <a16:creationId xmlns:a16="http://schemas.microsoft.com/office/drawing/2014/main" id="{B009A764-DE74-6C01-592A-1F1641BD551C}"/>
                    </a:ext>
                  </a:extLst>
                </p:cNvPr>
                <p:cNvSpPr txBox="1"/>
                <p:nvPr/>
              </p:nvSpPr>
              <p:spPr>
                <a:xfrm>
                  <a:off x="7002009"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9</a:t>
                  </a:r>
                </a:p>
              </p:txBody>
            </p:sp>
            <p:sp>
              <p:nvSpPr>
                <p:cNvPr id="162" name="TextBox 161">
                  <a:extLst>
                    <a:ext uri="{FF2B5EF4-FFF2-40B4-BE49-F238E27FC236}">
                      <a16:creationId xmlns:a16="http://schemas.microsoft.com/office/drawing/2014/main" id="{87CC47F4-1ADB-581E-70F4-580AC42125B1}"/>
                    </a:ext>
                  </a:extLst>
                </p:cNvPr>
                <p:cNvSpPr txBox="1"/>
                <p:nvPr/>
              </p:nvSpPr>
              <p:spPr>
                <a:xfrm>
                  <a:off x="6821104"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47</a:t>
                  </a:r>
                </a:p>
              </p:txBody>
            </p:sp>
            <p:sp>
              <p:nvSpPr>
                <p:cNvPr id="163" name="TextBox 162">
                  <a:extLst>
                    <a:ext uri="{FF2B5EF4-FFF2-40B4-BE49-F238E27FC236}">
                      <a16:creationId xmlns:a16="http://schemas.microsoft.com/office/drawing/2014/main" id="{701D8115-3D3F-A944-1D99-F4C31EE6992D}"/>
                    </a:ext>
                  </a:extLst>
                </p:cNvPr>
                <p:cNvSpPr txBox="1"/>
                <p:nvPr/>
              </p:nvSpPr>
              <p:spPr>
                <a:xfrm>
                  <a:off x="6625126"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9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74</a:t>
                  </a:r>
                </a:p>
              </p:txBody>
            </p:sp>
            <p:sp>
              <p:nvSpPr>
                <p:cNvPr id="164" name="TextBox 163">
                  <a:extLst>
                    <a:ext uri="{FF2B5EF4-FFF2-40B4-BE49-F238E27FC236}">
                      <a16:creationId xmlns:a16="http://schemas.microsoft.com/office/drawing/2014/main" id="{6B6D2210-CCE4-FCA8-F57A-94B36E417181}"/>
                    </a:ext>
                  </a:extLst>
                </p:cNvPr>
                <p:cNvSpPr txBox="1"/>
                <p:nvPr/>
              </p:nvSpPr>
              <p:spPr>
                <a:xfrm>
                  <a:off x="6434174"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89</a:t>
                  </a:r>
                </a:p>
              </p:txBody>
            </p:sp>
            <p:sp>
              <p:nvSpPr>
                <p:cNvPr id="165" name="TextBox 164">
                  <a:extLst>
                    <a:ext uri="{FF2B5EF4-FFF2-40B4-BE49-F238E27FC236}">
                      <a16:creationId xmlns:a16="http://schemas.microsoft.com/office/drawing/2014/main" id="{7EA22C04-C122-A93A-6CFB-A93B03FACD92}"/>
                    </a:ext>
                  </a:extLst>
                </p:cNvPr>
                <p:cNvSpPr txBox="1"/>
                <p:nvPr/>
              </p:nvSpPr>
              <p:spPr>
                <a:xfrm>
                  <a:off x="6238197"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5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12</a:t>
                  </a:r>
                </a:p>
              </p:txBody>
            </p:sp>
            <p:sp>
              <p:nvSpPr>
                <p:cNvPr id="166" name="TextBox 165">
                  <a:extLst>
                    <a:ext uri="{FF2B5EF4-FFF2-40B4-BE49-F238E27FC236}">
                      <a16:creationId xmlns:a16="http://schemas.microsoft.com/office/drawing/2014/main" id="{97672887-44EB-21C2-9D1F-4184C5DF8417}"/>
                    </a:ext>
                  </a:extLst>
                </p:cNvPr>
                <p:cNvSpPr txBox="1"/>
                <p:nvPr/>
              </p:nvSpPr>
              <p:spPr>
                <a:xfrm>
                  <a:off x="6047244"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7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24</a:t>
                  </a:r>
                </a:p>
              </p:txBody>
            </p:sp>
            <p:sp>
              <p:nvSpPr>
                <p:cNvPr id="167" name="TextBox 166">
                  <a:extLst>
                    <a:ext uri="{FF2B5EF4-FFF2-40B4-BE49-F238E27FC236}">
                      <a16:creationId xmlns:a16="http://schemas.microsoft.com/office/drawing/2014/main" id="{7B9970ED-EBE5-8626-3BD1-6DC0E324034C}"/>
                    </a:ext>
                  </a:extLst>
                </p:cNvPr>
                <p:cNvSpPr txBox="1"/>
                <p:nvPr/>
              </p:nvSpPr>
              <p:spPr>
                <a:xfrm>
                  <a:off x="5851267"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7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33</a:t>
                  </a:r>
                </a:p>
              </p:txBody>
            </p:sp>
            <p:sp>
              <p:nvSpPr>
                <p:cNvPr id="168" name="TextBox 167">
                  <a:extLst>
                    <a:ext uri="{FF2B5EF4-FFF2-40B4-BE49-F238E27FC236}">
                      <a16:creationId xmlns:a16="http://schemas.microsoft.com/office/drawing/2014/main" id="{9DEF1865-FE27-E605-A4B6-80E38353C517}"/>
                    </a:ext>
                  </a:extLst>
                </p:cNvPr>
                <p:cNvSpPr txBox="1"/>
                <p:nvPr/>
              </p:nvSpPr>
              <p:spPr>
                <a:xfrm>
                  <a:off x="5670362"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8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45</a:t>
                  </a:r>
                </a:p>
              </p:txBody>
            </p:sp>
            <p:sp>
              <p:nvSpPr>
                <p:cNvPr id="169" name="TextBox 168">
                  <a:extLst>
                    <a:ext uri="{FF2B5EF4-FFF2-40B4-BE49-F238E27FC236}">
                      <a16:creationId xmlns:a16="http://schemas.microsoft.com/office/drawing/2014/main" id="{8272B98A-96BB-22C0-22F1-D8206CD380DB}"/>
                    </a:ext>
                  </a:extLst>
                </p:cNvPr>
                <p:cNvSpPr txBox="1"/>
                <p:nvPr/>
              </p:nvSpPr>
              <p:spPr>
                <a:xfrm>
                  <a:off x="5479409"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53</a:t>
                  </a:r>
                </a:p>
              </p:txBody>
            </p:sp>
            <p:sp>
              <p:nvSpPr>
                <p:cNvPr id="170" name="TextBox 169">
                  <a:extLst>
                    <a:ext uri="{FF2B5EF4-FFF2-40B4-BE49-F238E27FC236}">
                      <a16:creationId xmlns:a16="http://schemas.microsoft.com/office/drawing/2014/main" id="{75057768-2277-5362-6DFD-4827C490AD4D}"/>
                    </a:ext>
                  </a:extLst>
                </p:cNvPr>
                <p:cNvSpPr txBox="1"/>
                <p:nvPr/>
              </p:nvSpPr>
              <p:spPr>
                <a:xfrm>
                  <a:off x="5283432"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70</a:t>
                  </a:r>
                </a:p>
              </p:txBody>
            </p:sp>
            <p:sp>
              <p:nvSpPr>
                <p:cNvPr id="171" name="TextBox 170">
                  <a:extLst>
                    <a:ext uri="{FF2B5EF4-FFF2-40B4-BE49-F238E27FC236}">
                      <a16:creationId xmlns:a16="http://schemas.microsoft.com/office/drawing/2014/main" id="{E777DCF2-0718-5C6B-E208-501079DF9DC4}"/>
                    </a:ext>
                  </a:extLst>
                </p:cNvPr>
                <p:cNvSpPr txBox="1"/>
                <p:nvPr/>
              </p:nvSpPr>
              <p:spPr>
                <a:xfrm>
                  <a:off x="5097502"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87</a:t>
                  </a:r>
                </a:p>
              </p:txBody>
            </p:sp>
            <p:sp>
              <p:nvSpPr>
                <p:cNvPr id="172" name="TextBox 171">
                  <a:extLst>
                    <a:ext uri="{FF2B5EF4-FFF2-40B4-BE49-F238E27FC236}">
                      <a16:creationId xmlns:a16="http://schemas.microsoft.com/office/drawing/2014/main" id="{E2B8354F-9BE4-B009-3702-0DE81AB3947D}"/>
                    </a:ext>
                  </a:extLst>
                </p:cNvPr>
                <p:cNvSpPr txBox="1"/>
                <p:nvPr/>
              </p:nvSpPr>
              <p:spPr>
                <a:xfrm>
                  <a:off x="4906549"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3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03</a:t>
                  </a:r>
                </a:p>
              </p:txBody>
            </p:sp>
            <p:sp>
              <p:nvSpPr>
                <p:cNvPr id="173" name="TextBox 172">
                  <a:extLst>
                    <a:ext uri="{FF2B5EF4-FFF2-40B4-BE49-F238E27FC236}">
                      <a16:creationId xmlns:a16="http://schemas.microsoft.com/office/drawing/2014/main" id="{BAE9DECA-61E1-9F24-3DBF-12D1E9A894A3}"/>
                    </a:ext>
                  </a:extLst>
                </p:cNvPr>
                <p:cNvSpPr txBox="1"/>
                <p:nvPr/>
              </p:nvSpPr>
              <p:spPr>
                <a:xfrm>
                  <a:off x="4705548"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5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22</a:t>
                  </a:r>
                </a:p>
              </p:txBody>
            </p:sp>
            <p:sp>
              <p:nvSpPr>
                <p:cNvPr id="174" name="TextBox 173">
                  <a:extLst>
                    <a:ext uri="{FF2B5EF4-FFF2-40B4-BE49-F238E27FC236}">
                      <a16:creationId xmlns:a16="http://schemas.microsoft.com/office/drawing/2014/main" id="{CD3A0AF4-28C0-2888-B2AB-BC4A9AA1E33F}"/>
                    </a:ext>
                  </a:extLst>
                </p:cNvPr>
                <p:cNvSpPr txBox="1"/>
                <p:nvPr/>
              </p:nvSpPr>
              <p:spPr>
                <a:xfrm>
                  <a:off x="4514595"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7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50</a:t>
                  </a:r>
                </a:p>
              </p:txBody>
            </p:sp>
            <p:sp>
              <p:nvSpPr>
                <p:cNvPr id="175" name="TextBox 174">
                  <a:extLst>
                    <a:ext uri="{FF2B5EF4-FFF2-40B4-BE49-F238E27FC236}">
                      <a16:creationId xmlns:a16="http://schemas.microsoft.com/office/drawing/2014/main" id="{7A6022AF-5E08-19D9-A03E-03B167542432}"/>
                    </a:ext>
                  </a:extLst>
                </p:cNvPr>
                <p:cNvSpPr txBox="1"/>
                <p:nvPr/>
              </p:nvSpPr>
              <p:spPr>
                <a:xfrm>
                  <a:off x="4328666"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9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73</a:t>
                  </a:r>
                </a:p>
              </p:txBody>
            </p:sp>
            <p:sp>
              <p:nvSpPr>
                <p:cNvPr id="176" name="TextBox 175">
                  <a:extLst>
                    <a:ext uri="{FF2B5EF4-FFF2-40B4-BE49-F238E27FC236}">
                      <a16:creationId xmlns:a16="http://schemas.microsoft.com/office/drawing/2014/main" id="{BC6E559C-4E75-ACBF-CB23-F484A30A4450}"/>
                    </a:ext>
                  </a:extLst>
                </p:cNvPr>
                <p:cNvSpPr txBox="1"/>
                <p:nvPr/>
              </p:nvSpPr>
              <p:spPr>
                <a:xfrm>
                  <a:off x="4132689"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03</a:t>
                  </a:r>
                </a:p>
              </p:txBody>
            </p:sp>
            <p:sp>
              <p:nvSpPr>
                <p:cNvPr id="177" name="TextBox 176">
                  <a:extLst>
                    <a:ext uri="{FF2B5EF4-FFF2-40B4-BE49-F238E27FC236}">
                      <a16:creationId xmlns:a16="http://schemas.microsoft.com/office/drawing/2014/main" id="{EBC61EB9-FD4D-D28A-0379-DF01D4BC7B16}"/>
                    </a:ext>
                  </a:extLst>
                </p:cNvPr>
                <p:cNvSpPr txBox="1"/>
                <p:nvPr/>
              </p:nvSpPr>
              <p:spPr>
                <a:xfrm>
                  <a:off x="3941736"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19</a:t>
                  </a:r>
                </a:p>
              </p:txBody>
            </p:sp>
            <p:sp>
              <p:nvSpPr>
                <p:cNvPr id="178" name="TextBox 177">
                  <a:extLst>
                    <a:ext uri="{FF2B5EF4-FFF2-40B4-BE49-F238E27FC236}">
                      <a16:creationId xmlns:a16="http://schemas.microsoft.com/office/drawing/2014/main" id="{AD4E80F3-76C0-804D-8957-F8DAC66328B8}"/>
                    </a:ext>
                  </a:extLst>
                </p:cNvPr>
                <p:cNvSpPr txBox="1"/>
                <p:nvPr/>
              </p:nvSpPr>
              <p:spPr>
                <a:xfrm>
                  <a:off x="3760831"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5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45</a:t>
                  </a:r>
                </a:p>
              </p:txBody>
            </p:sp>
            <p:sp>
              <p:nvSpPr>
                <p:cNvPr id="179" name="TextBox 178">
                  <a:extLst>
                    <a:ext uri="{FF2B5EF4-FFF2-40B4-BE49-F238E27FC236}">
                      <a16:creationId xmlns:a16="http://schemas.microsoft.com/office/drawing/2014/main" id="{636D76AE-56D6-FC62-C58A-2A59224D6F5E}"/>
                    </a:ext>
                  </a:extLst>
                </p:cNvPr>
                <p:cNvSpPr txBox="1"/>
                <p:nvPr/>
              </p:nvSpPr>
              <p:spPr>
                <a:xfrm>
                  <a:off x="3569878"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7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69</a:t>
                  </a:r>
                </a:p>
              </p:txBody>
            </p:sp>
            <p:sp>
              <p:nvSpPr>
                <p:cNvPr id="180" name="TextBox 179">
                  <a:extLst>
                    <a:ext uri="{FF2B5EF4-FFF2-40B4-BE49-F238E27FC236}">
                      <a16:creationId xmlns:a16="http://schemas.microsoft.com/office/drawing/2014/main" id="{56AA65B0-49D3-4FC5-2F41-6AB77993C5D6}"/>
                    </a:ext>
                  </a:extLst>
                </p:cNvPr>
                <p:cNvSpPr txBox="1"/>
                <p:nvPr/>
              </p:nvSpPr>
              <p:spPr>
                <a:xfrm>
                  <a:off x="3373900"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9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91</a:t>
                  </a:r>
                </a:p>
              </p:txBody>
            </p:sp>
            <p:sp>
              <p:nvSpPr>
                <p:cNvPr id="181" name="TextBox 180">
                  <a:extLst>
                    <a:ext uri="{FF2B5EF4-FFF2-40B4-BE49-F238E27FC236}">
                      <a16:creationId xmlns:a16="http://schemas.microsoft.com/office/drawing/2014/main" id="{17AE8053-D5A9-A06C-C5CE-BAA95AF293B9}"/>
                    </a:ext>
                  </a:extLst>
                </p:cNvPr>
                <p:cNvSpPr txBox="1"/>
                <p:nvPr/>
              </p:nvSpPr>
              <p:spPr>
                <a:xfrm>
                  <a:off x="3187972"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97</a:t>
                  </a:r>
                </a:p>
              </p:txBody>
            </p:sp>
            <p:sp>
              <p:nvSpPr>
                <p:cNvPr id="182" name="TextBox 181">
                  <a:extLst>
                    <a:ext uri="{FF2B5EF4-FFF2-40B4-BE49-F238E27FC236}">
                      <a16:creationId xmlns:a16="http://schemas.microsoft.com/office/drawing/2014/main" id="{80919CB5-BF6D-B16B-EBC3-3DE592EE5CDD}"/>
                    </a:ext>
                  </a:extLst>
                </p:cNvPr>
                <p:cNvSpPr txBox="1"/>
                <p:nvPr/>
              </p:nvSpPr>
              <p:spPr>
                <a:xfrm>
                  <a:off x="7378891"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5</a:t>
                  </a:r>
                </a:p>
              </p:txBody>
            </p:sp>
            <p:sp>
              <p:nvSpPr>
                <p:cNvPr id="183" name="TextBox 182">
                  <a:extLst>
                    <a:ext uri="{FF2B5EF4-FFF2-40B4-BE49-F238E27FC236}">
                      <a16:creationId xmlns:a16="http://schemas.microsoft.com/office/drawing/2014/main" id="{ABCE83D9-F459-8D0F-80FC-5F7EAC7F7336}"/>
                    </a:ext>
                  </a:extLst>
                </p:cNvPr>
                <p:cNvSpPr txBox="1"/>
                <p:nvPr/>
              </p:nvSpPr>
              <p:spPr>
                <a:xfrm>
                  <a:off x="7574868"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0</a:t>
                  </a:r>
                </a:p>
              </p:txBody>
            </p:sp>
            <p:sp>
              <p:nvSpPr>
                <p:cNvPr id="184" name="TextBox 183">
                  <a:extLst>
                    <a:ext uri="{FF2B5EF4-FFF2-40B4-BE49-F238E27FC236}">
                      <a16:creationId xmlns:a16="http://schemas.microsoft.com/office/drawing/2014/main" id="{93E0D231-467D-C62E-F347-97978677D5DB}"/>
                    </a:ext>
                  </a:extLst>
                </p:cNvPr>
                <p:cNvSpPr txBox="1"/>
                <p:nvPr/>
              </p:nvSpPr>
              <p:spPr>
                <a:xfrm>
                  <a:off x="7770846"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0</a:t>
                  </a:r>
                </a:p>
              </p:txBody>
            </p:sp>
          </p:grpSp>
        </p:grpSp>
        <p:grpSp>
          <p:nvGrpSpPr>
            <p:cNvPr id="21" name="Graphic 56">
              <a:extLst>
                <a:ext uri="{FF2B5EF4-FFF2-40B4-BE49-F238E27FC236}">
                  <a16:creationId xmlns:a16="http://schemas.microsoft.com/office/drawing/2014/main" id="{525508D9-92F7-860F-28CF-61897AAF55EB}"/>
                </a:ext>
              </a:extLst>
            </p:cNvPr>
            <p:cNvGrpSpPr/>
            <p:nvPr/>
          </p:nvGrpSpPr>
          <p:grpSpPr>
            <a:xfrm>
              <a:off x="1500879" y="2196758"/>
              <a:ext cx="4394893" cy="2231707"/>
              <a:chOff x="1500879" y="2196758"/>
              <a:chExt cx="4394893" cy="2231707"/>
            </a:xfrm>
            <a:noFill/>
          </p:grpSpPr>
          <p:sp>
            <p:nvSpPr>
              <p:cNvPr id="121" name="Freeform: Shape 120">
                <a:extLst>
                  <a:ext uri="{FF2B5EF4-FFF2-40B4-BE49-F238E27FC236}">
                    <a16:creationId xmlns:a16="http://schemas.microsoft.com/office/drawing/2014/main" id="{879468D6-FD0D-A062-9AFA-FE76EB607147}"/>
                  </a:ext>
                </a:extLst>
              </p:cNvPr>
              <p:cNvSpPr/>
              <p:nvPr/>
            </p:nvSpPr>
            <p:spPr>
              <a:xfrm>
                <a:off x="1503623" y="3287466"/>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grpSp>
            <p:nvGrpSpPr>
              <p:cNvPr id="122" name="Graphic 56">
                <a:extLst>
                  <a:ext uri="{FF2B5EF4-FFF2-40B4-BE49-F238E27FC236}">
                    <a16:creationId xmlns:a16="http://schemas.microsoft.com/office/drawing/2014/main" id="{E21E502E-91BE-21B4-7AD6-B6894F57A4AF}"/>
                  </a:ext>
                </a:extLst>
              </p:cNvPr>
              <p:cNvGrpSpPr/>
              <p:nvPr/>
            </p:nvGrpSpPr>
            <p:grpSpPr>
              <a:xfrm>
                <a:off x="1500879" y="2196758"/>
                <a:ext cx="4394893" cy="2231707"/>
                <a:chOff x="1500879" y="2196758"/>
                <a:chExt cx="4394893" cy="2231707"/>
              </a:xfrm>
              <a:noFill/>
            </p:grpSpPr>
            <p:sp>
              <p:nvSpPr>
                <p:cNvPr id="123" name="Freeform: Shape 122">
                  <a:extLst>
                    <a:ext uri="{FF2B5EF4-FFF2-40B4-BE49-F238E27FC236}">
                      <a16:creationId xmlns:a16="http://schemas.microsoft.com/office/drawing/2014/main" id="{A3EB04CB-C929-707C-2636-C57EC7B11512}"/>
                    </a:ext>
                  </a:extLst>
                </p:cNvPr>
                <p:cNvSpPr/>
                <p:nvPr/>
              </p:nvSpPr>
              <p:spPr>
                <a:xfrm>
                  <a:off x="1500879" y="2196758"/>
                  <a:ext cx="4394893" cy="2231707"/>
                </a:xfrm>
                <a:custGeom>
                  <a:avLst/>
                  <a:gdLst>
                    <a:gd name="connsiteX0" fmla="*/ 0 w 4394893"/>
                    <a:gd name="connsiteY0" fmla="*/ 0 h 2231707"/>
                    <a:gd name="connsiteX1" fmla="*/ 52987 w 4394893"/>
                    <a:gd name="connsiteY1" fmla="*/ 0 h 2231707"/>
                    <a:gd name="connsiteX2" fmla="*/ 52987 w 4394893"/>
                    <a:gd name="connsiteY2" fmla="*/ 2181606 h 2231707"/>
                    <a:gd name="connsiteX3" fmla="*/ 4394893 w 4394893"/>
                    <a:gd name="connsiteY3" fmla="*/ 2181606 h 2231707"/>
                    <a:gd name="connsiteX4" fmla="*/ 4394893 w 4394893"/>
                    <a:gd name="connsiteY4" fmla="*/ 2231708 h 2231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4893" h="2231707">
                      <a:moveTo>
                        <a:pt x="0" y="0"/>
                      </a:moveTo>
                      <a:lnTo>
                        <a:pt x="52987" y="0"/>
                      </a:lnTo>
                      <a:lnTo>
                        <a:pt x="52987" y="2181606"/>
                      </a:lnTo>
                      <a:lnTo>
                        <a:pt x="4394893" y="2181606"/>
                      </a:lnTo>
                      <a:lnTo>
                        <a:pt x="4394893" y="2231708"/>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4" name="Freeform: Shape 123">
                  <a:extLst>
                    <a:ext uri="{FF2B5EF4-FFF2-40B4-BE49-F238E27FC236}">
                      <a16:creationId xmlns:a16="http://schemas.microsoft.com/office/drawing/2014/main" id="{EF4DD179-1AA7-7736-C171-F3343E4252ED}"/>
                    </a:ext>
                  </a:extLst>
                </p:cNvPr>
                <p:cNvSpPr/>
                <p:nvPr/>
              </p:nvSpPr>
              <p:spPr>
                <a:xfrm>
                  <a:off x="1503623" y="2413833"/>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5" name="Freeform: Shape 124">
                  <a:extLst>
                    <a:ext uri="{FF2B5EF4-FFF2-40B4-BE49-F238E27FC236}">
                      <a16:creationId xmlns:a16="http://schemas.microsoft.com/office/drawing/2014/main" id="{AE8A22EC-12D8-E98C-DAD4-3BC346FCD247}"/>
                    </a:ext>
                  </a:extLst>
                </p:cNvPr>
                <p:cNvSpPr/>
                <p:nvPr/>
              </p:nvSpPr>
              <p:spPr>
                <a:xfrm>
                  <a:off x="1503623" y="2632242"/>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6" name="Freeform: Shape 125">
                  <a:extLst>
                    <a:ext uri="{FF2B5EF4-FFF2-40B4-BE49-F238E27FC236}">
                      <a16:creationId xmlns:a16="http://schemas.microsoft.com/office/drawing/2014/main" id="{AF1BFFF7-3F88-7A68-CEA5-AA4472346919}"/>
                    </a:ext>
                  </a:extLst>
                </p:cNvPr>
                <p:cNvSpPr/>
                <p:nvPr/>
              </p:nvSpPr>
              <p:spPr>
                <a:xfrm>
                  <a:off x="1503623" y="2850650"/>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7" name="Freeform: Shape 126">
                  <a:extLst>
                    <a:ext uri="{FF2B5EF4-FFF2-40B4-BE49-F238E27FC236}">
                      <a16:creationId xmlns:a16="http://schemas.microsoft.com/office/drawing/2014/main" id="{CF160696-976B-40A9-0D3E-0B795E98CF79}"/>
                    </a:ext>
                  </a:extLst>
                </p:cNvPr>
                <p:cNvSpPr/>
                <p:nvPr/>
              </p:nvSpPr>
              <p:spPr>
                <a:xfrm>
                  <a:off x="1503623" y="3069058"/>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8" name="Freeform: Shape 127">
                  <a:extLst>
                    <a:ext uri="{FF2B5EF4-FFF2-40B4-BE49-F238E27FC236}">
                      <a16:creationId xmlns:a16="http://schemas.microsoft.com/office/drawing/2014/main" id="{25C8068D-EBD7-A3EC-88BB-439A30B0FD3B}"/>
                    </a:ext>
                  </a:extLst>
                </p:cNvPr>
                <p:cNvSpPr/>
                <p:nvPr/>
              </p:nvSpPr>
              <p:spPr>
                <a:xfrm>
                  <a:off x="1503623" y="3505875"/>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9" name="Freeform: Shape 128">
                  <a:extLst>
                    <a:ext uri="{FF2B5EF4-FFF2-40B4-BE49-F238E27FC236}">
                      <a16:creationId xmlns:a16="http://schemas.microsoft.com/office/drawing/2014/main" id="{A149164C-37FB-96C0-3230-F6475F65BEC0}"/>
                    </a:ext>
                  </a:extLst>
                </p:cNvPr>
                <p:cNvSpPr/>
                <p:nvPr/>
              </p:nvSpPr>
              <p:spPr>
                <a:xfrm>
                  <a:off x="1503623" y="3724283"/>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0" name="Freeform: Shape 129">
                  <a:extLst>
                    <a:ext uri="{FF2B5EF4-FFF2-40B4-BE49-F238E27FC236}">
                      <a16:creationId xmlns:a16="http://schemas.microsoft.com/office/drawing/2014/main" id="{5967A9C1-8633-102A-C4CD-0002DE815A4B}"/>
                    </a:ext>
                  </a:extLst>
                </p:cNvPr>
                <p:cNvSpPr/>
                <p:nvPr/>
              </p:nvSpPr>
              <p:spPr>
                <a:xfrm>
                  <a:off x="1503623" y="3942691"/>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1" name="Freeform: Shape 130">
                  <a:extLst>
                    <a:ext uri="{FF2B5EF4-FFF2-40B4-BE49-F238E27FC236}">
                      <a16:creationId xmlns:a16="http://schemas.microsoft.com/office/drawing/2014/main" id="{BAA56802-0CAA-29B4-7EE1-63E321117027}"/>
                    </a:ext>
                  </a:extLst>
                </p:cNvPr>
                <p:cNvSpPr/>
                <p:nvPr/>
              </p:nvSpPr>
              <p:spPr>
                <a:xfrm>
                  <a:off x="1503623" y="4161099"/>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grpSp>
              <p:nvGrpSpPr>
                <p:cNvPr id="132" name="Graphic 56">
                  <a:extLst>
                    <a:ext uri="{FF2B5EF4-FFF2-40B4-BE49-F238E27FC236}">
                      <a16:creationId xmlns:a16="http://schemas.microsoft.com/office/drawing/2014/main" id="{8A8AC6FA-1310-55FE-EBE1-456B3945591E}"/>
                    </a:ext>
                  </a:extLst>
                </p:cNvPr>
                <p:cNvGrpSpPr/>
                <p:nvPr/>
              </p:nvGrpSpPr>
              <p:grpSpPr>
                <a:xfrm>
                  <a:off x="1553760" y="4380841"/>
                  <a:ext cx="4154761" cy="47625"/>
                  <a:chOff x="1553760" y="4380841"/>
                  <a:chExt cx="4154761" cy="47625"/>
                </a:xfrm>
              </p:grpSpPr>
              <p:sp>
                <p:nvSpPr>
                  <p:cNvPr id="134" name="Freeform: Shape 133">
                    <a:extLst>
                      <a:ext uri="{FF2B5EF4-FFF2-40B4-BE49-F238E27FC236}">
                        <a16:creationId xmlns:a16="http://schemas.microsoft.com/office/drawing/2014/main" id="{DF6C1620-2130-0053-5C0C-4222544234C2}"/>
                      </a:ext>
                    </a:extLst>
                  </p:cNvPr>
                  <p:cNvSpPr/>
                  <p:nvPr/>
                </p:nvSpPr>
                <p:spPr>
                  <a:xfrm>
                    <a:off x="1553760"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5" name="Freeform: Shape 134">
                    <a:extLst>
                      <a:ext uri="{FF2B5EF4-FFF2-40B4-BE49-F238E27FC236}">
                        <a16:creationId xmlns:a16="http://schemas.microsoft.com/office/drawing/2014/main" id="{0DC0920F-F531-007A-9FD6-D63E14A0C631}"/>
                      </a:ext>
                    </a:extLst>
                  </p:cNvPr>
                  <p:cNvSpPr/>
                  <p:nvPr/>
                </p:nvSpPr>
                <p:spPr>
                  <a:xfrm>
                    <a:off x="1730772"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6" name="Freeform: Shape 135">
                    <a:extLst>
                      <a:ext uri="{FF2B5EF4-FFF2-40B4-BE49-F238E27FC236}">
                        <a16:creationId xmlns:a16="http://schemas.microsoft.com/office/drawing/2014/main" id="{0011B7E0-A6C2-A0BC-37F3-391566652A60}"/>
                      </a:ext>
                    </a:extLst>
                  </p:cNvPr>
                  <p:cNvSpPr/>
                  <p:nvPr/>
                </p:nvSpPr>
                <p:spPr>
                  <a:xfrm>
                    <a:off x="1912639"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7" name="Freeform: Shape 136">
                    <a:extLst>
                      <a:ext uri="{FF2B5EF4-FFF2-40B4-BE49-F238E27FC236}">
                        <a16:creationId xmlns:a16="http://schemas.microsoft.com/office/drawing/2014/main" id="{83933142-120D-CD2A-EBDB-9C10B43B1F1A}"/>
                      </a:ext>
                    </a:extLst>
                  </p:cNvPr>
                  <p:cNvSpPr/>
                  <p:nvPr/>
                </p:nvSpPr>
                <p:spPr>
                  <a:xfrm>
                    <a:off x="2094612"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8" name="Freeform: Shape 137">
                    <a:extLst>
                      <a:ext uri="{FF2B5EF4-FFF2-40B4-BE49-F238E27FC236}">
                        <a16:creationId xmlns:a16="http://schemas.microsoft.com/office/drawing/2014/main" id="{B5EC9699-6F0D-29A7-D3B2-FDA4EAB00528}"/>
                      </a:ext>
                    </a:extLst>
                  </p:cNvPr>
                  <p:cNvSpPr/>
                  <p:nvPr/>
                </p:nvSpPr>
                <p:spPr>
                  <a:xfrm>
                    <a:off x="2267507"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9" name="Freeform: Shape 138">
                    <a:extLst>
                      <a:ext uri="{FF2B5EF4-FFF2-40B4-BE49-F238E27FC236}">
                        <a16:creationId xmlns:a16="http://schemas.microsoft.com/office/drawing/2014/main" id="{BB89A935-BB56-38D1-0561-F714F10851DD}"/>
                      </a:ext>
                    </a:extLst>
                  </p:cNvPr>
                  <p:cNvSpPr/>
                  <p:nvPr/>
                </p:nvSpPr>
                <p:spPr>
                  <a:xfrm>
                    <a:off x="2449374"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0" name="Freeform: Shape 139">
                    <a:extLst>
                      <a:ext uri="{FF2B5EF4-FFF2-40B4-BE49-F238E27FC236}">
                        <a16:creationId xmlns:a16="http://schemas.microsoft.com/office/drawing/2014/main" id="{B9240A60-AC48-054C-FAAC-35D75E42720E}"/>
                      </a:ext>
                    </a:extLst>
                  </p:cNvPr>
                  <p:cNvSpPr/>
                  <p:nvPr/>
                </p:nvSpPr>
                <p:spPr>
                  <a:xfrm>
                    <a:off x="2635463"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1" name="Freeform: Shape 140">
                    <a:extLst>
                      <a:ext uri="{FF2B5EF4-FFF2-40B4-BE49-F238E27FC236}">
                        <a16:creationId xmlns:a16="http://schemas.microsoft.com/office/drawing/2014/main" id="{7A3C59E2-D123-0E54-C027-B5AD8270C28A}"/>
                      </a:ext>
                    </a:extLst>
                  </p:cNvPr>
                  <p:cNvSpPr/>
                  <p:nvPr/>
                </p:nvSpPr>
                <p:spPr>
                  <a:xfrm>
                    <a:off x="2808358"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2" name="Freeform: Shape 141">
                    <a:extLst>
                      <a:ext uri="{FF2B5EF4-FFF2-40B4-BE49-F238E27FC236}">
                        <a16:creationId xmlns:a16="http://schemas.microsoft.com/office/drawing/2014/main" id="{7A8974F0-420B-2C59-C59E-AB0B5756F795}"/>
                      </a:ext>
                    </a:extLst>
                  </p:cNvPr>
                  <p:cNvSpPr/>
                  <p:nvPr/>
                </p:nvSpPr>
                <p:spPr>
                  <a:xfrm>
                    <a:off x="2990226"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3" name="Freeform: Shape 142">
                    <a:extLst>
                      <a:ext uri="{FF2B5EF4-FFF2-40B4-BE49-F238E27FC236}">
                        <a16:creationId xmlns:a16="http://schemas.microsoft.com/office/drawing/2014/main" id="{F5E59D9C-6C4D-C836-0618-22149921D42A}"/>
                      </a:ext>
                    </a:extLst>
                  </p:cNvPr>
                  <p:cNvSpPr/>
                  <p:nvPr/>
                </p:nvSpPr>
                <p:spPr>
                  <a:xfrm>
                    <a:off x="3181276"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4" name="Freeform: Shape 143">
                    <a:extLst>
                      <a:ext uri="{FF2B5EF4-FFF2-40B4-BE49-F238E27FC236}">
                        <a16:creationId xmlns:a16="http://schemas.microsoft.com/office/drawing/2014/main" id="{2BDB9FDC-2F1C-1392-E797-D5FB9E75FA47}"/>
                      </a:ext>
                    </a:extLst>
                  </p:cNvPr>
                  <p:cNvSpPr/>
                  <p:nvPr/>
                </p:nvSpPr>
                <p:spPr>
                  <a:xfrm>
                    <a:off x="3363143"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5" name="Freeform: Shape 144">
                    <a:extLst>
                      <a:ext uri="{FF2B5EF4-FFF2-40B4-BE49-F238E27FC236}">
                        <a16:creationId xmlns:a16="http://schemas.microsoft.com/office/drawing/2014/main" id="{1F259C3D-F109-1AEF-12C3-7F8070C76C3D}"/>
                      </a:ext>
                    </a:extLst>
                  </p:cNvPr>
                  <p:cNvSpPr/>
                  <p:nvPr/>
                </p:nvSpPr>
                <p:spPr>
                  <a:xfrm>
                    <a:off x="3540155"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6" name="Freeform: Shape 145">
                    <a:extLst>
                      <a:ext uri="{FF2B5EF4-FFF2-40B4-BE49-F238E27FC236}">
                        <a16:creationId xmlns:a16="http://schemas.microsoft.com/office/drawing/2014/main" id="{AB67B7EB-A2D7-2AB3-2AD1-955979D63FFA}"/>
                      </a:ext>
                    </a:extLst>
                  </p:cNvPr>
                  <p:cNvSpPr/>
                  <p:nvPr/>
                </p:nvSpPr>
                <p:spPr>
                  <a:xfrm>
                    <a:off x="3722127"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7" name="Freeform: Shape 146">
                    <a:extLst>
                      <a:ext uri="{FF2B5EF4-FFF2-40B4-BE49-F238E27FC236}">
                        <a16:creationId xmlns:a16="http://schemas.microsoft.com/office/drawing/2014/main" id="{F4D0393B-3CBA-6272-E5BC-4B9449E2B823}"/>
                      </a:ext>
                    </a:extLst>
                  </p:cNvPr>
                  <p:cNvSpPr/>
                  <p:nvPr/>
                </p:nvSpPr>
                <p:spPr>
                  <a:xfrm>
                    <a:off x="3903994"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8" name="Freeform: Shape 147">
                    <a:extLst>
                      <a:ext uri="{FF2B5EF4-FFF2-40B4-BE49-F238E27FC236}">
                        <a16:creationId xmlns:a16="http://schemas.microsoft.com/office/drawing/2014/main" id="{17568989-49CE-EBCC-E3E6-0C5F3643D62F}"/>
                      </a:ext>
                    </a:extLst>
                  </p:cNvPr>
                  <p:cNvSpPr/>
                  <p:nvPr/>
                </p:nvSpPr>
                <p:spPr>
                  <a:xfrm>
                    <a:off x="4076889"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9" name="Freeform: Shape 148">
                    <a:extLst>
                      <a:ext uri="{FF2B5EF4-FFF2-40B4-BE49-F238E27FC236}">
                        <a16:creationId xmlns:a16="http://schemas.microsoft.com/office/drawing/2014/main" id="{F643E46E-610A-3310-EC27-2256BB2AD382}"/>
                      </a:ext>
                    </a:extLst>
                  </p:cNvPr>
                  <p:cNvSpPr/>
                  <p:nvPr/>
                </p:nvSpPr>
                <p:spPr>
                  <a:xfrm>
                    <a:off x="4262979"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0" name="Freeform: Shape 149">
                    <a:extLst>
                      <a:ext uri="{FF2B5EF4-FFF2-40B4-BE49-F238E27FC236}">
                        <a16:creationId xmlns:a16="http://schemas.microsoft.com/office/drawing/2014/main" id="{28D45248-EB7F-B0C5-B77F-C2352AE5BFC9}"/>
                      </a:ext>
                    </a:extLst>
                  </p:cNvPr>
                  <p:cNvSpPr/>
                  <p:nvPr/>
                </p:nvSpPr>
                <p:spPr>
                  <a:xfrm>
                    <a:off x="4444951"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1" name="Freeform: Shape 150">
                    <a:extLst>
                      <a:ext uri="{FF2B5EF4-FFF2-40B4-BE49-F238E27FC236}">
                        <a16:creationId xmlns:a16="http://schemas.microsoft.com/office/drawing/2014/main" id="{A62BC8FB-7E32-64B3-17EC-5407C5B2C6AF}"/>
                      </a:ext>
                    </a:extLst>
                  </p:cNvPr>
                  <p:cNvSpPr/>
                  <p:nvPr/>
                </p:nvSpPr>
                <p:spPr>
                  <a:xfrm>
                    <a:off x="5708521"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2" name="Freeform: Shape 151">
                    <a:extLst>
                      <a:ext uri="{FF2B5EF4-FFF2-40B4-BE49-F238E27FC236}">
                        <a16:creationId xmlns:a16="http://schemas.microsoft.com/office/drawing/2014/main" id="{4FFDA7B0-FEEF-8E57-396E-A966B94C709A}"/>
                      </a:ext>
                    </a:extLst>
                  </p:cNvPr>
                  <p:cNvSpPr/>
                  <p:nvPr/>
                </p:nvSpPr>
                <p:spPr>
                  <a:xfrm>
                    <a:off x="5526654"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3" name="Freeform: Shape 152">
                    <a:extLst>
                      <a:ext uri="{FF2B5EF4-FFF2-40B4-BE49-F238E27FC236}">
                        <a16:creationId xmlns:a16="http://schemas.microsoft.com/office/drawing/2014/main" id="{B35203DD-D0B2-FF9D-B07D-58951F605881}"/>
                      </a:ext>
                    </a:extLst>
                  </p:cNvPr>
                  <p:cNvSpPr/>
                  <p:nvPr/>
                </p:nvSpPr>
                <p:spPr>
                  <a:xfrm>
                    <a:off x="5349643"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4" name="Freeform: Shape 153">
                    <a:extLst>
                      <a:ext uri="{FF2B5EF4-FFF2-40B4-BE49-F238E27FC236}">
                        <a16:creationId xmlns:a16="http://schemas.microsoft.com/office/drawing/2014/main" id="{62DEF566-97B5-2394-0C8E-FC9045F57573}"/>
                      </a:ext>
                    </a:extLst>
                  </p:cNvPr>
                  <p:cNvSpPr/>
                  <p:nvPr/>
                </p:nvSpPr>
                <p:spPr>
                  <a:xfrm>
                    <a:off x="4994880"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5" name="Freeform: Shape 154">
                    <a:extLst>
                      <a:ext uri="{FF2B5EF4-FFF2-40B4-BE49-F238E27FC236}">
                        <a16:creationId xmlns:a16="http://schemas.microsoft.com/office/drawing/2014/main" id="{9E931FF4-0980-F831-D3A5-859FC19539F9}"/>
                      </a:ext>
                    </a:extLst>
                  </p:cNvPr>
                  <p:cNvSpPr/>
                  <p:nvPr/>
                </p:nvSpPr>
                <p:spPr>
                  <a:xfrm>
                    <a:off x="4808791"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6" name="Freeform: Shape 155">
                    <a:extLst>
                      <a:ext uri="{FF2B5EF4-FFF2-40B4-BE49-F238E27FC236}">
                        <a16:creationId xmlns:a16="http://schemas.microsoft.com/office/drawing/2014/main" id="{5709CF55-6488-0F77-85AC-CB58EEA0C003}"/>
                      </a:ext>
                    </a:extLst>
                  </p:cNvPr>
                  <p:cNvSpPr/>
                  <p:nvPr/>
                </p:nvSpPr>
                <p:spPr>
                  <a:xfrm>
                    <a:off x="4626818"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7" name="Freeform: Shape 156">
                    <a:extLst>
                      <a:ext uri="{FF2B5EF4-FFF2-40B4-BE49-F238E27FC236}">
                        <a16:creationId xmlns:a16="http://schemas.microsoft.com/office/drawing/2014/main" id="{C4831A69-538B-6CEE-FB08-AF6D786B6D09}"/>
                      </a:ext>
                    </a:extLst>
                  </p:cNvPr>
                  <p:cNvSpPr/>
                  <p:nvPr/>
                </p:nvSpPr>
                <p:spPr>
                  <a:xfrm>
                    <a:off x="5167670"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grpSp>
            <p:sp>
              <p:nvSpPr>
                <p:cNvPr id="133" name="Freeform: Shape 132">
                  <a:extLst>
                    <a:ext uri="{FF2B5EF4-FFF2-40B4-BE49-F238E27FC236}">
                      <a16:creationId xmlns:a16="http://schemas.microsoft.com/office/drawing/2014/main" id="{9D3E32F0-5F24-B8C9-9BF7-D5412C4B76CE}"/>
                    </a:ext>
                  </a:extLst>
                </p:cNvPr>
                <p:cNvSpPr/>
                <p:nvPr/>
              </p:nvSpPr>
              <p:spPr>
                <a:xfrm>
                  <a:off x="1503623" y="4378174"/>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grpSp>
        </p:grpSp>
        <p:grpSp>
          <p:nvGrpSpPr>
            <p:cNvPr id="23" name="Graphic 56">
              <a:extLst>
                <a:ext uri="{FF2B5EF4-FFF2-40B4-BE49-F238E27FC236}">
                  <a16:creationId xmlns:a16="http://schemas.microsoft.com/office/drawing/2014/main" id="{08222841-9472-D577-365D-022B4ED10A96}"/>
                </a:ext>
              </a:extLst>
            </p:cNvPr>
            <p:cNvGrpSpPr/>
            <p:nvPr/>
          </p:nvGrpSpPr>
          <p:grpSpPr>
            <a:xfrm>
              <a:off x="1553866" y="2196758"/>
              <a:ext cx="4264641" cy="1582484"/>
              <a:chOff x="1553866" y="2196758"/>
              <a:chExt cx="4264641" cy="1582484"/>
            </a:xfrm>
          </p:grpSpPr>
          <p:sp>
            <p:nvSpPr>
              <p:cNvPr id="73" name="Freeform: Shape 72">
                <a:extLst>
                  <a:ext uri="{FF2B5EF4-FFF2-40B4-BE49-F238E27FC236}">
                    <a16:creationId xmlns:a16="http://schemas.microsoft.com/office/drawing/2014/main" id="{6139E882-6931-6066-B6C7-8DC50555CE79}"/>
                  </a:ext>
                </a:extLst>
              </p:cNvPr>
              <p:cNvSpPr/>
              <p:nvPr/>
            </p:nvSpPr>
            <p:spPr>
              <a:xfrm>
                <a:off x="1553866" y="2196758"/>
                <a:ext cx="4247858" cy="1567529"/>
              </a:xfrm>
              <a:custGeom>
                <a:avLst/>
                <a:gdLst>
                  <a:gd name="connsiteX0" fmla="*/ 0 w 4247858"/>
                  <a:gd name="connsiteY0" fmla="*/ 0 h 1567529"/>
                  <a:gd name="connsiteX1" fmla="*/ 176906 w 4247858"/>
                  <a:gd name="connsiteY1" fmla="*/ 0 h 1567529"/>
                  <a:gd name="connsiteX2" fmla="*/ 176906 w 4247858"/>
                  <a:gd name="connsiteY2" fmla="*/ 9049 h 1567529"/>
                  <a:gd name="connsiteX3" fmla="*/ 185773 w 4247858"/>
                  <a:gd name="connsiteY3" fmla="*/ 9049 h 1567529"/>
                  <a:gd name="connsiteX4" fmla="*/ 185773 w 4247858"/>
                  <a:gd name="connsiteY4" fmla="*/ 21336 h 1567529"/>
                  <a:gd name="connsiteX5" fmla="*/ 195167 w 4247858"/>
                  <a:gd name="connsiteY5" fmla="*/ 21336 h 1567529"/>
                  <a:gd name="connsiteX6" fmla="*/ 195167 w 4247858"/>
                  <a:gd name="connsiteY6" fmla="*/ 35433 h 1567529"/>
                  <a:gd name="connsiteX7" fmla="*/ 206039 w 4247858"/>
                  <a:gd name="connsiteY7" fmla="*/ 35433 h 1567529"/>
                  <a:gd name="connsiteX8" fmla="*/ 206039 w 4247858"/>
                  <a:gd name="connsiteY8" fmla="*/ 49530 h 1567529"/>
                  <a:gd name="connsiteX9" fmla="*/ 213005 w 4247858"/>
                  <a:gd name="connsiteY9" fmla="*/ 49530 h 1567529"/>
                  <a:gd name="connsiteX10" fmla="*/ 213005 w 4247858"/>
                  <a:gd name="connsiteY10" fmla="*/ 55817 h 1567529"/>
                  <a:gd name="connsiteX11" fmla="*/ 228627 w 4247858"/>
                  <a:gd name="connsiteY11" fmla="*/ 55817 h 1567529"/>
                  <a:gd name="connsiteX12" fmla="*/ 228627 w 4247858"/>
                  <a:gd name="connsiteY12" fmla="*/ 68485 h 1567529"/>
                  <a:gd name="connsiteX13" fmla="*/ 236332 w 4247858"/>
                  <a:gd name="connsiteY13" fmla="*/ 68485 h 1567529"/>
                  <a:gd name="connsiteX14" fmla="*/ 236332 w 4247858"/>
                  <a:gd name="connsiteY14" fmla="*/ 75533 h 1567529"/>
                  <a:gd name="connsiteX15" fmla="*/ 278870 w 4247858"/>
                  <a:gd name="connsiteY15" fmla="*/ 75533 h 1567529"/>
                  <a:gd name="connsiteX16" fmla="*/ 278870 w 4247858"/>
                  <a:gd name="connsiteY16" fmla="*/ 82868 h 1567529"/>
                  <a:gd name="connsiteX17" fmla="*/ 313175 w 4247858"/>
                  <a:gd name="connsiteY17" fmla="*/ 82868 h 1567529"/>
                  <a:gd name="connsiteX18" fmla="*/ 313175 w 4247858"/>
                  <a:gd name="connsiteY18" fmla="*/ 102013 h 1567529"/>
                  <a:gd name="connsiteX19" fmla="*/ 323835 w 4247858"/>
                  <a:gd name="connsiteY19" fmla="*/ 102013 h 1567529"/>
                  <a:gd name="connsiteX20" fmla="*/ 323835 w 4247858"/>
                  <a:gd name="connsiteY20" fmla="*/ 112300 h 1567529"/>
                  <a:gd name="connsiteX21" fmla="*/ 331963 w 4247858"/>
                  <a:gd name="connsiteY21" fmla="*/ 112300 h 1567529"/>
                  <a:gd name="connsiteX22" fmla="*/ 331963 w 4247858"/>
                  <a:gd name="connsiteY22" fmla="*/ 122587 h 1567529"/>
                  <a:gd name="connsiteX23" fmla="*/ 345896 w 4247858"/>
                  <a:gd name="connsiteY23" fmla="*/ 122587 h 1567529"/>
                  <a:gd name="connsiteX24" fmla="*/ 345896 w 4247858"/>
                  <a:gd name="connsiteY24" fmla="*/ 128492 h 1567529"/>
                  <a:gd name="connsiteX25" fmla="*/ 360568 w 4247858"/>
                  <a:gd name="connsiteY25" fmla="*/ 128492 h 1567529"/>
                  <a:gd name="connsiteX26" fmla="*/ 360568 w 4247858"/>
                  <a:gd name="connsiteY26" fmla="*/ 137350 h 1567529"/>
                  <a:gd name="connsiteX27" fmla="*/ 402261 w 4247858"/>
                  <a:gd name="connsiteY27" fmla="*/ 137350 h 1567529"/>
                  <a:gd name="connsiteX28" fmla="*/ 402261 w 4247858"/>
                  <a:gd name="connsiteY28" fmla="*/ 148400 h 1567529"/>
                  <a:gd name="connsiteX29" fmla="*/ 416933 w 4247858"/>
                  <a:gd name="connsiteY29" fmla="*/ 148400 h 1567529"/>
                  <a:gd name="connsiteX30" fmla="*/ 416933 w 4247858"/>
                  <a:gd name="connsiteY30" fmla="*/ 154305 h 1567529"/>
                  <a:gd name="connsiteX31" fmla="*/ 423477 w 4247858"/>
                  <a:gd name="connsiteY31" fmla="*/ 154305 h 1567529"/>
                  <a:gd name="connsiteX32" fmla="*/ 423477 w 4247858"/>
                  <a:gd name="connsiteY32" fmla="*/ 166878 h 1567529"/>
                  <a:gd name="connsiteX33" fmla="*/ 434877 w 4247858"/>
                  <a:gd name="connsiteY33" fmla="*/ 166878 h 1567529"/>
                  <a:gd name="connsiteX34" fmla="*/ 434877 w 4247858"/>
                  <a:gd name="connsiteY34" fmla="*/ 172784 h 1567529"/>
                  <a:gd name="connsiteX35" fmla="*/ 448810 w 4247858"/>
                  <a:gd name="connsiteY35" fmla="*/ 172784 h 1567529"/>
                  <a:gd name="connsiteX36" fmla="*/ 448810 w 4247858"/>
                  <a:gd name="connsiteY36" fmla="*/ 178689 h 1567529"/>
                  <a:gd name="connsiteX37" fmla="*/ 461898 w 4247858"/>
                  <a:gd name="connsiteY37" fmla="*/ 178689 h 1567529"/>
                  <a:gd name="connsiteX38" fmla="*/ 461898 w 4247858"/>
                  <a:gd name="connsiteY38" fmla="*/ 188309 h 1567529"/>
                  <a:gd name="connsiteX39" fmla="*/ 470026 w 4247858"/>
                  <a:gd name="connsiteY39" fmla="*/ 188309 h 1567529"/>
                  <a:gd name="connsiteX40" fmla="*/ 470026 w 4247858"/>
                  <a:gd name="connsiteY40" fmla="*/ 194977 h 1567529"/>
                  <a:gd name="connsiteX41" fmla="*/ 504330 w 4247858"/>
                  <a:gd name="connsiteY41" fmla="*/ 194977 h 1567529"/>
                  <a:gd name="connsiteX42" fmla="*/ 504330 w 4247858"/>
                  <a:gd name="connsiteY42" fmla="*/ 204597 h 1567529"/>
                  <a:gd name="connsiteX43" fmla="*/ 513302 w 4247858"/>
                  <a:gd name="connsiteY43" fmla="*/ 204597 h 1567529"/>
                  <a:gd name="connsiteX44" fmla="*/ 513302 w 4247858"/>
                  <a:gd name="connsiteY44" fmla="*/ 208979 h 1567529"/>
                  <a:gd name="connsiteX45" fmla="*/ 523119 w 4247858"/>
                  <a:gd name="connsiteY45" fmla="*/ 208979 h 1567529"/>
                  <a:gd name="connsiteX46" fmla="*/ 523119 w 4247858"/>
                  <a:gd name="connsiteY46" fmla="*/ 221552 h 1567529"/>
                  <a:gd name="connsiteX47" fmla="*/ 550140 w 4247858"/>
                  <a:gd name="connsiteY47" fmla="*/ 221552 h 1567529"/>
                  <a:gd name="connsiteX48" fmla="*/ 550140 w 4247858"/>
                  <a:gd name="connsiteY48" fmla="*/ 234125 h 1567529"/>
                  <a:gd name="connsiteX49" fmla="*/ 558268 w 4247858"/>
                  <a:gd name="connsiteY49" fmla="*/ 234125 h 1567529"/>
                  <a:gd name="connsiteX50" fmla="*/ 558268 w 4247858"/>
                  <a:gd name="connsiteY50" fmla="*/ 242983 h 1567529"/>
                  <a:gd name="connsiteX51" fmla="*/ 568084 w 4247858"/>
                  <a:gd name="connsiteY51" fmla="*/ 242983 h 1567529"/>
                  <a:gd name="connsiteX52" fmla="*/ 568084 w 4247858"/>
                  <a:gd name="connsiteY52" fmla="*/ 250317 h 1567529"/>
                  <a:gd name="connsiteX53" fmla="*/ 579484 w 4247858"/>
                  <a:gd name="connsiteY53" fmla="*/ 250317 h 1567529"/>
                  <a:gd name="connsiteX54" fmla="*/ 579484 w 4247858"/>
                  <a:gd name="connsiteY54" fmla="*/ 257651 h 1567529"/>
                  <a:gd name="connsiteX55" fmla="*/ 593417 w 4247858"/>
                  <a:gd name="connsiteY55" fmla="*/ 257651 h 1567529"/>
                  <a:gd name="connsiteX56" fmla="*/ 593417 w 4247858"/>
                  <a:gd name="connsiteY56" fmla="*/ 263557 h 1567529"/>
                  <a:gd name="connsiteX57" fmla="*/ 607350 w 4247858"/>
                  <a:gd name="connsiteY57" fmla="*/ 263557 h 1567529"/>
                  <a:gd name="connsiteX58" fmla="*/ 607350 w 4247858"/>
                  <a:gd name="connsiteY58" fmla="*/ 272415 h 1567529"/>
                  <a:gd name="connsiteX59" fmla="*/ 613894 w 4247858"/>
                  <a:gd name="connsiteY59" fmla="*/ 272415 h 1567529"/>
                  <a:gd name="connsiteX60" fmla="*/ 613894 w 4247858"/>
                  <a:gd name="connsiteY60" fmla="*/ 281273 h 1567529"/>
                  <a:gd name="connsiteX61" fmla="*/ 629410 w 4247858"/>
                  <a:gd name="connsiteY61" fmla="*/ 281273 h 1567529"/>
                  <a:gd name="connsiteX62" fmla="*/ 629410 w 4247858"/>
                  <a:gd name="connsiteY62" fmla="*/ 290894 h 1567529"/>
                  <a:gd name="connsiteX63" fmla="*/ 658015 w 4247858"/>
                  <a:gd name="connsiteY63" fmla="*/ 290894 h 1567529"/>
                  <a:gd name="connsiteX64" fmla="*/ 658015 w 4247858"/>
                  <a:gd name="connsiteY64" fmla="*/ 297561 h 1567529"/>
                  <a:gd name="connsiteX65" fmla="*/ 671103 w 4247858"/>
                  <a:gd name="connsiteY65" fmla="*/ 297561 h 1567529"/>
                  <a:gd name="connsiteX66" fmla="*/ 671103 w 4247858"/>
                  <a:gd name="connsiteY66" fmla="*/ 305657 h 1567529"/>
                  <a:gd name="connsiteX67" fmla="*/ 715224 w 4247858"/>
                  <a:gd name="connsiteY67" fmla="*/ 305657 h 1567529"/>
                  <a:gd name="connsiteX68" fmla="*/ 715224 w 4247858"/>
                  <a:gd name="connsiteY68" fmla="*/ 314516 h 1567529"/>
                  <a:gd name="connsiteX69" fmla="*/ 721769 w 4247858"/>
                  <a:gd name="connsiteY69" fmla="*/ 314516 h 1567529"/>
                  <a:gd name="connsiteX70" fmla="*/ 721769 w 4247858"/>
                  <a:gd name="connsiteY70" fmla="*/ 325565 h 1567529"/>
                  <a:gd name="connsiteX71" fmla="*/ 756073 w 4247858"/>
                  <a:gd name="connsiteY71" fmla="*/ 325565 h 1567529"/>
                  <a:gd name="connsiteX72" fmla="*/ 756073 w 4247858"/>
                  <a:gd name="connsiteY72" fmla="*/ 340328 h 1567529"/>
                  <a:gd name="connsiteX73" fmla="*/ 770006 w 4247858"/>
                  <a:gd name="connsiteY73" fmla="*/ 340328 h 1567529"/>
                  <a:gd name="connsiteX74" fmla="*/ 770006 w 4247858"/>
                  <a:gd name="connsiteY74" fmla="*/ 345472 h 1567529"/>
                  <a:gd name="connsiteX75" fmla="*/ 774123 w 4247858"/>
                  <a:gd name="connsiteY75" fmla="*/ 345472 h 1567529"/>
                  <a:gd name="connsiteX76" fmla="*/ 774123 w 4247858"/>
                  <a:gd name="connsiteY76" fmla="*/ 360998 h 1567529"/>
                  <a:gd name="connsiteX77" fmla="*/ 780667 w 4247858"/>
                  <a:gd name="connsiteY77" fmla="*/ 360998 h 1567529"/>
                  <a:gd name="connsiteX78" fmla="*/ 780667 w 4247858"/>
                  <a:gd name="connsiteY78" fmla="*/ 369094 h 1567529"/>
                  <a:gd name="connsiteX79" fmla="*/ 802727 w 4247858"/>
                  <a:gd name="connsiteY79" fmla="*/ 369094 h 1567529"/>
                  <a:gd name="connsiteX80" fmla="*/ 802727 w 4247858"/>
                  <a:gd name="connsiteY80" fmla="*/ 380905 h 1567529"/>
                  <a:gd name="connsiteX81" fmla="*/ 820671 w 4247858"/>
                  <a:gd name="connsiteY81" fmla="*/ 380905 h 1567529"/>
                  <a:gd name="connsiteX82" fmla="*/ 820671 w 4247858"/>
                  <a:gd name="connsiteY82" fmla="*/ 386810 h 1567529"/>
                  <a:gd name="connsiteX83" fmla="*/ 841149 w 4247858"/>
                  <a:gd name="connsiteY83" fmla="*/ 386810 h 1567529"/>
                  <a:gd name="connsiteX84" fmla="*/ 841149 w 4247858"/>
                  <a:gd name="connsiteY84" fmla="*/ 395669 h 1567529"/>
                  <a:gd name="connsiteX85" fmla="*/ 846848 w 4247858"/>
                  <a:gd name="connsiteY85" fmla="*/ 395669 h 1567529"/>
                  <a:gd name="connsiteX86" fmla="*/ 846848 w 4247858"/>
                  <a:gd name="connsiteY86" fmla="*/ 402336 h 1567529"/>
                  <a:gd name="connsiteX87" fmla="*/ 873026 w 4247858"/>
                  <a:gd name="connsiteY87" fmla="*/ 402336 h 1567529"/>
                  <a:gd name="connsiteX88" fmla="*/ 873026 w 4247858"/>
                  <a:gd name="connsiteY88" fmla="*/ 415576 h 1567529"/>
                  <a:gd name="connsiteX89" fmla="*/ 890231 w 4247858"/>
                  <a:gd name="connsiteY89" fmla="*/ 415576 h 1567529"/>
                  <a:gd name="connsiteX90" fmla="*/ 890231 w 4247858"/>
                  <a:gd name="connsiteY90" fmla="*/ 425863 h 1567529"/>
                  <a:gd name="connsiteX91" fmla="*/ 900047 w 4247858"/>
                  <a:gd name="connsiteY91" fmla="*/ 425863 h 1567529"/>
                  <a:gd name="connsiteX92" fmla="*/ 900047 w 4247858"/>
                  <a:gd name="connsiteY92" fmla="*/ 443579 h 1567529"/>
                  <a:gd name="connsiteX93" fmla="*/ 926224 w 4247858"/>
                  <a:gd name="connsiteY93" fmla="*/ 443579 h 1567529"/>
                  <a:gd name="connsiteX94" fmla="*/ 926224 w 4247858"/>
                  <a:gd name="connsiteY94" fmla="*/ 448723 h 1567529"/>
                  <a:gd name="connsiteX95" fmla="*/ 949129 w 4247858"/>
                  <a:gd name="connsiteY95" fmla="*/ 448723 h 1567529"/>
                  <a:gd name="connsiteX96" fmla="*/ 949129 w 4247858"/>
                  <a:gd name="connsiteY96" fmla="*/ 456057 h 1567529"/>
                  <a:gd name="connsiteX97" fmla="*/ 957256 w 4247858"/>
                  <a:gd name="connsiteY97" fmla="*/ 456057 h 1567529"/>
                  <a:gd name="connsiteX98" fmla="*/ 957256 w 4247858"/>
                  <a:gd name="connsiteY98" fmla="*/ 464915 h 1567529"/>
                  <a:gd name="connsiteX99" fmla="*/ 966228 w 4247858"/>
                  <a:gd name="connsiteY99" fmla="*/ 464915 h 1567529"/>
                  <a:gd name="connsiteX100" fmla="*/ 966228 w 4247858"/>
                  <a:gd name="connsiteY100" fmla="*/ 473774 h 1567529"/>
                  <a:gd name="connsiteX101" fmla="*/ 990717 w 4247858"/>
                  <a:gd name="connsiteY101" fmla="*/ 473774 h 1567529"/>
                  <a:gd name="connsiteX102" fmla="*/ 990717 w 4247858"/>
                  <a:gd name="connsiteY102" fmla="*/ 485585 h 1567529"/>
                  <a:gd name="connsiteX103" fmla="*/ 1016049 w 4247858"/>
                  <a:gd name="connsiteY103" fmla="*/ 485585 h 1567529"/>
                  <a:gd name="connsiteX104" fmla="*/ 1016049 w 4247858"/>
                  <a:gd name="connsiteY104" fmla="*/ 497396 h 1567529"/>
                  <a:gd name="connsiteX105" fmla="*/ 1028293 w 4247858"/>
                  <a:gd name="connsiteY105" fmla="*/ 497396 h 1567529"/>
                  <a:gd name="connsiteX106" fmla="*/ 1028293 w 4247858"/>
                  <a:gd name="connsiteY106" fmla="*/ 504063 h 1567529"/>
                  <a:gd name="connsiteX107" fmla="*/ 1045498 w 4247858"/>
                  <a:gd name="connsiteY107" fmla="*/ 504063 h 1567529"/>
                  <a:gd name="connsiteX108" fmla="*/ 1045498 w 4247858"/>
                  <a:gd name="connsiteY108" fmla="*/ 514350 h 1567529"/>
                  <a:gd name="connsiteX109" fmla="*/ 1061015 w 4247858"/>
                  <a:gd name="connsiteY109" fmla="*/ 514350 h 1567529"/>
                  <a:gd name="connsiteX110" fmla="*/ 1061015 w 4247858"/>
                  <a:gd name="connsiteY110" fmla="*/ 525399 h 1567529"/>
                  <a:gd name="connsiteX111" fmla="*/ 1072414 w 4247858"/>
                  <a:gd name="connsiteY111" fmla="*/ 525399 h 1567529"/>
                  <a:gd name="connsiteX112" fmla="*/ 1072414 w 4247858"/>
                  <a:gd name="connsiteY112" fmla="*/ 535686 h 1567529"/>
                  <a:gd name="connsiteX113" fmla="*/ 1078959 w 4247858"/>
                  <a:gd name="connsiteY113" fmla="*/ 535686 h 1567529"/>
                  <a:gd name="connsiteX114" fmla="*/ 1078959 w 4247858"/>
                  <a:gd name="connsiteY114" fmla="*/ 543782 h 1567529"/>
                  <a:gd name="connsiteX115" fmla="*/ 1090358 w 4247858"/>
                  <a:gd name="connsiteY115" fmla="*/ 543782 h 1567529"/>
                  <a:gd name="connsiteX116" fmla="*/ 1090358 w 4247858"/>
                  <a:gd name="connsiteY116" fmla="*/ 556355 h 1567529"/>
                  <a:gd name="connsiteX117" fmla="*/ 1096903 w 4247858"/>
                  <a:gd name="connsiteY117" fmla="*/ 556355 h 1567529"/>
                  <a:gd name="connsiteX118" fmla="*/ 1096903 w 4247858"/>
                  <a:gd name="connsiteY118" fmla="*/ 563690 h 1567529"/>
                  <a:gd name="connsiteX119" fmla="*/ 1112419 w 4247858"/>
                  <a:gd name="connsiteY119" fmla="*/ 563690 h 1567529"/>
                  <a:gd name="connsiteX120" fmla="*/ 1112419 w 4247858"/>
                  <a:gd name="connsiteY120" fmla="*/ 573977 h 1567529"/>
                  <a:gd name="connsiteX121" fmla="*/ 1121391 w 4247858"/>
                  <a:gd name="connsiteY121" fmla="*/ 573977 h 1567529"/>
                  <a:gd name="connsiteX122" fmla="*/ 1121391 w 4247858"/>
                  <a:gd name="connsiteY122" fmla="*/ 581311 h 1567529"/>
                  <a:gd name="connsiteX123" fmla="*/ 1139335 w 4247858"/>
                  <a:gd name="connsiteY123" fmla="*/ 581311 h 1567529"/>
                  <a:gd name="connsiteX124" fmla="*/ 1139335 w 4247858"/>
                  <a:gd name="connsiteY124" fmla="*/ 598265 h 1567529"/>
                  <a:gd name="connsiteX125" fmla="*/ 1172056 w 4247858"/>
                  <a:gd name="connsiteY125" fmla="*/ 598265 h 1567529"/>
                  <a:gd name="connsiteX126" fmla="*/ 1172056 w 4247858"/>
                  <a:gd name="connsiteY126" fmla="*/ 607124 h 1567529"/>
                  <a:gd name="connsiteX127" fmla="*/ 1179445 w 4247858"/>
                  <a:gd name="connsiteY127" fmla="*/ 607124 h 1567529"/>
                  <a:gd name="connsiteX128" fmla="*/ 1179445 w 4247858"/>
                  <a:gd name="connsiteY128" fmla="*/ 614458 h 1567529"/>
                  <a:gd name="connsiteX129" fmla="*/ 1186833 w 4247858"/>
                  <a:gd name="connsiteY129" fmla="*/ 614458 h 1567529"/>
                  <a:gd name="connsiteX130" fmla="*/ 1186833 w 4247858"/>
                  <a:gd name="connsiteY130" fmla="*/ 624078 h 1567529"/>
                  <a:gd name="connsiteX131" fmla="*/ 1197494 w 4247858"/>
                  <a:gd name="connsiteY131" fmla="*/ 624078 h 1567529"/>
                  <a:gd name="connsiteX132" fmla="*/ 1197494 w 4247858"/>
                  <a:gd name="connsiteY132" fmla="*/ 630746 h 1567529"/>
                  <a:gd name="connsiteX133" fmla="*/ 1206466 w 4247858"/>
                  <a:gd name="connsiteY133" fmla="*/ 630746 h 1567529"/>
                  <a:gd name="connsiteX134" fmla="*/ 1206466 w 4247858"/>
                  <a:gd name="connsiteY134" fmla="*/ 638080 h 1567529"/>
                  <a:gd name="connsiteX135" fmla="*/ 1215438 w 4247858"/>
                  <a:gd name="connsiteY135" fmla="*/ 638080 h 1567529"/>
                  <a:gd name="connsiteX136" fmla="*/ 1215438 w 4247858"/>
                  <a:gd name="connsiteY136" fmla="*/ 643985 h 1567529"/>
                  <a:gd name="connsiteX137" fmla="*/ 1231799 w 4247858"/>
                  <a:gd name="connsiteY137" fmla="*/ 643985 h 1567529"/>
                  <a:gd name="connsiteX138" fmla="*/ 1231799 w 4247858"/>
                  <a:gd name="connsiteY138" fmla="*/ 658749 h 1567529"/>
                  <a:gd name="connsiteX139" fmla="*/ 1251432 w 4247858"/>
                  <a:gd name="connsiteY139" fmla="*/ 658749 h 1567529"/>
                  <a:gd name="connsiteX140" fmla="*/ 1251432 w 4247858"/>
                  <a:gd name="connsiteY140" fmla="*/ 665417 h 1567529"/>
                  <a:gd name="connsiteX141" fmla="*/ 1257976 w 4247858"/>
                  <a:gd name="connsiteY141" fmla="*/ 665417 h 1567529"/>
                  <a:gd name="connsiteX142" fmla="*/ 1257976 w 4247858"/>
                  <a:gd name="connsiteY142" fmla="*/ 672084 h 1567529"/>
                  <a:gd name="connsiteX143" fmla="*/ 1267792 w 4247858"/>
                  <a:gd name="connsiteY143" fmla="*/ 672084 h 1567529"/>
                  <a:gd name="connsiteX144" fmla="*/ 1267792 w 4247858"/>
                  <a:gd name="connsiteY144" fmla="*/ 686086 h 1567529"/>
                  <a:gd name="connsiteX145" fmla="*/ 1290697 w 4247858"/>
                  <a:gd name="connsiteY145" fmla="*/ 686086 h 1567529"/>
                  <a:gd name="connsiteX146" fmla="*/ 1290697 w 4247858"/>
                  <a:gd name="connsiteY146" fmla="*/ 691991 h 1567529"/>
                  <a:gd name="connsiteX147" fmla="*/ 1328274 w 4247858"/>
                  <a:gd name="connsiteY147" fmla="*/ 691991 h 1567529"/>
                  <a:gd name="connsiteX148" fmla="*/ 1328274 w 4247858"/>
                  <a:gd name="connsiteY148" fmla="*/ 700088 h 1567529"/>
                  <a:gd name="connsiteX149" fmla="*/ 1337246 w 4247858"/>
                  <a:gd name="connsiteY149" fmla="*/ 700088 h 1567529"/>
                  <a:gd name="connsiteX150" fmla="*/ 1337246 w 4247858"/>
                  <a:gd name="connsiteY150" fmla="*/ 706755 h 1567529"/>
                  <a:gd name="connsiteX151" fmla="*/ 1344635 w 4247858"/>
                  <a:gd name="connsiteY151" fmla="*/ 706755 h 1567529"/>
                  <a:gd name="connsiteX152" fmla="*/ 1344635 w 4247858"/>
                  <a:gd name="connsiteY152" fmla="*/ 712661 h 1567529"/>
                  <a:gd name="connsiteX153" fmla="*/ 1350334 w 4247858"/>
                  <a:gd name="connsiteY153" fmla="*/ 712661 h 1567529"/>
                  <a:gd name="connsiteX154" fmla="*/ 1350334 w 4247858"/>
                  <a:gd name="connsiteY154" fmla="*/ 723709 h 1567529"/>
                  <a:gd name="connsiteX155" fmla="*/ 1357723 w 4247858"/>
                  <a:gd name="connsiteY155" fmla="*/ 723709 h 1567529"/>
                  <a:gd name="connsiteX156" fmla="*/ 1357723 w 4247858"/>
                  <a:gd name="connsiteY156" fmla="*/ 736949 h 1567529"/>
                  <a:gd name="connsiteX157" fmla="*/ 1378200 w 4247858"/>
                  <a:gd name="connsiteY157" fmla="*/ 736949 h 1567529"/>
                  <a:gd name="connsiteX158" fmla="*/ 1378200 w 4247858"/>
                  <a:gd name="connsiteY158" fmla="*/ 743617 h 1567529"/>
                  <a:gd name="connsiteX159" fmla="*/ 1392133 w 4247858"/>
                  <a:gd name="connsiteY159" fmla="*/ 743617 h 1567529"/>
                  <a:gd name="connsiteX160" fmla="*/ 1392133 w 4247858"/>
                  <a:gd name="connsiteY160" fmla="*/ 750951 h 1567529"/>
                  <a:gd name="connsiteX161" fmla="*/ 1402794 w 4247858"/>
                  <a:gd name="connsiteY161" fmla="*/ 750951 h 1567529"/>
                  <a:gd name="connsiteX162" fmla="*/ 1402794 w 4247858"/>
                  <a:gd name="connsiteY162" fmla="*/ 759809 h 1567529"/>
                  <a:gd name="connsiteX163" fmla="*/ 1410183 w 4247858"/>
                  <a:gd name="connsiteY163" fmla="*/ 759809 h 1567529"/>
                  <a:gd name="connsiteX164" fmla="*/ 1410183 w 4247858"/>
                  <a:gd name="connsiteY164" fmla="*/ 765715 h 1567529"/>
                  <a:gd name="connsiteX165" fmla="*/ 1417571 w 4247858"/>
                  <a:gd name="connsiteY165" fmla="*/ 765715 h 1567529"/>
                  <a:gd name="connsiteX166" fmla="*/ 1417571 w 4247858"/>
                  <a:gd name="connsiteY166" fmla="*/ 775335 h 1567529"/>
                  <a:gd name="connsiteX167" fmla="*/ 1427388 w 4247858"/>
                  <a:gd name="connsiteY167" fmla="*/ 775335 h 1567529"/>
                  <a:gd name="connsiteX168" fmla="*/ 1427388 w 4247858"/>
                  <a:gd name="connsiteY168" fmla="*/ 779717 h 1567529"/>
                  <a:gd name="connsiteX169" fmla="*/ 1442904 w 4247858"/>
                  <a:gd name="connsiteY169" fmla="*/ 779717 h 1567529"/>
                  <a:gd name="connsiteX170" fmla="*/ 1442904 w 4247858"/>
                  <a:gd name="connsiteY170" fmla="*/ 787813 h 1567529"/>
                  <a:gd name="connsiteX171" fmla="*/ 1464120 w 4247858"/>
                  <a:gd name="connsiteY171" fmla="*/ 787813 h 1567529"/>
                  <a:gd name="connsiteX172" fmla="*/ 1464120 w 4247858"/>
                  <a:gd name="connsiteY172" fmla="*/ 796671 h 1567529"/>
                  <a:gd name="connsiteX173" fmla="*/ 1473936 w 4247858"/>
                  <a:gd name="connsiteY173" fmla="*/ 796671 h 1567529"/>
                  <a:gd name="connsiteX174" fmla="*/ 1473936 w 4247858"/>
                  <a:gd name="connsiteY174" fmla="*/ 805529 h 1567529"/>
                  <a:gd name="connsiteX175" fmla="*/ 1483753 w 4247858"/>
                  <a:gd name="connsiteY175" fmla="*/ 805529 h 1567529"/>
                  <a:gd name="connsiteX176" fmla="*/ 1483753 w 4247858"/>
                  <a:gd name="connsiteY176" fmla="*/ 811435 h 1567529"/>
                  <a:gd name="connsiteX177" fmla="*/ 1515630 w 4247858"/>
                  <a:gd name="connsiteY177" fmla="*/ 811435 h 1567529"/>
                  <a:gd name="connsiteX178" fmla="*/ 1515630 w 4247858"/>
                  <a:gd name="connsiteY178" fmla="*/ 824675 h 1567529"/>
                  <a:gd name="connsiteX179" fmla="*/ 1572100 w 4247858"/>
                  <a:gd name="connsiteY179" fmla="*/ 824675 h 1567529"/>
                  <a:gd name="connsiteX180" fmla="*/ 1572100 w 4247858"/>
                  <a:gd name="connsiteY180" fmla="*/ 831342 h 1567529"/>
                  <a:gd name="connsiteX181" fmla="*/ 1581917 w 4247858"/>
                  <a:gd name="connsiteY181" fmla="*/ 831342 h 1567529"/>
                  <a:gd name="connsiteX182" fmla="*/ 1581917 w 4247858"/>
                  <a:gd name="connsiteY182" fmla="*/ 840962 h 1567529"/>
                  <a:gd name="connsiteX183" fmla="*/ 1596589 w 4247858"/>
                  <a:gd name="connsiteY183" fmla="*/ 840962 h 1567529"/>
                  <a:gd name="connsiteX184" fmla="*/ 1596589 w 4247858"/>
                  <a:gd name="connsiteY184" fmla="*/ 850582 h 1567529"/>
                  <a:gd name="connsiteX185" fmla="*/ 1603133 w 4247858"/>
                  <a:gd name="connsiteY185" fmla="*/ 850582 h 1567529"/>
                  <a:gd name="connsiteX186" fmla="*/ 1603133 w 4247858"/>
                  <a:gd name="connsiteY186" fmla="*/ 855726 h 1567529"/>
                  <a:gd name="connsiteX187" fmla="*/ 1626038 w 4247858"/>
                  <a:gd name="connsiteY187" fmla="*/ 855726 h 1567529"/>
                  <a:gd name="connsiteX188" fmla="*/ 1626038 w 4247858"/>
                  <a:gd name="connsiteY188" fmla="*/ 863822 h 1567529"/>
                  <a:gd name="connsiteX189" fmla="*/ 1643243 w 4247858"/>
                  <a:gd name="connsiteY189" fmla="*/ 863822 h 1567529"/>
                  <a:gd name="connsiteX190" fmla="*/ 1643243 w 4247858"/>
                  <a:gd name="connsiteY190" fmla="*/ 871728 h 1567529"/>
                  <a:gd name="connsiteX191" fmla="*/ 1651370 w 4247858"/>
                  <a:gd name="connsiteY191" fmla="*/ 871728 h 1567529"/>
                  <a:gd name="connsiteX192" fmla="*/ 1651370 w 4247858"/>
                  <a:gd name="connsiteY192" fmla="*/ 876395 h 1567529"/>
                  <a:gd name="connsiteX193" fmla="*/ 1666042 w 4247858"/>
                  <a:gd name="connsiteY193" fmla="*/ 876395 h 1567529"/>
                  <a:gd name="connsiteX194" fmla="*/ 1666042 w 4247858"/>
                  <a:gd name="connsiteY194" fmla="*/ 883063 h 1567529"/>
                  <a:gd name="connsiteX195" fmla="*/ 1719980 w 4247858"/>
                  <a:gd name="connsiteY195" fmla="*/ 883063 h 1567529"/>
                  <a:gd name="connsiteX196" fmla="*/ 1719980 w 4247858"/>
                  <a:gd name="connsiteY196" fmla="*/ 891921 h 1567529"/>
                  <a:gd name="connsiteX197" fmla="*/ 1729796 w 4247858"/>
                  <a:gd name="connsiteY197" fmla="*/ 891921 h 1567529"/>
                  <a:gd name="connsiteX198" fmla="*/ 1729796 w 4247858"/>
                  <a:gd name="connsiteY198" fmla="*/ 899255 h 1567529"/>
                  <a:gd name="connsiteX199" fmla="*/ 1740457 w 4247858"/>
                  <a:gd name="connsiteY199" fmla="*/ 899255 h 1567529"/>
                  <a:gd name="connsiteX200" fmla="*/ 1740457 w 4247858"/>
                  <a:gd name="connsiteY200" fmla="*/ 909542 h 1567529"/>
                  <a:gd name="connsiteX201" fmla="*/ 1748584 w 4247858"/>
                  <a:gd name="connsiteY201" fmla="*/ 909542 h 1567529"/>
                  <a:gd name="connsiteX202" fmla="*/ 1748584 w 4247858"/>
                  <a:gd name="connsiteY202" fmla="*/ 919163 h 1567529"/>
                  <a:gd name="connsiteX203" fmla="*/ 1758401 w 4247858"/>
                  <a:gd name="connsiteY203" fmla="*/ 919163 h 1567529"/>
                  <a:gd name="connsiteX204" fmla="*/ 1758401 w 4247858"/>
                  <a:gd name="connsiteY204" fmla="*/ 924306 h 1567529"/>
                  <a:gd name="connsiteX205" fmla="*/ 1789433 w 4247858"/>
                  <a:gd name="connsiteY205" fmla="*/ 924306 h 1567529"/>
                  <a:gd name="connsiteX206" fmla="*/ 1789433 w 4247858"/>
                  <a:gd name="connsiteY206" fmla="*/ 930974 h 1567529"/>
                  <a:gd name="connsiteX207" fmla="*/ 1815610 w 4247858"/>
                  <a:gd name="connsiteY207" fmla="*/ 930974 h 1567529"/>
                  <a:gd name="connsiteX208" fmla="*/ 1815610 w 4247858"/>
                  <a:gd name="connsiteY208" fmla="*/ 943547 h 1567529"/>
                  <a:gd name="connsiteX209" fmla="*/ 1854031 w 4247858"/>
                  <a:gd name="connsiteY209" fmla="*/ 943547 h 1567529"/>
                  <a:gd name="connsiteX210" fmla="*/ 1854031 w 4247858"/>
                  <a:gd name="connsiteY210" fmla="*/ 953834 h 1567529"/>
                  <a:gd name="connsiteX211" fmla="*/ 1884325 w 4247858"/>
                  <a:gd name="connsiteY211" fmla="*/ 953834 h 1567529"/>
                  <a:gd name="connsiteX212" fmla="*/ 1884325 w 4247858"/>
                  <a:gd name="connsiteY212" fmla="*/ 963454 h 1567529"/>
                  <a:gd name="connsiteX213" fmla="*/ 1894986 w 4247858"/>
                  <a:gd name="connsiteY213" fmla="*/ 963454 h 1567529"/>
                  <a:gd name="connsiteX214" fmla="*/ 1894986 w 4247858"/>
                  <a:gd name="connsiteY214" fmla="*/ 977456 h 1567529"/>
                  <a:gd name="connsiteX215" fmla="*/ 1923063 w 4247858"/>
                  <a:gd name="connsiteY215" fmla="*/ 977456 h 1567529"/>
                  <a:gd name="connsiteX216" fmla="*/ 1923063 w 4247858"/>
                  <a:gd name="connsiteY216" fmla="*/ 994601 h 1567529"/>
                  <a:gd name="connsiteX217" fmla="*/ 1962856 w 4247858"/>
                  <a:gd name="connsiteY217" fmla="*/ 994601 h 1567529"/>
                  <a:gd name="connsiteX218" fmla="*/ 1962856 w 4247858"/>
                  <a:gd name="connsiteY218" fmla="*/ 997458 h 1567529"/>
                  <a:gd name="connsiteX219" fmla="*/ 1991461 w 4247858"/>
                  <a:gd name="connsiteY219" fmla="*/ 997458 h 1567529"/>
                  <a:gd name="connsiteX220" fmla="*/ 1991461 w 4247858"/>
                  <a:gd name="connsiteY220" fmla="*/ 1008507 h 1567529"/>
                  <a:gd name="connsiteX221" fmla="*/ 2006133 w 4247858"/>
                  <a:gd name="connsiteY221" fmla="*/ 1008507 h 1567529"/>
                  <a:gd name="connsiteX222" fmla="*/ 2006133 w 4247858"/>
                  <a:gd name="connsiteY222" fmla="*/ 1017365 h 1567529"/>
                  <a:gd name="connsiteX223" fmla="*/ 2043709 w 4247858"/>
                  <a:gd name="connsiteY223" fmla="*/ 1017365 h 1567529"/>
                  <a:gd name="connsiteX224" fmla="*/ 2043709 w 4247858"/>
                  <a:gd name="connsiteY224" fmla="*/ 1025462 h 1567529"/>
                  <a:gd name="connsiteX225" fmla="*/ 2055953 w 4247858"/>
                  <a:gd name="connsiteY225" fmla="*/ 1025462 h 1567529"/>
                  <a:gd name="connsiteX226" fmla="*/ 2055953 w 4247858"/>
                  <a:gd name="connsiteY226" fmla="*/ 1033558 h 1567529"/>
                  <a:gd name="connsiteX227" fmla="*/ 2066614 w 4247858"/>
                  <a:gd name="connsiteY227" fmla="*/ 1033558 h 1567529"/>
                  <a:gd name="connsiteX228" fmla="*/ 2066614 w 4247858"/>
                  <a:gd name="connsiteY228" fmla="*/ 1045369 h 1567529"/>
                  <a:gd name="connsiteX229" fmla="*/ 2103452 w 4247858"/>
                  <a:gd name="connsiteY229" fmla="*/ 1045369 h 1567529"/>
                  <a:gd name="connsiteX230" fmla="*/ 2103452 w 4247858"/>
                  <a:gd name="connsiteY230" fmla="*/ 1056418 h 1567529"/>
                  <a:gd name="connsiteX231" fmla="*/ 2129629 w 4247858"/>
                  <a:gd name="connsiteY231" fmla="*/ 1056418 h 1567529"/>
                  <a:gd name="connsiteX232" fmla="*/ 2129629 w 4247858"/>
                  <a:gd name="connsiteY232" fmla="*/ 1063752 h 1567529"/>
                  <a:gd name="connsiteX233" fmla="*/ 2173750 w 4247858"/>
                  <a:gd name="connsiteY233" fmla="*/ 1063752 h 1567529"/>
                  <a:gd name="connsiteX234" fmla="*/ 2173750 w 4247858"/>
                  <a:gd name="connsiteY234" fmla="*/ 1076325 h 1567529"/>
                  <a:gd name="connsiteX235" fmla="*/ 2213860 w 4247858"/>
                  <a:gd name="connsiteY235" fmla="*/ 1076325 h 1567529"/>
                  <a:gd name="connsiteX236" fmla="*/ 2213860 w 4247858"/>
                  <a:gd name="connsiteY236" fmla="*/ 1088136 h 1567529"/>
                  <a:gd name="connsiteX237" fmla="*/ 2232648 w 4247858"/>
                  <a:gd name="connsiteY237" fmla="*/ 1088136 h 1567529"/>
                  <a:gd name="connsiteX238" fmla="*/ 2232648 w 4247858"/>
                  <a:gd name="connsiteY238" fmla="*/ 1096994 h 1567529"/>
                  <a:gd name="connsiteX239" fmla="*/ 2254709 w 4247858"/>
                  <a:gd name="connsiteY239" fmla="*/ 1096994 h 1567529"/>
                  <a:gd name="connsiteX240" fmla="*/ 2254709 w 4247858"/>
                  <a:gd name="connsiteY240" fmla="*/ 1103662 h 1567529"/>
                  <a:gd name="connsiteX241" fmla="*/ 2267797 w 4247858"/>
                  <a:gd name="connsiteY241" fmla="*/ 1103662 h 1567529"/>
                  <a:gd name="connsiteX242" fmla="*/ 2265053 w 4247858"/>
                  <a:gd name="connsiteY242" fmla="*/ 1109948 h 1567529"/>
                  <a:gd name="connsiteX243" fmla="*/ 2306746 w 4247858"/>
                  <a:gd name="connsiteY243" fmla="*/ 1109948 h 1567529"/>
                  <a:gd name="connsiteX244" fmla="*/ 2309491 w 4247858"/>
                  <a:gd name="connsiteY244" fmla="*/ 1120616 h 1567529"/>
                  <a:gd name="connsiteX245" fmla="*/ 2330707 w 4247858"/>
                  <a:gd name="connsiteY245" fmla="*/ 1120616 h 1567529"/>
                  <a:gd name="connsiteX246" fmla="*/ 2330707 w 4247858"/>
                  <a:gd name="connsiteY246" fmla="*/ 1130903 h 1567529"/>
                  <a:gd name="connsiteX247" fmla="*/ 2365011 w 4247858"/>
                  <a:gd name="connsiteY247" fmla="*/ 1130903 h 1567529"/>
                  <a:gd name="connsiteX248" fmla="*/ 2365011 w 4247858"/>
                  <a:gd name="connsiteY248" fmla="*/ 1137571 h 1567529"/>
                  <a:gd name="connsiteX249" fmla="*/ 2414093 w 4247858"/>
                  <a:gd name="connsiteY249" fmla="*/ 1137571 h 1567529"/>
                  <a:gd name="connsiteX250" fmla="*/ 2414093 w 4247858"/>
                  <a:gd name="connsiteY250" fmla="*/ 1147191 h 1567529"/>
                  <a:gd name="connsiteX251" fmla="*/ 2424754 w 4247858"/>
                  <a:gd name="connsiteY251" fmla="*/ 1147191 h 1567529"/>
                  <a:gd name="connsiteX252" fmla="*/ 2424754 w 4247858"/>
                  <a:gd name="connsiteY252" fmla="*/ 1152335 h 1567529"/>
                  <a:gd name="connsiteX253" fmla="*/ 2468136 w 4247858"/>
                  <a:gd name="connsiteY253" fmla="*/ 1152335 h 1567529"/>
                  <a:gd name="connsiteX254" fmla="*/ 2468136 w 4247858"/>
                  <a:gd name="connsiteY254" fmla="*/ 1161955 h 1567529"/>
                  <a:gd name="connsiteX255" fmla="*/ 2505713 w 4247858"/>
                  <a:gd name="connsiteY255" fmla="*/ 1161955 h 1567529"/>
                  <a:gd name="connsiteX256" fmla="*/ 2505713 w 4247858"/>
                  <a:gd name="connsiteY256" fmla="*/ 1169289 h 1567529"/>
                  <a:gd name="connsiteX257" fmla="*/ 2513102 w 4247858"/>
                  <a:gd name="connsiteY257" fmla="*/ 1169289 h 1567529"/>
                  <a:gd name="connsiteX258" fmla="*/ 2513102 w 4247858"/>
                  <a:gd name="connsiteY258" fmla="*/ 1179576 h 1567529"/>
                  <a:gd name="connsiteX259" fmla="*/ 2562184 w 4247858"/>
                  <a:gd name="connsiteY259" fmla="*/ 1179576 h 1567529"/>
                  <a:gd name="connsiteX260" fmla="*/ 2562184 w 4247858"/>
                  <a:gd name="connsiteY260" fmla="*/ 1189863 h 1567529"/>
                  <a:gd name="connsiteX261" fmla="*/ 2575272 w 4247858"/>
                  <a:gd name="connsiteY261" fmla="*/ 1189863 h 1567529"/>
                  <a:gd name="connsiteX262" fmla="*/ 2575272 w 4247858"/>
                  <a:gd name="connsiteY262" fmla="*/ 1204627 h 1567529"/>
                  <a:gd name="connsiteX263" fmla="*/ 2587516 w 4247858"/>
                  <a:gd name="connsiteY263" fmla="*/ 1204627 h 1567529"/>
                  <a:gd name="connsiteX264" fmla="*/ 2587516 w 4247858"/>
                  <a:gd name="connsiteY264" fmla="*/ 1210532 h 1567529"/>
                  <a:gd name="connsiteX265" fmla="*/ 2665203 w 4247858"/>
                  <a:gd name="connsiteY265" fmla="*/ 1210532 h 1567529"/>
                  <a:gd name="connsiteX266" fmla="*/ 2665203 w 4247858"/>
                  <a:gd name="connsiteY266" fmla="*/ 1220819 h 1567529"/>
                  <a:gd name="connsiteX267" fmla="*/ 2715868 w 4247858"/>
                  <a:gd name="connsiteY267" fmla="*/ 1220819 h 1567529"/>
                  <a:gd name="connsiteX268" fmla="*/ 2715868 w 4247858"/>
                  <a:gd name="connsiteY268" fmla="*/ 1231106 h 1567529"/>
                  <a:gd name="connsiteX269" fmla="*/ 2723996 w 4247858"/>
                  <a:gd name="connsiteY269" fmla="*/ 1231106 h 1567529"/>
                  <a:gd name="connsiteX270" fmla="*/ 2723996 w 4247858"/>
                  <a:gd name="connsiteY270" fmla="*/ 1238441 h 1567529"/>
                  <a:gd name="connsiteX271" fmla="*/ 2751017 w 4247858"/>
                  <a:gd name="connsiteY271" fmla="*/ 1238441 h 1567529"/>
                  <a:gd name="connsiteX272" fmla="*/ 2751017 w 4247858"/>
                  <a:gd name="connsiteY272" fmla="*/ 1246537 h 1567529"/>
                  <a:gd name="connsiteX273" fmla="*/ 2761678 w 4247858"/>
                  <a:gd name="connsiteY273" fmla="*/ 1246537 h 1567529"/>
                  <a:gd name="connsiteX274" fmla="*/ 2761678 w 4247858"/>
                  <a:gd name="connsiteY274" fmla="*/ 1257586 h 1567529"/>
                  <a:gd name="connsiteX275" fmla="*/ 2776350 w 4247858"/>
                  <a:gd name="connsiteY275" fmla="*/ 1257586 h 1567529"/>
                  <a:gd name="connsiteX276" fmla="*/ 2776350 w 4247858"/>
                  <a:gd name="connsiteY276" fmla="*/ 1262729 h 1567529"/>
                  <a:gd name="connsiteX277" fmla="*/ 2809916 w 4247858"/>
                  <a:gd name="connsiteY277" fmla="*/ 1262729 h 1567529"/>
                  <a:gd name="connsiteX278" fmla="*/ 2809916 w 4247858"/>
                  <a:gd name="connsiteY278" fmla="*/ 1271587 h 1567529"/>
                  <a:gd name="connsiteX279" fmla="*/ 2866386 w 4247858"/>
                  <a:gd name="connsiteY279" fmla="*/ 1271587 h 1567529"/>
                  <a:gd name="connsiteX280" fmla="*/ 2870081 w 4247858"/>
                  <a:gd name="connsiteY280" fmla="*/ 1276826 h 1567529"/>
                  <a:gd name="connsiteX281" fmla="*/ 2910191 w 4247858"/>
                  <a:gd name="connsiteY281" fmla="*/ 1276826 h 1567529"/>
                  <a:gd name="connsiteX282" fmla="*/ 2911035 w 4247858"/>
                  <a:gd name="connsiteY282" fmla="*/ 1286351 h 1567529"/>
                  <a:gd name="connsiteX283" fmla="*/ 2953784 w 4247858"/>
                  <a:gd name="connsiteY283" fmla="*/ 1286351 h 1567529"/>
                  <a:gd name="connsiteX284" fmla="*/ 2954628 w 4247858"/>
                  <a:gd name="connsiteY284" fmla="*/ 1301115 h 1567529"/>
                  <a:gd name="connsiteX285" fmla="*/ 2975844 w 4247858"/>
                  <a:gd name="connsiteY285" fmla="*/ 1301115 h 1567529"/>
                  <a:gd name="connsiteX286" fmla="*/ 2974367 w 4247858"/>
                  <a:gd name="connsiteY286" fmla="*/ 1305401 h 1567529"/>
                  <a:gd name="connsiteX287" fmla="*/ 2995583 w 4247858"/>
                  <a:gd name="connsiteY287" fmla="*/ 1305401 h 1567529"/>
                  <a:gd name="connsiteX288" fmla="*/ 2994105 w 4247858"/>
                  <a:gd name="connsiteY288" fmla="*/ 1315212 h 1567529"/>
                  <a:gd name="connsiteX289" fmla="*/ 3019437 w 4247858"/>
                  <a:gd name="connsiteY289" fmla="*/ 1314641 h 1567529"/>
                  <a:gd name="connsiteX290" fmla="*/ 3022393 w 4247858"/>
                  <a:gd name="connsiteY290" fmla="*/ 1324166 h 1567529"/>
                  <a:gd name="connsiteX291" fmla="*/ 3058492 w 4247858"/>
                  <a:gd name="connsiteY291" fmla="*/ 1324737 h 1567529"/>
                  <a:gd name="connsiteX292" fmla="*/ 3058492 w 4247858"/>
                  <a:gd name="connsiteY292" fmla="*/ 1324451 h 1567529"/>
                  <a:gd name="connsiteX293" fmla="*/ 3084880 w 4247858"/>
                  <a:gd name="connsiteY293" fmla="*/ 1324070 h 1567529"/>
                  <a:gd name="connsiteX294" fmla="*/ 3084880 w 4247858"/>
                  <a:gd name="connsiteY294" fmla="*/ 1333595 h 1567529"/>
                  <a:gd name="connsiteX295" fmla="*/ 3114963 w 4247858"/>
                  <a:gd name="connsiteY295" fmla="*/ 1333976 h 1567529"/>
                  <a:gd name="connsiteX296" fmla="*/ 3141139 w 4247858"/>
                  <a:gd name="connsiteY296" fmla="*/ 1333976 h 1567529"/>
                  <a:gd name="connsiteX297" fmla="*/ 3141139 w 4247858"/>
                  <a:gd name="connsiteY297" fmla="*/ 1349121 h 1567529"/>
                  <a:gd name="connsiteX298" fmla="*/ 3174705 w 4247858"/>
                  <a:gd name="connsiteY298" fmla="*/ 1349121 h 1567529"/>
                  <a:gd name="connsiteX299" fmla="*/ 3331768 w 4247858"/>
                  <a:gd name="connsiteY299" fmla="*/ 1349121 h 1567529"/>
                  <a:gd name="connsiteX300" fmla="*/ 3339579 w 4247858"/>
                  <a:gd name="connsiteY300" fmla="*/ 1356170 h 1567529"/>
                  <a:gd name="connsiteX301" fmla="*/ 3362061 w 4247858"/>
                  <a:gd name="connsiteY301" fmla="*/ 1356170 h 1567529"/>
                  <a:gd name="connsiteX302" fmla="*/ 3362061 w 4247858"/>
                  <a:gd name="connsiteY302" fmla="*/ 1366837 h 1567529"/>
                  <a:gd name="connsiteX303" fmla="*/ 3377578 w 4247858"/>
                  <a:gd name="connsiteY303" fmla="*/ 1366837 h 1567529"/>
                  <a:gd name="connsiteX304" fmla="*/ 3380322 w 4247858"/>
                  <a:gd name="connsiteY304" fmla="*/ 1381601 h 1567529"/>
                  <a:gd name="connsiteX305" fmla="*/ 3413043 w 4247858"/>
                  <a:gd name="connsiteY305" fmla="*/ 1381601 h 1567529"/>
                  <a:gd name="connsiteX306" fmla="*/ 3410299 w 4247858"/>
                  <a:gd name="connsiteY306" fmla="*/ 1392650 h 1567529"/>
                  <a:gd name="connsiteX307" fmla="*/ 3420115 w 4247858"/>
                  <a:gd name="connsiteY307" fmla="*/ 1392650 h 1567529"/>
                  <a:gd name="connsiteX308" fmla="*/ 3420115 w 4247858"/>
                  <a:gd name="connsiteY308" fmla="*/ 1401508 h 1567529"/>
                  <a:gd name="connsiteX309" fmla="*/ 3448087 w 4247858"/>
                  <a:gd name="connsiteY309" fmla="*/ 1401508 h 1567529"/>
                  <a:gd name="connsiteX310" fmla="*/ 3448087 w 4247858"/>
                  <a:gd name="connsiteY310" fmla="*/ 1418463 h 1567529"/>
                  <a:gd name="connsiteX311" fmla="*/ 3505613 w 4247858"/>
                  <a:gd name="connsiteY311" fmla="*/ 1418463 h 1567529"/>
                  <a:gd name="connsiteX312" fmla="*/ 3505613 w 4247858"/>
                  <a:gd name="connsiteY312" fmla="*/ 1437989 h 1567529"/>
                  <a:gd name="connsiteX313" fmla="*/ 3623409 w 4247858"/>
                  <a:gd name="connsiteY313" fmla="*/ 1437989 h 1567529"/>
                  <a:gd name="connsiteX314" fmla="*/ 3627104 w 4247858"/>
                  <a:gd name="connsiteY314" fmla="*/ 1450467 h 1567529"/>
                  <a:gd name="connsiteX315" fmla="*/ 3659825 w 4247858"/>
                  <a:gd name="connsiteY315" fmla="*/ 1450467 h 1567529"/>
                  <a:gd name="connsiteX316" fmla="*/ 3659825 w 4247858"/>
                  <a:gd name="connsiteY316" fmla="*/ 1456182 h 1567529"/>
                  <a:gd name="connsiteX317" fmla="*/ 3681041 w 4247858"/>
                  <a:gd name="connsiteY317" fmla="*/ 1456182 h 1567529"/>
                  <a:gd name="connsiteX318" fmla="*/ 3681041 w 4247858"/>
                  <a:gd name="connsiteY318" fmla="*/ 1466469 h 1567529"/>
                  <a:gd name="connsiteX319" fmla="*/ 3713657 w 4247858"/>
                  <a:gd name="connsiteY319" fmla="*/ 1466469 h 1567529"/>
                  <a:gd name="connsiteX320" fmla="*/ 3713657 w 4247858"/>
                  <a:gd name="connsiteY320" fmla="*/ 1476851 h 1567529"/>
                  <a:gd name="connsiteX321" fmla="*/ 3744056 w 4247858"/>
                  <a:gd name="connsiteY321" fmla="*/ 1476851 h 1567529"/>
                  <a:gd name="connsiteX322" fmla="*/ 3744056 w 4247858"/>
                  <a:gd name="connsiteY322" fmla="*/ 1511427 h 1567529"/>
                  <a:gd name="connsiteX323" fmla="*/ 3757989 w 4247858"/>
                  <a:gd name="connsiteY323" fmla="*/ 1511427 h 1567529"/>
                  <a:gd name="connsiteX324" fmla="*/ 3757989 w 4247858"/>
                  <a:gd name="connsiteY324" fmla="*/ 1535811 h 1567529"/>
                  <a:gd name="connsiteX325" fmla="*/ 3801371 w 4247858"/>
                  <a:gd name="connsiteY325" fmla="*/ 1535811 h 1567529"/>
                  <a:gd name="connsiteX326" fmla="*/ 3801371 w 4247858"/>
                  <a:gd name="connsiteY326" fmla="*/ 1557909 h 1567529"/>
                  <a:gd name="connsiteX327" fmla="*/ 3816043 w 4247858"/>
                  <a:gd name="connsiteY327" fmla="*/ 1557909 h 1567529"/>
                  <a:gd name="connsiteX328" fmla="*/ 3816043 w 4247858"/>
                  <a:gd name="connsiteY328" fmla="*/ 1567529 h 1567529"/>
                  <a:gd name="connsiteX329" fmla="*/ 4247859 w 4247858"/>
                  <a:gd name="connsiteY329" fmla="*/ 1567529 h 15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Lst>
                <a:rect l="l" t="t" r="r" b="b"/>
                <a:pathLst>
                  <a:path w="4247858" h="1567529">
                    <a:moveTo>
                      <a:pt x="0" y="0"/>
                    </a:moveTo>
                    <a:lnTo>
                      <a:pt x="176906" y="0"/>
                    </a:lnTo>
                    <a:lnTo>
                      <a:pt x="176906" y="9049"/>
                    </a:lnTo>
                    <a:lnTo>
                      <a:pt x="185773" y="9049"/>
                    </a:lnTo>
                    <a:lnTo>
                      <a:pt x="185773" y="21336"/>
                    </a:lnTo>
                    <a:lnTo>
                      <a:pt x="195167" y="21336"/>
                    </a:lnTo>
                    <a:lnTo>
                      <a:pt x="195167" y="35433"/>
                    </a:lnTo>
                    <a:lnTo>
                      <a:pt x="206039" y="35433"/>
                    </a:lnTo>
                    <a:lnTo>
                      <a:pt x="206039" y="49530"/>
                    </a:lnTo>
                    <a:lnTo>
                      <a:pt x="213005" y="49530"/>
                    </a:lnTo>
                    <a:lnTo>
                      <a:pt x="213005" y="55817"/>
                    </a:lnTo>
                    <a:lnTo>
                      <a:pt x="228627" y="55817"/>
                    </a:lnTo>
                    <a:lnTo>
                      <a:pt x="228627" y="68485"/>
                    </a:lnTo>
                    <a:lnTo>
                      <a:pt x="236332" y="68485"/>
                    </a:lnTo>
                    <a:lnTo>
                      <a:pt x="236332" y="75533"/>
                    </a:lnTo>
                    <a:lnTo>
                      <a:pt x="278870" y="75533"/>
                    </a:lnTo>
                    <a:lnTo>
                      <a:pt x="278870" y="82868"/>
                    </a:lnTo>
                    <a:lnTo>
                      <a:pt x="313175" y="82868"/>
                    </a:lnTo>
                    <a:lnTo>
                      <a:pt x="313175" y="102013"/>
                    </a:lnTo>
                    <a:lnTo>
                      <a:pt x="323835" y="102013"/>
                    </a:lnTo>
                    <a:lnTo>
                      <a:pt x="323835" y="112300"/>
                    </a:lnTo>
                    <a:lnTo>
                      <a:pt x="331963" y="112300"/>
                    </a:lnTo>
                    <a:lnTo>
                      <a:pt x="331963" y="122587"/>
                    </a:lnTo>
                    <a:lnTo>
                      <a:pt x="345896" y="122587"/>
                    </a:lnTo>
                    <a:lnTo>
                      <a:pt x="345896" y="128492"/>
                    </a:lnTo>
                    <a:lnTo>
                      <a:pt x="360568" y="128492"/>
                    </a:lnTo>
                    <a:lnTo>
                      <a:pt x="360568" y="137350"/>
                    </a:lnTo>
                    <a:lnTo>
                      <a:pt x="402261" y="137350"/>
                    </a:lnTo>
                    <a:lnTo>
                      <a:pt x="402261" y="148400"/>
                    </a:lnTo>
                    <a:lnTo>
                      <a:pt x="416933" y="148400"/>
                    </a:lnTo>
                    <a:lnTo>
                      <a:pt x="416933" y="154305"/>
                    </a:lnTo>
                    <a:lnTo>
                      <a:pt x="423477" y="154305"/>
                    </a:lnTo>
                    <a:lnTo>
                      <a:pt x="423477" y="166878"/>
                    </a:lnTo>
                    <a:lnTo>
                      <a:pt x="434877" y="166878"/>
                    </a:lnTo>
                    <a:lnTo>
                      <a:pt x="434877" y="172784"/>
                    </a:lnTo>
                    <a:lnTo>
                      <a:pt x="448810" y="172784"/>
                    </a:lnTo>
                    <a:lnTo>
                      <a:pt x="448810" y="178689"/>
                    </a:lnTo>
                    <a:lnTo>
                      <a:pt x="461898" y="178689"/>
                    </a:lnTo>
                    <a:lnTo>
                      <a:pt x="461898" y="188309"/>
                    </a:lnTo>
                    <a:lnTo>
                      <a:pt x="470026" y="188309"/>
                    </a:lnTo>
                    <a:lnTo>
                      <a:pt x="470026" y="194977"/>
                    </a:lnTo>
                    <a:lnTo>
                      <a:pt x="504330" y="194977"/>
                    </a:lnTo>
                    <a:lnTo>
                      <a:pt x="504330" y="204597"/>
                    </a:lnTo>
                    <a:lnTo>
                      <a:pt x="513302" y="204597"/>
                    </a:lnTo>
                    <a:lnTo>
                      <a:pt x="513302" y="208979"/>
                    </a:lnTo>
                    <a:lnTo>
                      <a:pt x="523119" y="208979"/>
                    </a:lnTo>
                    <a:lnTo>
                      <a:pt x="523119" y="221552"/>
                    </a:lnTo>
                    <a:lnTo>
                      <a:pt x="550140" y="221552"/>
                    </a:lnTo>
                    <a:lnTo>
                      <a:pt x="550140" y="234125"/>
                    </a:lnTo>
                    <a:lnTo>
                      <a:pt x="558268" y="234125"/>
                    </a:lnTo>
                    <a:lnTo>
                      <a:pt x="558268" y="242983"/>
                    </a:lnTo>
                    <a:lnTo>
                      <a:pt x="568084" y="242983"/>
                    </a:lnTo>
                    <a:lnTo>
                      <a:pt x="568084" y="250317"/>
                    </a:lnTo>
                    <a:lnTo>
                      <a:pt x="579484" y="250317"/>
                    </a:lnTo>
                    <a:lnTo>
                      <a:pt x="579484" y="257651"/>
                    </a:lnTo>
                    <a:lnTo>
                      <a:pt x="593417" y="257651"/>
                    </a:lnTo>
                    <a:lnTo>
                      <a:pt x="593417" y="263557"/>
                    </a:lnTo>
                    <a:lnTo>
                      <a:pt x="607350" y="263557"/>
                    </a:lnTo>
                    <a:lnTo>
                      <a:pt x="607350" y="272415"/>
                    </a:lnTo>
                    <a:lnTo>
                      <a:pt x="613894" y="272415"/>
                    </a:lnTo>
                    <a:lnTo>
                      <a:pt x="613894" y="281273"/>
                    </a:lnTo>
                    <a:lnTo>
                      <a:pt x="629410" y="281273"/>
                    </a:lnTo>
                    <a:lnTo>
                      <a:pt x="629410" y="290894"/>
                    </a:lnTo>
                    <a:lnTo>
                      <a:pt x="658015" y="290894"/>
                    </a:lnTo>
                    <a:lnTo>
                      <a:pt x="658015" y="297561"/>
                    </a:lnTo>
                    <a:lnTo>
                      <a:pt x="671103" y="297561"/>
                    </a:lnTo>
                    <a:lnTo>
                      <a:pt x="671103" y="305657"/>
                    </a:lnTo>
                    <a:lnTo>
                      <a:pt x="715224" y="305657"/>
                    </a:lnTo>
                    <a:lnTo>
                      <a:pt x="715224" y="314516"/>
                    </a:lnTo>
                    <a:lnTo>
                      <a:pt x="721769" y="314516"/>
                    </a:lnTo>
                    <a:lnTo>
                      <a:pt x="721769" y="325565"/>
                    </a:lnTo>
                    <a:lnTo>
                      <a:pt x="756073" y="325565"/>
                    </a:lnTo>
                    <a:cubicBezTo>
                      <a:pt x="756073" y="325565"/>
                      <a:pt x="753646" y="340328"/>
                      <a:pt x="756073" y="340328"/>
                    </a:cubicBezTo>
                    <a:lnTo>
                      <a:pt x="770006" y="340328"/>
                    </a:lnTo>
                    <a:lnTo>
                      <a:pt x="770006" y="345472"/>
                    </a:lnTo>
                    <a:lnTo>
                      <a:pt x="774123" y="345472"/>
                    </a:lnTo>
                    <a:lnTo>
                      <a:pt x="774123" y="360998"/>
                    </a:lnTo>
                    <a:lnTo>
                      <a:pt x="780667" y="360998"/>
                    </a:lnTo>
                    <a:lnTo>
                      <a:pt x="780667" y="369094"/>
                    </a:lnTo>
                    <a:lnTo>
                      <a:pt x="802727" y="369094"/>
                    </a:lnTo>
                    <a:lnTo>
                      <a:pt x="802727" y="380905"/>
                    </a:lnTo>
                    <a:lnTo>
                      <a:pt x="820671" y="380905"/>
                    </a:lnTo>
                    <a:lnTo>
                      <a:pt x="820671" y="386810"/>
                    </a:lnTo>
                    <a:lnTo>
                      <a:pt x="841149" y="386810"/>
                    </a:lnTo>
                    <a:lnTo>
                      <a:pt x="841149" y="395669"/>
                    </a:lnTo>
                    <a:lnTo>
                      <a:pt x="846848" y="395669"/>
                    </a:lnTo>
                    <a:lnTo>
                      <a:pt x="846848" y="402336"/>
                    </a:lnTo>
                    <a:lnTo>
                      <a:pt x="873026" y="402336"/>
                    </a:lnTo>
                    <a:lnTo>
                      <a:pt x="873026" y="415576"/>
                    </a:lnTo>
                    <a:lnTo>
                      <a:pt x="890231" y="415576"/>
                    </a:lnTo>
                    <a:lnTo>
                      <a:pt x="890231" y="425863"/>
                    </a:lnTo>
                    <a:lnTo>
                      <a:pt x="900047" y="425863"/>
                    </a:lnTo>
                    <a:lnTo>
                      <a:pt x="900047" y="443579"/>
                    </a:lnTo>
                    <a:lnTo>
                      <a:pt x="926224" y="443579"/>
                    </a:lnTo>
                    <a:lnTo>
                      <a:pt x="926224" y="448723"/>
                    </a:lnTo>
                    <a:lnTo>
                      <a:pt x="949129" y="448723"/>
                    </a:lnTo>
                    <a:lnTo>
                      <a:pt x="949129" y="456057"/>
                    </a:lnTo>
                    <a:lnTo>
                      <a:pt x="957256" y="456057"/>
                    </a:lnTo>
                    <a:lnTo>
                      <a:pt x="957256" y="464915"/>
                    </a:lnTo>
                    <a:lnTo>
                      <a:pt x="966228" y="464915"/>
                    </a:lnTo>
                    <a:lnTo>
                      <a:pt x="966228" y="473774"/>
                    </a:lnTo>
                    <a:lnTo>
                      <a:pt x="990717" y="473774"/>
                    </a:lnTo>
                    <a:lnTo>
                      <a:pt x="990717" y="485585"/>
                    </a:lnTo>
                    <a:lnTo>
                      <a:pt x="1016049" y="485585"/>
                    </a:lnTo>
                    <a:lnTo>
                      <a:pt x="1016049" y="497396"/>
                    </a:lnTo>
                    <a:lnTo>
                      <a:pt x="1028293" y="497396"/>
                    </a:lnTo>
                    <a:lnTo>
                      <a:pt x="1028293" y="504063"/>
                    </a:lnTo>
                    <a:lnTo>
                      <a:pt x="1045498" y="504063"/>
                    </a:lnTo>
                    <a:lnTo>
                      <a:pt x="1045498" y="514350"/>
                    </a:lnTo>
                    <a:lnTo>
                      <a:pt x="1061015" y="514350"/>
                    </a:lnTo>
                    <a:lnTo>
                      <a:pt x="1061015" y="525399"/>
                    </a:lnTo>
                    <a:lnTo>
                      <a:pt x="1072414" y="525399"/>
                    </a:lnTo>
                    <a:lnTo>
                      <a:pt x="1072414" y="535686"/>
                    </a:lnTo>
                    <a:lnTo>
                      <a:pt x="1078959" y="535686"/>
                    </a:lnTo>
                    <a:lnTo>
                      <a:pt x="1078959" y="543782"/>
                    </a:lnTo>
                    <a:lnTo>
                      <a:pt x="1090358" y="543782"/>
                    </a:lnTo>
                    <a:lnTo>
                      <a:pt x="1090358" y="556355"/>
                    </a:lnTo>
                    <a:lnTo>
                      <a:pt x="1096903" y="556355"/>
                    </a:lnTo>
                    <a:lnTo>
                      <a:pt x="1096903" y="563690"/>
                    </a:lnTo>
                    <a:lnTo>
                      <a:pt x="1112419" y="563690"/>
                    </a:lnTo>
                    <a:lnTo>
                      <a:pt x="1112419" y="573977"/>
                    </a:lnTo>
                    <a:lnTo>
                      <a:pt x="1121391" y="573977"/>
                    </a:lnTo>
                    <a:lnTo>
                      <a:pt x="1121391" y="581311"/>
                    </a:lnTo>
                    <a:lnTo>
                      <a:pt x="1139335" y="581311"/>
                    </a:lnTo>
                    <a:lnTo>
                      <a:pt x="1139335" y="598265"/>
                    </a:lnTo>
                    <a:lnTo>
                      <a:pt x="1172056" y="598265"/>
                    </a:lnTo>
                    <a:lnTo>
                      <a:pt x="1172056" y="607124"/>
                    </a:lnTo>
                    <a:lnTo>
                      <a:pt x="1179445" y="607124"/>
                    </a:lnTo>
                    <a:lnTo>
                      <a:pt x="1179445" y="614458"/>
                    </a:lnTo>
                    <a:lnTo>
                      <a:pt x="1186833" y="614458"/>
                    </a:lnTo>
                    <a:lnTo>
                      <a:pt x="1186833" y="624078"/>
                    </a:lnTo>
                    <a:lnTo>
                      <a:pt x="1197494" y="624078"/>
                    </a:lnTo>
                    <a:lnTo>
                      <a:pt x="1197494" y="630746"/>
                    </a:lnTo>
                    <a:lnTo>
                      <a:pt x="1206466" y="630746"/>
                    </a:lnTo>
                    <a:lnTo>
                      <a:pt x="1206466" y="638080"/>
                    </a:lnTo>
                    <a:lnTo>
                      <a:pt x="1215438" y="638080"/>
                    </a:lnTo>
                    <a:lnTo>
                      <a:pt x="1215438" y="643985"/>
                    </a:lnTo>
                    <a:lnTo>
                      <a:pt x="1231799" y="643985"/>
                    </a:lnTo>
                    <a:lnTo>
                      <a:pt x="1231799" y="658749"/>
                    </a:lnTo>
                    <a:lnTo>
                      <a:pt x="1251432" y="658749"/>
                    </a:lnTo>
                    <a:lnTo>
                      <a:pt x="1251432" y="665417"/>
                    </a:lnTo>
                    <a:lnTo>
                      <a:pt x="1257976" y="665417"/>
                    </a:lnTo>
                    <a:lnTo>
                      <a:pt x="1257976" y="672084"/>
                    </a:lnTo>
                    <a:lnTo>
                      <a:pt x="1267792" y="672084"/>
                    </a:lnTo>
                    <a:lnTo>
                      <a:pt x="1267792" y="686086"/>
                    </a:lnTo>
                    <a:lnTo>
                      <a:pt x="1290697" y="686086"/>
                    </a:lnTo>
                    <a:lnTo>
                      <a:pt x="1290697" y="691991"/>
                    </a:lnTo>
                    <a:lnTo>
                      <a:pt x="1328274" y="691991"/>
                    </a:lnTo>
                    <a:lnTo>
                      <a:pt x="1328274" y="700088"/>
                    </a:lnTo>
                    <a:lnTo>
                      <a:pt x="1337246" y="700088"/>
                    </a:lnTo>
                    <a:lnTo>
                      <a:pt x="1337246" y="706755"/>
                    </a:lnTo>
                    <a:lnTo>
                      <a:pt x="1344635" y="706755"/>
                    </a:lnTo>
                    <a:lnTo>
                      <a:pt x="1344635" y="712661"/>
                    </a:lnTo>
                    <a:lnTo>
                      <a:pt x="1350334" y="712661"/>
                    </a:lnTo>
                    <a:lnTo>
                      <a:pt x="1350334" y="723709"/>
                    </a:lnTo>
                    <a:lnTo>
                      <a:pt x="1357723" y="723709"/>
                    </a:lnTo>
                    <a:lnTo>
                      <a:pt x="1357723" y="736949"/>
                    </a:lnTo>
                    <a:lnTo>
                      <a:pt x="1378200" y="736949"/>
                    </a:lnTo>
                    <a:lnTo>
                      <a:pt x="1378200" y="743617"/>
                    </a:lnTo>
                    <a:lnTo>
                      <a:pt x="1392133" y="743617"/>
                    </a:lnTo>
                    <a:lnTo>
                      <a:pt x="1392133" y="750951"/>
                    </a:lnTo>
                    <a:lnTo>
                      <a:pt x="1402794" y="750951"/>
                    </a:lnTo>
                    <a:lnTo>
                      <a:pt x="1402794" y="759809"/>
                    </a:lnTo>
                    <a:lnTo>
                      <a:pt x="1410183" y="759809"/>
                    </a:lnTo>
                    <a:lnTo>
                      <a:pt x="1410183" y="765715"/>
                    </a:lnTo>
                    <a:lnTo>
                      <a:pt x="1417571" y="765715"/>
                    </a:lnTo>
                    <a:lnTo>
                      <a:pt x="1417571" y="775335"/>
                    </a:lnTo>
                    <a:lnTo>
                      <a:pt x="1427388" y="775335"/>
                    </a:lnTo>
                    <a:lnTo>
                      <a:pt x="1427388" y="779717"/>
                    </a:lnTo>
                    <a:lnTo>
                      <a:pt x="1442904" y="779717"/>
                    </a:lnTo>
                    <a:lnTo>
                      <a:pt x="1442904" y="787813"/>
                    </a:lnTo>
                    <a:lnTo>
                      <a:pt x="1464120" y="787813"/>
                    </a:lnTo>
                    <a:lnTo>
                      <a:pt x="1464120" y="796671"/>
                    </a:lnTo>
                    <a:lnTo>
                      <a:pt x="1473936" y="796671"/>
                    </a:lnTo>
                    <a:lnTo>
                      <a:pt x="1473936" y="805529"/>
                    </a:lnTo>
                    <a:lnTo>
                      <a:pt x="1483753" y="805529"/>
                    </a:lnTo>
                    <a:lnTo>
                      <a:pt x="1483753" y="811435"/>
                    </a:lnTo>
                    <a:lnTo>
                      <a:pt x="1515630" y="811435"/>
                    </a:lnTo>
                    <a:lnTo>
                      <a:pt x="1515630" y="824675"/>
                    </a:lnTo>
                    <a:lnTo>
                      <a:pt x="1572100" y="824675"/>
                    </a:lnTo>
                    <a:lnTo>
                      <a:pt x="1572100" y="831342"/>
                    </a:lnTo>
                    <a:lnTo>
                      <a:pt x="1581917" y="831342"/>
                    </a:lnTo>
                    <a:lnTo>
                      <a:pt x="1581917" y="840962"/>
                    </a:lnTo>
                    <a:lnTo>
                      <a:pt x="1596589" y="840962"/>
                    </a:lnTo>
                    <a:lnTo>
                      <a:pt x="1596589" y="850582"/>
                    </a:lnTo>
                    <a:lnTo>
                      <a:pt x="1603133" y="850582"/>
                    </a:lnTo>
                    <a:lnTo>
                      <a:pt x="1603133" y="855726"/>
                    </a:lnTo>
                    <a:lnTo>
                      <a:pt x="1626038" y="855726"/>
                    </a:lnTo>
                    <a:lnTo>
                      <a:pt x="1626038" y="863822"/>
                    </a:lnTo>
                    <a:lnTo>
                      <a:pt x="1643243" y="863822"/>
                    </a:lnTo>
                    <a:lnTo>
                      <a:pt x="1643243" y="871728"/>
                    </a:lnTo>
                    <a:lnTo>
                      <a:pt x="1651370" y="871728"/>
                    </a:lnTo>
                    <a:lnTo>
                      <a:pt x="1651370" y="876395"/>
                    </a:lnTo>
                    <a:lnTo>
                      <a:pt x="1666042" y="876395"/>
                    </a:lnTo>
                    <a:lnTo>
                      <a:pt x="1666042" y="883063"/>
                    </a:lnTo>
                    <a:lnTo>
                      <a:pt x="1719980" y="883063"/>
                    </a:lnTo>
                    <a:lnTo>
                      <a:pt x="1719980" y="891921"/>
                    </a:lnTo>
                    <a:lnTo>
                      <a:pt x="1729796" y="891921"/>
                    </a:lnTo>
                    <a:lnTo>
                      <a:pt x="1729796" y="899255"/>
                    </a:lnTo>
                    <a:lnTo>
                      <a:pt x="1740457" y="899255"/>
                    </a:lnTo>
                    <a:lnTo>
                      <a:pt x="1740457" y="909542"/>
                    </a:lnTo>
                    <a:lnTo>
                      <a:pt x="1748584" y="909542"/>
                    </a:lnTo>
                    <a:lnTo>
                      <a:pt x="1748584" y="919163"/>
                    </a:lnTo>
                    <a:lnTo>
                      <a:pt x="1758401" y="919163"/>
                    </a:lnTo>
                    <a:lnTo>
                      <a:pt x="1758401" y="924306"/>
                    </a:lnTo>
                    <a:lnTo>
                      <a:pt x="1789433" y="924306"/>
                    </a:lnTo>
                    <a:lnTo>
                      <a:pt x="1789433" y="930974"/>
                    </a:lnTo>
                    <a:lnTo>
                      <a:pt x="1815610" y="930974"/>
                    </a:lnTo>
                    <a:lnTo>
                      <a:pt x="1815610" y="943547"/>
                    </a:lnTo>
                    <a:lnTo>
                      <a:pt x="1854031" y="943547"/>
                    </a:lnTo>
                    <a:lnTo>
                      <a:pt x="1854031" y="953834"/>
                    </a:lnTo>
                    <a:lnTo>
                      <a:pt x="1884325" y="953834"/>
                    </a:lnTo>
                    <a:cubicBezTo>
                      <a:pt x="1884325" y="953834"/>
                      <a:pt x="1881897" y="963454"/>
                      <a:pt x="1884325" y="963454"/>
                    </a:cubicBezTo>
                    <a:lnTo>
                      <a:pt x="1894986" y="963454"/>
                    </a:lnTo>
                    <a:lnTo>
                      <a:pt x="1894986" y="977456"/>
                    </a:lnTo>
                    <a:lnTo>
                      <a:pt x="1923063" y="977456"/>
                    </a:lnTo>
                    <a:lnTo>
                      <a:pt x="1923063" y="994601"/>
                    </a:lnTo>
                    <a:lnTo>
                      <a:pt x="1962856" y="994601"/>
                    </a:lnTo>
                    <a:lnTo>
                      <a:pt x="1962856" y="997458"/>
                    </a:lnTo>
                    <a:lnTo>
                      <a:pt x="1991461" y="997458"/>
                    </a:lnTo>
                    <a:lnTo>
                      <a:pt x="1991461" y="1008507"/>
                    </a:lnTo>
                    <a:lnTo>
                      <a:pt x="2006133" y="1008507"/>
                    </a:lnTo>
                    <a:lnTo>
                      <a:pt x="2006133" y="1017365"/>
                    </a:lnTo>
                    <a:lnTo>
                      <a:pt x="2043709" y="1017365"/>
                    </a:lnTo>
                    <a:lnTo>
                      <a:pt x="2043709" y="1025462"/>
                    </a:lnTo>
                    <a:lnTo>
                      <a:pt x="2055953" y="1025462"/>
                    </a:lnTo>
                    <a:lnTo>
                      <a:pt x="2055953" y="1033558"/>
                    </a:lnTo>
                    <a:lnTo>
                      <a:pt x="2066614" y="1033558"/>
                    </a:lnTo>
                    <a:lnTo>
                      <a:pt x="2066614" y="1045369"/>
                    </a:lnTo>
                    <a:lnTo>
                      <a:pt x="2103452" y="1045369"/>
                    </a:lnTo>
                    <a:lnTo>
                      <a:pt x="2103452" y="1056418"/>
                    </a:lnTo>
                    <a:lnTo>
                      <a:pt x="2129629" y="1056418"/>
                    </a:lnTo>
                    <a:lnTo>
                      <a:pt x="2129629" y="1063752"/>
                    </a:lnTo>
                    <a:lnTo>
                      <a:pt x="2173750" y="1063752"/>
                    </a:lnTo>
                    <a:lnTo>
                      <a:pt x="2173750" y="1076325"/>
                    </a:lnTo>
                    <a:lnTo>
                      <a:pt x="2213860" y="1076325"/>
                    </a:lnTo>
                    <a:lnTo>
                      <a:pt x="2213860" y="1088136"/>
                    </a:lnTo>
                    <a:lnTo>
                      <a:pt x="2232648" y="1088136"/>
                    </a:lnTo>
                    <a:lnTo>
                      <a:pt x="2232648" y="1096994"/>
                    </a:lnTo>
                    <a:lnTo>
                      <a:pt x="2254709" y="1096994"/>
                    </a:lnTo>
                    <a:lnTo>
                      <a:pt x="2254709" y="1103662"/>
                    </a:lnTo>
                    <a:lnTo>
                      <a:pt x="2267797" y="1103662"/>
                    </a:lnTo>
                    <a:lnTo>
                      <a:pt x="2265053" y="1109948"/>
                    </a:lnTo>
                    <a:lnTo>
                      <a:pt x="2306746" y="1109948"/>
                    </a:lnTo>
                    <a:lnTo>
                      <a:pt x="2309491" y="1120616"/>
                    </a:lnTo>
                    <a:lnTo>
                      <a:pt x="2330707" y="1120616"/>
                    </a:lnTo>
                    <a:lnTo>
                      <a:pt x="2330707" y="1130903"/>
                    </a:lnTo>
                    <a:lnTo>
                      <a:pt x="2365011" y="1130903"/>
                    </a:lnTo>
                    <a:lnTo>
                      <a:pt x="2365011" y="1137571"/>
                    </a:lnTo>
                    <a:lnTo>
                      <a:pt x="2414093" y="1137571"/>
                    </a:lnTo>
                    <a:lnTo>
                      <a:pt x="2414093" y="1147191"/>
                    </a:lnTo>
                    <a:lnTo>
                      <a:pt x="2424754" y="1147191"/>
                    </a:lnTo>
                    <a:lnTo>
                      <a:pt x="2424754" y="1152335"/>
                    </a:lnTo>
                    <a:lnTo>
                      <a:pt x="2468136" y="1152335"/>
                    </a:lnTo>
                    <a:lnTo>
                      <a:pt x="2468136" y="1161955"/>
                    </a:lnTo>
                    <a:lnTo>
                      <a:pt x="2505713" y="1161955"/>
                    </a:lnTo>
                    <a:lnTo>
                      <a:pt x="2505713" y="1169289"/>
                    </a:lnTo>
                    <a:lnTo>
                      <a:pt x="2513102" y="1169289"/>
                    </a:lnTo>
                    <a:lnTo>
                      <a:pt x="2513102" y="1179576"/>
                    </a:lnTo>
                    <a:lnTo>
                      <a:pt x="2562184" y="1179576"/>
                    </a:lnTo>
                    <a:lnTo>
                      <a:pt x="2562184" y="1189863"/>
                    </a:lnTo>
                    <a:lnTo>
                      <a:pt x="2575272" y="1189863"/>
                    </a:lnTo>
                    <a:lnTo>
                      <a:pt x="2575272" y="1204627"/>
                    </a:lnTo>
                    <a:lnTo>
                      <a:pt x="2587516" y="1204627"/>
                    </a:lnTo>
                    <a:lnTo>
                      <a:pt x="2587516" y="1210532"/>
                    </a:lnTo>
                    <a:lnTo>
                      <a:pt x="2665203" y="1210532"/>
                    </a:lnTo>
                    <a:lnTo>
                      <a:pt x="2665203" y="1220819"/>
                    </a:lnTo>
                    <a:lnTo>
                      <a:pt x="2715868" y="1220819"/>
                    </a:lnTo>
                    <a:lnTo>
                      <a:pt x="2715868" y="1231106"/>
                    </a:lnTo>
                    <a:lnTo>
                      <a:pt x="2723996" y="1231106"/>
                    </a:lnTo>
                    <a:lnTo>
                      <a:pt x="2723996" y="1238441"/>
                    </a:lnTo>
                    <a:lnTo>
                      <a:pt x="2751017" y="1238441"/>
                    </a:lnTo>
                    <a:lnTo>
                      <a:pt x="2751017" y="1246537"/>
                    </a:lnTo>
                    <a:lnTo>
                      <a:pt x="2761678" y="1246537"/>
                    </a:lnTo>
                    <a:lnTo>
                      <a:pt x="2761678" y="1257586"/>
                    </a:lnTo>
                    <a:lnTo>
                      <a:pt x="2776350" y="1257586"/>
                    </a:lnTo>
                    <a:lnTo>
                      <a:pt x="2776350" y="1262729"/>
                    </a:lnTo>
                    <a:lnTo>
                      <a:pt x="2809916" y="1262729"/>
                    </a:lnTo>
                    <a:lnTo>
                      <a:pt x="2809916" y="1271587"/>
                    </a:lnTo>
                    <a:lnTo>
                      <a:pt x="2866386" y="1271587"/>
                    </a:lnTo>
                    <a:lnTo>
                      <a:pt x="2870081" y="1276826"/>
                    </a:lnTo>
                    <a:lnTo>
                      <a:pt x="2910191" y="1276826"/>
                    </a:lnTo>
                    <a:lnTo>
                      <a:pt x="2911035" y="1286351"/>
                    </a:lnTo>
                    <a:lnTo>
                      <a:pt x="2953784" y="1286351"/>
                    </a:lnTo>
                    <a:lnTo>
                      <a:pt x="2954628" y="1301115"/>
                    </a:lnTo>
                    <a:lnTo>
                      <a:pt x="2975844" y="1301115"/>
                    </a:lnTo>
                    <a:lnTo>
                      <a:pt x="2974367" y="1305401"/>
                    </a:lnTo>
                    <a:lnTo>
                      <a:pt x="2995583" y="1305401"/>
                    </a:lnTo>
                    <a:lnTo>
                      <a:pt x="2994105" y="1315212"/>
                    </a:lnTo>
                    <a:lnTo>
                      <a:pt x="3019437" y="1314641"/>
                    </a:lnTo>
                    <a:lnTo>
                      <a:pt x="3022393" y="1324166"/>
                    </a:lnTo>
                    <a:lnTo>
                      <a:pt x="3058492" y="1324737"/>
                    </a:lnTo>
                    <a:lnTo>
                      <a:pt x="3058492" y="1324451"/>
                    </a:lnTo>
                    <a:cubicBezTo>
                      <a:pt x="3058492" y="1324451"/>
                      <a:pt x="3084880" y="1324070"/>
                      <a:pt x="3084880" y="1324070"/>
                    </a:cubicBezTo>
                    <a:lnTo>
                      <a:pt x="3084880" y="1333595"/>
                    </a:lnTo>
                    <a:cubicBezTo>
                      <a:pt x="3084880" y="1333595"/>
                      <a:pt x="3114963" y="1333976"/>
                      <a:pt x="3114963" y="1333976"/>
                    </a:cubicBezTo>
                    <a:lnTo>
                      <a:pt x="3141139" y="1333976"/>
                    </a:lnTo>
                    <a:lnTo>
                      <a:pt x="3141139" y="1349121"/>
                    </a:lnTo>
                    <a:cubicBezTo>
                      <a:pt x="3141139" y="1349121"/>
                      <a:pt x="3174705" y="1349121"/>
                      <a:pt x="3174705" y="1349121"/>
                    </a:cubicBezTo>
                    <a:lnTo>
                      <a:pt x="3331768" y="1349121"/>
                    </a:lnTo>
                    <a:lnTo>
                      <a:pt x="3339579" y="1356170"/>
                    </a:lnTo>
                    <a:lnTo>
                      <a:pt x="3362061" y="1356170"/>
                    </a:lnTo>
                    <a:lnTo>
                      <a:pt x="3362061" y="1366837"/>
                    </a:lnTo>
                    <a:lnTo>
                      <a:pt x="3377578" y="1366837"/>
                    </a:lnTo>
                    <a:lnTo>
                      <a:pt x="3380322" y="1381601"/>
                    </a:lnTo>
                    <a:lnTo>
                      <a:pt x="3413043" y="1381601"/>
                    </a:lnTo>
                    <a:lnTo>
                      <a:pt x="3410299" y="1392650"/>
                    </a:lnTo>
                    <a:lnTo>
                      <a:pt x="3420115" y="1392650"/>
                    </a:lnTo>
                    <a:lnTo>
                      <a:pt x="3420115" y="1401508"/>
                    </a:lnTo>
                    <a:lnTo>
                      <a:pt x="3448087" y="1401508"/>
                    </a:lnTo>
                    <a:lnTo>
                      <a:pt x="3448087" y="1418463"/>
                    </a:lnTo>
                    <a:lnTo>
                      <a:pt x="3505613" y="1418463"/>
                    </a:lnTo>
                    <a:lnTo>
                      <a:pt x="3505613" y="1437989"/>
                    </a:lnTo>
                    <a:lnTo>
                      <a:pt x="3623409" y="1437989"/>
                    </a:lnTo>
                    <a:lnTo>
                      <a:pt x="3627104" y="1450467"/>
                    </a:lnTo>
                    <a:lnTo>
                      <a:pt x="3659825" y="1450467"/>
                    </a:lnTo>
                    <a:lnTo>
                      <a:pt x="3659825" y="1456182"/>
                    </a:lnTo>
                    <a:lnTo>
                      <a:pt x="3681041" y="1456182"/>
                    </a:lnTo>
                    <a:lnTo>
                      <a:pt x="3681041" y="1466469"/>
                    </a:lnTo>
                    <a:lnTo>
                      <a:pt x="3713657" y="1466469"/>
                    </a:lnTo>
                    <a:lnTo>
                      <a:pt x="3713657" y="1476851"/>
                    </a:lnTo>
                    <a:lnTo>
                      <a:pt x="3744056" y="1476851"/>
                    </a:lnTo>
                    <a:lnTo>
                      <a:pt x="3744056" y="1511427"/>
                    </a:lnTo>
                    <a:lnTo>
                      <a:pt x="3757989" y="1511427"/>
                    </a:lnTo>
                    <a:lnTo>
                      <a:pt x="3757989" y="1535811"/>
                    </a:lnTo>
                    <a:lnTo>
                      <a:pt x="3801371" y="1535811"/>
                    </a:lnTo>
                    <a:lnTo>
                      <a:pt x="3801371" y="1557909"/>
                    </a:lnTo>
                    <a:lnTo>
                      <a:pt x="3816043" y="1557909"/>
                    </a:lnTo>
                    <a:lnTo>
                      <a:pt x="3816043" y="1567529"/>
                    </a:lnTo>
                    <a:lnTo>
                      <a:pt x="4247859" y="1567529"/>
                    </a:lnTo>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4" name="Freeform: Shape 73">
                <a:extLst>
                  <a:ext uri="{FF2B5EF4-FFF2-40B4-BE49-F238E27FC236}">
                    <a16:creationId xmlns:a16="http://schemas.microsoft.com/office/drawing/2014/main" id="{610B69D7-20AA-44DD-7B5F-3D65369E0339}"/>
                  </a:ext>
                </a:extLst>
              </p:cNvPr>
              <p:cNvSpPr/>
              <p:nvPr/>
            </p:nvSpPr>
            <p:spPr>
              <a:xfrm>
                <a:off x="1978504" y="2354588"/>
                <a:ext cx="30821" cy="27813"/>
              </a:xfrm>
              <a:custGeom>
                <a:avLst/>
                <a:gdLst>
                  <a:gd name="connsiteX0" fmla="*/ 30866 w 30821"/>
                  <a:gd name="connsiteY0" fmla="*/ 13925 h 27813"/>
                  <a:gd name="connsiteX1" fmla="*/ 15455 w 30821"/>
                  <a:gd name="connsiteY1" fmla="*/ 27831 h 27813"/>
                  <a:gd name="connsiteX2" fmla="*/ 45 w 30821"/>
                  <a:gd name="connsiteY2" fmla="*/ 13925 h 27813"/>
                  <a:gd name="connsiteX3" fmla="*/ 15455 w 30821"/>
                  <a:gd name="connsiteY3" fmla="*/ 18 h 27813"/>
                  <a:gd name="connsiteX4" fmla="*/ 30866 w 30821"/>
                  <a:gd name="connsiteY4" fmla="*/ 13925 h 27813"/>
                  <a:gd name="connsiteX5" fmla="*/ 30866 w 30821"/>
                  <a:gd name="connsiteY5" fmla="*/ 13925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66" y="13925"/>
                    </a:moveTo>
                    <a:cubicBezTo>
                      <a:pt x="30866" y="21640"/>
                      <a:pt x="24005" y="27831"/>
                      <a:pt x="15455" y="27831"/>
                    </a:cubicBezTo>
                    <a:cubicBezTo>
                      <a:pt x="6906" y="27831"/>
                      <a:pt x="45" y="21640"/>
                      <a:pt x="45" y="13925"/>
                    </a:cubicBezTo>
                    <a:cubicBezTo>
                      <a:pt x="45" y="6209"/>
                      <a:pt x="6906" y="18"/>
                      <a:pt x="15455" y="18"/>
                    </a:cubicBezTo>
                    <a:cubicBezTo>
                      <a:pt x="24005" y="18"/>
                      <a:pt x="30866" y="6209"/>
                      <a:pt x="30866" y="13925"/>
                    </a:cubicBezTo>
                    <a:lnTo>
                      <a:pt x="30866" y="13925"/>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5" name="Freeform: Shape 74">
                <a:extLst>
                  <a:ext uri="{FF2B5EF4-FFF2-40B4-BE49-F238E27FC236}">
                    <a16:creationId xmlns:a16="http://schemas.microsoft.com/office/drawing/2014/main" id="{648FCFB8-80A8-7029-AC9A-0A4984ABE97D}"/>
                  </a:ext>
                </a:extLst>
              </p:cNvPr>
              <p:cNvSpPr/>
              <p:nvPr/>
            </p:nvSpPr>
            <p:spPr>
              <a:xfrm>
                <a:off x="2453491" y="2626050"/>
                <a:ext cx="30821" cy="27813"/>
              </a:xfrm>
              <a:custGeom>
                <a:avLst/>
                <a:gdLst>
                  <a:gd name="connsiteX0" fmla="*/ 30911 w 30821"/>
                  <a:gd name="connsiteY0" fmla="*/ 13953 h 27813"/>
                  <a:gd name="connsiteX1" fmla="*/ 15500 w 30821"/>
                  <a:gd name="connsiteY1" fmla="*/ 27860 h 27813"/>
                  <a:gd name="connsiteX2" fmla="*/ 90 w 30821"/>
                  <a:gd name="connsiteY2" fmla="*/ 13953 h 27813"/>
                  <a:gd name="connsiteX3" fmla="*/ 15500 w 30821"/>
                  <a:gd name="connsiteY3" fmla="*/ 47 h 27813"/>
                  <a:gd name="connsiteX4" fmla="*/ 30911 w 30821"/>
                  <a:gd name="connsiteY4" fmla="*/ 13953 h 27813"/>
                  <a:gd name="connsiteX5" fmla="*/ 30911 w 30821"/>
                  <a:gd name="connsiteY5" fmla="*/ 1395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11" y="13953"/>
                    </a:moveTo>
                    <a:cubicBezTo>
                      <a:pt x="30911" y="21668"/>
                      <a:pt x="24050" y="27860"/>
                      <a:pt x="15500" y="27860"/>
                    </a:cubicBezTo>
                    <a:cubicBezTo>
                      <a:pt x="6951" y="27860"/>
                      <a:pt x="90" y="21668"/>
                      <a:pt x="90" y="13953"/>
                    </a:cubicBezTo>
                    <a:cubicBezTo>
                      <a:pt x="90" y="6238"/>
                      <a:pt x="6951" y="47"/>
                      <a:pt x="15500" y="47"/>
                    </a:cubicBezTo>
                    <a:cubicBezTo>
                      <a:pt x="24050" y="47"/>
                      <a:pt x="30911" y="6238"/>
                      <a:pt x="30911" y="13953"/>
                    </a:cubicBezTo>
                    <a:lnTo>
                      <a:pt x="30911" y="13953"/>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6" name="Freeform: Shape 75">
                <a:extLst>
                  <a:ext uri="{FF2B5EF4-FFF2-40B4-BE49-F238E27FC236}">
                    <a16:creationId xmlns:a16="http://schemas.microsoft.com/office/drawing/2014/main" id="{428EEDC3-6EC2-C67D-4A2D-D90906A7B2EA}"/>
                  </a:ext>
                </a:extLst>
              </p:cNvPr>
              <p:cNvSpPr/>
              <p:nvPr/>
            </p:nvSpPr>
            <p:spPr>
              <a:xfrm>
                <a:off x="3165865" y="3045627"/>
                <a:ext cx="30821" cy="27813"/>
              </a:xfrm>
              <a:custGeom>
                <a:avLst/>
                <a:gdLst>
                  <a:gd name="connsiteX0" fmla="*/ 30979 w 30821"/>
                  <a:gd name="connsiteY0" fmla="*/ 13997 h 27813"/>
                  <a:gd name="connsiteX1" fmla="*/ 15568 w 30821"/>
                  <a:gd name="connsiteY1" fmla="*/ 27904 h 27813"/>
                  <a:gd name="connsiteX2" fmla="*/ 157 w 30821"/>
                  <a:gd name="connsiteY2" fmla="*/ 13997 h 27813"/>
                  <a:gd name="connsiteX3" fmla="*/ 15568 w 30821"/>
                  <a:gd name="connsiteY3" fmla="*/ 91 h 27813"/>
                  <a:gd name="connsiteX4" fmla="*/ 30979 w 30821"/>
                  <a:gd name="connsiteY4" fmla="*/ 13997 h 27813"/>
                  <a:gd name="connsiteX5" fmla="*/ 30979 w 30821"/>
                  <a:gd name="connsiteY5" fmla="*/ 1399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79" y="13997"/>
                    </a:moveTo>
                    <a:cubicBezTo>
                      <a:pt x="30979" y="21712"/>
                      <a:pt x="24118" y="27904"/>
                      <a:pt x="15568" y="27904"/>
                    </a:cubicBezTo>
                    <a:cubicBezTo>
                      <a:pt x="7018" y="27904"/>
                      <a:pt x="157" y="21712"/>
                      <a:pt x="157" y="13997"/>
                    </a:cubicBezTo>
                    <a:cubicBezTo>
                      <a:pt x="157" y="6282"/>
                      <a:pt x="7018" y="91"/>
                      <a:pt x="15568" y="91"/>
                    </a:cubicBezTo>
                    <a:cubicBezTo>
                      <a:pt x="24118" y="91"/>
                      <a:pt x="30979" y="6282"/>
                      <a:pt x="30979" y="13997"/>
                    </a:cubicBezTo>
                    <a:lnTo>
                      <a:pt x="30979" y="1399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7" name="Freeform: Shape 76">
                <a:extLst>
                  <a:ext uri="{FF2B5EF4-FFF2-40B4-BE49-F238E27FC236}">
                    <a16:creationId xmlns:a16="http://schemas.microsoft.com/office/drawing/2014/main" id="{D84CD871-80E6-6C7E-C886-A4487600C903}"/>
                  </a:ext>
                </a:extLst>
              </p:cNvPr>
              <p:cNvSpPr/>
              <p:nvPr/>
            </p:nvSpPr>
            <p:spPr>
              <a:xfrm>
                <a:off x="3459090" y="3164213"/>
                <a:ext cx="30821" cy="27813"/>
              </a:xfrm>
              <a:custGeom>
                <a:avLst/>
                <a:gdLst>
                  <a:gd name="connsiteX0" fmla="*/ 31006 w 30821"/>
                  <a:gd name="connsiteY0" fmla="*/ 14010 h 27813"/>
                  <a:gd name="connsiteX1" fmla="*/ 15596 w 30821"/>
                  <a:gd name="connsiteY1" fmla="*/ 27916 h 27813"/>
                  <a:gd name="connsiteX2" fmla="*/ 185 w 30821"/>
                  <a:gd name="connsiteY2" fmla="*/ 14010 h 27813"/>
                  <a:gd name="connsiteX3" fmla="*/ 15596 w 30821"/>
                  <a:gd name="connsiteY3" fmla="*/ 103 h 27813"/>
                  <a:gd name="connsiteX4" fmla="*/ 31006 w 30821"/>
                  <a:gd name="connsiteY4" fmla="*/ 14010 h 27813"/>
                  <a:gd name="connsiteX5" fmla="*/ 31006 w 30821"/>
                  <a:gd name="connsiteY5" fmla="*/ 1401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06" y="14010"/>
                    </a:moveTo>
                    <a:cubicBezTo>
                      <a:pt x="31006" y="21725"/>
                      <a:pt x="24145" y="27916"/>
                      <a:pt x="15596" y="27916"/>
                    </a:cubicBezTo>
                    <a:cubicBezTo>
                      <a:pt x="7046" y="27916"/>
                      <a:pt x="185" y="21725"/>
                      <a:pt x="185" y="14010"/>
                    </a:cubicBezTo>
                    <a:cubicBezTo>
                      <a:pt x="185" y="6294"/>
                      <a:pt x="7046" y="103"/>
                      <a:pt x="15596" y="103"/>
                    </a:cubicBezTo>
                    <a:cubicBezTo>
                      <a:pt x="24145" y="103"/>
                      <a:pt x="31006" y="6294"/>
                      <a:pt x="31006" y="14010"/>
                    </a:cubicBezTo>
                    <a:lnTo>
                      <a:pt x="31006" y="14010"/>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8" name="Freeform: Shape 77">
                <a:extLst>
                  <a:ext uri="{FF2B5EF4-FFF2-40B4-BE49-F238E27FC236}">
                    <a16:creationId xmlns:a16="http://schemas.microsoft.com/office/drawing/2014/main" id="{F01670AC-A84E-7D28-0E4B-C4FD04175618}"/>
                  </a:ext>
                </a:extLst>
              </p:cNvPr>
              <p:cNvSpPr/>
              <p:nvPr/>
            </p:nvSpPr>
            <p:spPr>
              <a:xfrm>
                <a:off x="3496034" y="3178119"/>
                <a:ext cx="30821" cy="27813"/>
              </a:xfrm>
              <a:custGeom>
                <a:avLst/>
                <a:gdLst>
                  <a:gd name="connsiteX0" fmla="*/ 31010 w 30821"/>
                  <a:gd name="connsiteY0" fmla="*/ 14011 h 27813"/>
                  <a:gd name="connsiteX1" fmla="*/ 15599 w 30821"/>
                  <a:gd name="connsiteY1" fmla="*/ 27918 h 27813"/>
                  <a:gd name="connsiteX2" fmla="*/ 189 w 30821"/>
                  <a:gd name="connsiteY2" fmla="*/ 14011 h 27813"/>
                  <a:gd name="connsiteX3" fmla="*/ 15599 w 30821"/>
                  <a:gd name="connsiteY3" fmla="*/ 105 h 27813"/>
                  <a:gd name="connsiteX4" fmla="*/ 31010 w 30821"/>
                  <a:gd name="connsiteY4" fmla="*/ 14011 h 27813"/>
                  <a:gd name="connsiteX5" fmla="*/ 31010 w 30821"/>
                  <a:gd name="connsiteY5" fmla="*/ 1401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10" y="14011"/>
                    </a:moveTo>
                    <a:cubicBezTo>
                      <a:pt x="31010" y="21726"/>
                      <a:pt x="24149" y="27918"/>
                      <a:pt x="15599" y="27918"/>
                    </a:cubicBezTo>
                    <a:cubicBezTo>
                      <a:pt x="7049" y="27918"/>
                      <a:pt x="189" y="21726"/>
                      <a:pt x="189" y="14011"/>
                    </a:cubicBezTo>
                    <a:cubicBezTo>
                      <a:pt x="189" y="6296"/>
                      <a:pt x="7049" y="105"/>
                      <a:pt x="15599" y="105"/>
                    </a:cubicBezTo>
                    <a:cubicBezTo>
                      <a:pt x="24149" y="105"/>
                      <a:pt x="31010" y="6296"/>
                      <a:pt x="31010" y="14011"/>
                    </a:cubicBezTo>
                    <a:lnTo>
                      <a:pt x="31010" y="1401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9" name="Freeform: Shape 78">
                <a:extLst>
                  <a:ext uri="{FF2B5EF4-FFF2-40B4-BE49-F238E27FC236}">
                    <a16:creationId xmlns:a16="http://schemas.microsoft.com/office/drawing/2014/main" id="{121E87A7-0B17-065F-E70F-8E74DBAE19EA}"/>
                  </a:ext>
                </a:extLst>
              </p:cNvPr>
              <p:cNvSpPr/>
              <p:nvPr/>
            </p:nvSpPr>
            <p:spPr>
              <a:xfrm>
                <a:off x="3819658" y="3293467"/>
                <a:ext cx="30821" cy="27813"/>
              </a:xfrm>
              <a:custGeom>
                <a:avLst/>
                <a:gdLst>
                  <a:gd name="connsiteX0" fmla="*/ 31041 w 30821"/>
                  <a:gd name="connsiteY0" fmla="*/ 14023 h 27813"/>
                  <a:gd name="connsiteX1" fmla="*/ 15630 w 30821"/>
                  <a:gd name="connsiteY1" fmla="*/ 27930 h 27813"/>
                  <a:gd name="connsiteX2" fmla="*/ 219 w 30821"/>
                  <a:gd name="connsiteY2" fmla="*/ 14023 h 27813"/>
                  <a:gd name="connsiteX3" fmla="*/ 15630 w 30821"/>
                  <a:gd name="connsiteY3" fmla="*/ 117 h 27813"/>
                  <a:gd name="connsiteX4" fmla="*/ 31041 w 30821"/>
                  <a:gd name="connsiteY4" fmla="*/ 14023 h 27813"/>
                  <a:gd name="connsiteX5" fmla="*/ 31041 w 30821"/>
                  <a:gd name="connsiteY5" fmla="*/ 1402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41" y="14023"/>
                    </a:moveTo>
                    <a:cubicBezTo>
                      <a:pt x="31041" y="21738"/>
                      <a:pt x="24180" y="27930"/>
                      <a:pt x="15630" y="27930"/>
                    </a:cubicBezTo>
                    <a:cubicBezTo>
                      <a:pt x="7080" y="27930"/>
                      <a:pt x="219" y="21738"/>
                      <a:pt x="219" y="14023"/>
                    </a:cubicBezTo>
                    <a:cubicBezTo>
                      <a:pt x="219" y="6308"/>
                      <a:pt x="7080" y="117"/>
                      <a:pt x="15630" y="117"/>
                    </a:cubicBezTo>
                    <a:cubicBezTo>
                      <a:pt x="24180" y="117"/>
                      <a:pt x="31041" y="6308"/>
                      <a:pt x="31041" y="14023"/>
                    </a:cubicBezTo>
                    <a:lnTo>
                      <a:pt x="31041" y="14023"/>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0" name="Freeform: Shape 79">
                <a:extLst>
                  <a:ext uri="{FF2B5EF4-FFF2-40B4-BE49-F238E27FC236}">
                    <a16:creationId xmlns:a16="http://schemas.microsoft.com/office/drawing/2014/main" id="{C8C81ABE-0247-4B62-9E99-485ED4220CF8}"/>
                  </a:ext>
                </a:extLst>
              </p:cNvPr>
              <p:cNvSpPr/>
              <p:nvPr/>
            </p:nvSpPr>
            <p:spPr>
              <a:xfrm>
                <a:off x="4429541" y="3460631"/>
                <a:ext cx="30821" cy="27813"/>
              </a:xfrm>
              <a:custGeom>
                <a:avLst/>
                <a:gdLst>
                  <a:gd name="connsiteX0" fmla="*/ 31098 w 30821"/>
                  <a:gd name="connsiteY0" fmla="*/ 14041 h 27813"/>
                  <a:gd name="connsiteX1" fmla="*/ 15688 w 30821"/>
                  <a:gd name="connsiteY1" fmla="*/ 27947 h 27813"/>
                  <a:gd name="connsiteX2" fmla="*/ 277 w 30821"/>
                  <a:gd name="connsiteY2" fmla="*/ 14041 h 27813"/>
                  <a:gd name="connsiteX3" fmla="*/ 15688 w 30821"/>
                  <a:gd name="connsiteY3" fmla="*/ 134 h 27813"/>
                  <a:gd name="connsiteX4" fmla="*/ 31098 w 30821"/>
                  <a:gd name="connsiteY4" fmla="*/ 14041 h 27813"/>
                  <a:gd name="connsiteX5" fmla="*/ 31098 w 30821"/>
                  <a:gd name="connsiteY5" fmla="*/ 1404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98" y="14041"/>
                    </a:moveTo>
                    <a:cubicBezTo>
                      <a:pt x="31098" y="21756"/>
                      <a:pt x="24237" y="27947"/>
                      <a:pt x="15688" y="27947"/>
                    </a:cubicBezTo>
                    <a:cubicBezTo>
                      <a:pt x="7138" y="27947"/>
                      <a:pt x="277" y="21756"/>
                      <a:pt x="277" y="14041"/>
                    </a:cubicBezTo>
                    <a:cubicBezTo>
                      <a:pt x="277" y="6325"/>
                      <a:pt x="7138" y="134"/>
                      <a:pt x="15688" y="134"/>
                    </a:cubicBezTo>
                    <a:cubicBezTo>
                      <a:pt x="24237" y="134"/>
                      <a:pt x="31098" y="6325"/>
                      <a:pt x="31098" y="14041"/>
                    </a:cubicBezTo>
                    <a:lnTo>
                      <a:pt x="31098" y="1404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1" name="Freeform: Shape 80">
                <a:extLst>
                  <a:ext uri="{FF2B5EF4-FFF2-40B4-BE49-F238E27FC236}">
                    <a16:creationId xmlns:a16="http://schemas.microsoft.com/office/drawing/2014/main" id="{F8A923BD-CEE2-D314-99DD-780ED437999C}"/>
                  </a:ext>
                </a:extLst>
              </p:cNvPr>
              <p:cNvSpPr/>
              <p:nvPr/>
            </p:nvSpPr>
            <p:spPr>
              <a:xfrm>
                <a:off x="4461206" y="3470156"/>
                <a:ext cx="30821" cy="27813"/>
              </a:xfrm>
              <a:custGeom>
                <a:avLst/>
                <a:gdLst>
                  <a:gd name="connsiteX0" fmla="*/ 31101 w 30821"/>
                  <a:gd name="connsiteY0" fmla="*/ 14042 h 27813"/>
                  <a:gd name="connsiteX1" fmla="*/ 15691 w 30821"/>
                  <a:gd name="connsiteY1" fmla="*/ 27948 h 27813"/>
                  <a:gd name="connsiteX2" fmla="*/ 280 w 30821"/>
                  <a:gd name="connsiteY2" fmla="*/ 14042 h 27813"/>
                  <a:gd name="connsiteX3" fmla="*/ 15691 w 30821"/>
                  <a:gd name="connsiteY3" fmla="*/ 135 h 27813"/>
                  <a:gd name="connsiteX4" fmla="*/ 31101 w 30821"/>
                  <a:gd name="connsiteY4" fmla="*/ 14042 h 27813"/>
                  <a:gd name="connsiteX5" fmla="*/ 31101 w 30821"/>
                  <a:gd name="connsiteY5" fmla="*/ 1404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01" y="14042"/>
                    </a:moveTo>
                    <a:cubicBezTo>
                      <a:pt x="31101" y="21757"/>
                      <a:pt x="24240" y="27948"/>
                      <a:pt x="15691" y="27948"/>
                    </a:cubicBezTo>
                    <a:cubicBezTo>
                      <a:pt x="7141" y="27948"/>
                      <a:pt x="280" y="21757"/>
                      <a:pt x="280" y="14042"/>
                    </a:cubicBezTo>
                    <a:cubicBezTo>
                      <a:pt x="280" y="6326"/>
                      <a:pt x="7141" y="135"/>
                      <a:pt x="15691" y="135"/>
                    </a:cubicBezTo>
                    <a:cubicBezTo>
                      <a:pt x="24240" y="135"/>
                      <a:pt x="31101" y="6326"/>
                      <a:pt x="31101" y="14042"/>
                    </a:cubicBezTo>
                    <a:lnTo>
                      <a:pt x="31101" y="14042"/>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2" name="Freeform: Shape 81">
                <a:extLst>
                  <a:ext uri="{FF2B5EF4-FFF2-40B4-BE49-F238E27FC236}">
                    <a16:creationId xmlns:a16="http://schemas.microsoft.com/office/drawing/2014/main" id="{54D37294-BF80-EFA1-190E-80B2B29A220E}"/>
                  </a:ext>
                </a:extLst>
              </p:cNvPr>
              <p:cNvSpPr/>
              <p:nvPr/>
            </p:nvSpPr>
            <p:spPr>
              <a:xfrm>
                <a:off x="4492872" y="3479681"/>
                <a:ext cx="30821" cy="27813"/>
              </a:xfrm>
              <a:custGeom>
                <a:avLst/>
                <a:gdLst>
                  <a:gd name="connsiteX0" fmla="*/ 31104 w 30821"/>
                  <a:gd name="connsiteY0" fmla="*/ 14043 h 27813"/>
                  <a:gd name="connsiteX1" fmla="*/ 15694 w 30821"/>
                  <a:gd name="connsiteY1" fmla="*/ 27949 h 27813"/>
                  <a:gd name="connsiteX2" fmla="*/ 283 w 30821"/>
                  <a:gd name="connsiteY2" fmla="*/ 14043 h 27813"/>
                  <a:gd name="connsiteX3" fmla="*/ 15694 w 30821"/>
                  <a:gd name="connsiteY3" fmla="*/ 136 h 27813"/>
                  <a:gd name="connsiteX4" fmla="*/ 31104 w 30821"/>
                  <a:gd name="connsiteY4" fmla="*/ 14043 h 27813"/>
                  <a:gd name="connsiteX5" fmla="*/ 31104 w 30821"/>
                  <a:gd name="connsiteY5" fmla="*/ 1404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04" y="14043"/>
                    </a:moveTo>
                    <a:cubicBezTo>
                      <a:pt x="31104" y="21758"/>
                      <a:pt x="24243" y="27949"/>
                      <a:pt x="15694" y="27949"/>
                    </a:cubicBezTo>
                    <a:cubicBezTo>
                      <a:pt x="7144" y="27949"/>
                      <a:pt x="283" y="21758"/>
                      <a:pt x="283" y="14043"/>
                    </a:cubicBezTo>
                    <a:cubicBezTo>
                      <a:pt x="283" y="6327"/>
                      <a:pt x="7144" y="136"/>
                      <a:pt x="15694" y="136"/>
                    </a:cubicBezTo>
                    <a:cubicBezTo>
                      <a:pt x="24243" y="136"/>
                      <a:pt x="31104" y="6327"/>
                      <a:pt x="31104" y="14043"/>
                    </a:cubicBezTo>
                    <a:lnTo>
                      <a:pt x="31104" y="14043"/>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3" name="Freeform: Shape 82">
                <a:extLst>
                  <a:ext uri="{FF2B5EF4-FFF2-40B4-BE49-F238E27FC236}">
                    <a16:creationId xmlns:a16="http://schemas.microsoft.com/office/drawing/2014/main" id="{BB16388E-4B78-E1F1-3943-F19FF2B3D047}"/>
                  </a:ext>
                </a:extLst>
              </p:cNvPr>
              <p:cNvSpPr/>
              <p:nvPr/>
            </p:nvSpPr>
            <p:spPr>
              <a:xfrm>
                <a:off x="4524538" y="3489206"/>
                <a:ext cx="30821" cy="27813"/>
              </a:xfrm>
              <a:custGeom>
                <a:avLst/>
                <a:gdLst>
                  <a:gd name="connsiteX0" fmla="*/ 31107 w 30821"/>
                  <a:gd name="connsiteY0" fmla="*/ 14044 h 27813"/>
                  <a:gd name="connsiteX1" fmla="*/ 15697 w 30821"/>
                  <a:gd name="connsiteY1" fmla="*/ 27950 h 27813"/>
                  <a:gd name="connsiteX2" fmla="*/ 286 w 30821"/>
                  <a:gd name="connsiteY2" fmla="*/ 14044 h 27813"/>
                  <a:gd name="connsiteX3" fmla="*/ 15697 w 30821"/>
                  <a:gd name="connsiteY3" fmla="*/ 137 h 27813"/>
                  <a:gd name="connsiteX4" fmla="*/ 31107 w 30821"/>
                  <a:gd name="connsiteY4" fmla="*/ 14044 h 27813"/>
                  <a:gd name="connsiteX5" fmla="*/ 31107 w 30821"/>
                  <a:gd name="connsiteY5" fmla="*/ 1404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07" y="14044"/>
                    </a:moveTo>
                    <a:cubicBezTo>
                      <a:pt x="31107" y="21759"/>
                      <a:pt x="24246" y="27950"/>
                      <a:pt x="15697" y="27950"/>
                    </a:cubicBezTo>
                    <a:cubicBezTo>
                      <a:pt x="7147" y="27950"/>
                      <a:pt x="286" y="21759"/>
                      <a:pt x="286" y="14044"/>
                    </a:cubicBezTo>
                    <a:cubicBezTo>
                      <a:pt x="286" y="6328"/>
                      <a:pt x="7147" y="137"/>
                      <a:pt x="15697" y="137"/>
                    </a:cubicBezTo>
                    <a:cubicBezTo>
                      <a:pt x="24246" y="137"/>
                      <a:pt x="31107" y="6328"/>
                      <a:pt x="31107" y="14044"/>
                    </a:cubicBezTo>
                    <a:lnTo>
                      <a:pt x="31107" y="14044"/>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4" name="Freeform: Shape 83">
                <a:extLst>
                  <a:ext uri="{FF2B5EF4-FFF2-40B4-BE49-F238E27FC236}">
                    <a16:creationId xmlns:a16="http://schemas.microsoft.com/office/drawing/2014/main" id="{8240C711-019E-E67A-41A5-9431312F666A}"/>
                  </a:ext>
                </a:extLst>
              </p:cNvPr>
              <p:cNvSpPr/>
              <p:nvPr/>
            </p:nvSpPr>
            <p:spPr>
              <a:xfrm>
                <a:off x="4556204" y="3498731"/>
                <a:ext cx="30821" cy="27813"/>
              </a:xfrm>
              <a:custGeom>
                <a:avLst/>
                <a:gdLst>
                  <a:gd name="connsiteX0" fmla="*/ 31110 w 30821"/>
                  <a:gd name="connsiteY0" fmla="*/ 14045 h 27813"/>
                  <a:gd name="connsiteX1" fmla="*/ 15700 w 30821"/>
                  <a:gd name="connsiteY1" fmla="*/ 27951 h 27813"/>
                  <a:gd name="connsiteX2" fmla="*/ 289 w 30821"/>
                  <a:gd name="connsiteY2" fmla="*/ 14045 h 27813"/>
                  <a:gd name="connsiteX3" fmla="*/ 15700 w 30821"/>
                  <a:gd name="connsiteY3" fmla="*/ 138 h 27813"/>
                  <a:gd name="connsiteX4" fmla="*/ 31110 w 30821"/>
                  <a:gd name="connsiteY4" fmla="*/ 14045 h 27813"/>
                  <a:gd name="connsiteX5" fmla="*/ 31110 w 30821"/>
                  <a:gd name="connsiteY5" fmla="*/ 14045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10" y="14045"/>
                    </a:moveTo>
                    <a:cubicBezTo>
                      <a:pt x="31110" y="21760"/>
                      <a:pt x="24249" y="27951"/>
                      <a:pt x="15700" y="27951"/>
                    </a:cubicBezTo>
                    <a:cubicBezTo>
                      <a:pt x="7150" y="27951"/>
                      <a:pt x="289" y="21760"/>
                      <a:pt x="289" y="14045"/>
                    </a:cubicBezTo>
                    <a:cubicBezTo>
                      <a:pt x="289" y="6329"/>
                      <a:pt x="7150" y="138"/>
                      <a:pt x="15700" y="138"/>
                    </a:cubicBezTo>
                    <a:cubicBezTo>
                      <a:pt x="24249" y="138"/>
                      <a:pt x="31110" y="6329"/>
                      <a:pt x="31110" y="14045"/>
                    </a:cubicBezTo>
                    <a:lnTo>
                      <a:pt x="31110" y="14045"/>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5" name="Freeform: Shape 84">
                <a:extLst>
                  <a:ext uri="{FF2B5EF4-FFF2-40B4-BE49-F238E27FC236}">
                    <a16:creationId xmlns:a16="http://schemas.microsoft.com/office/drawing/2014/main" id="{A7564C40-1EEF-C79B-FDA1-11379A37FE3A}"/>
                  </a:ext>
                </a:extLst>
              </p:cNvPr>
              <p:cNvSpPr/>
              <p:nvPr/>
            </p:nvSpPr>
            <p:spPr>
              <a:xfrm>
                <a:off x="4577314" y="3508256"/>
                <a:ext cx="30821" cy="27813"/>
              </a:xfrm>
              <a:custGeom>
                <a:avLst/>
                <a:gdLst>
                  <a:gd name="connsiteX0" fmla="*/ 31112 w 30821"/>
                  <a:gd name="connsiteY0" fmla="*/ 14046 h 27813"/>
                  <a:gd name="connsiteX1" fmla="*/ 15702 w 30821"/>
                  <a:gd name="connsiteY1" fmla="*/ 27952 h 27813"/>
                  <a:gd name="connsiteX2" fmla="*/ 291 w 30821"/>
                  <a:gd name="connsiteY2" fmla="*/ 14046 h 27813"/>
                  <a:gd name="connsiteX3" fmla="*/ 15702 w 30821"/>
                  <a:gd name="connsiteY3" fmla="*/ 139 h 27813"/>
                  <a:gd name="connsiteX4" fmla="*/ 31112 w 30821"/>
                  <a:gd name="connsiteY4" fmla="*/ 14046 h 27813"/>
                  <a:gd name="connsiteX5" fmla="*/ 31112 w 30821"/>
                  <a:gd name="connsiteY5" fmla="*/ 14046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12" y="14046"/>
                    </a:moveTo>
                    <a:cubicBezTo>
                      <a:pt x="31112" y="21761"/>
                      <a:pt x="24251" y="27952"/>
                      <a:pt x="15702" y="27952"/>
                    </a:cubicBezTo>
                    <a:cubicBezTo>
                      <a:pt x="7152" y="27952"/>
                      <a:pt x="291" y="21761"/>
                      <a:pt x="291" y="14046"/>
                    </a:cubicBezTo>
                    <a:cubicBezTo>
                      <a:pt x="291" y="6330"/>
                      <a:pt x="7152" y="139"/>
                      <a:pt x="15702" y="139"/>
                    </a:cubicBezTo>
                    <a:cubicBezTo>
                      <a:pt x="24251" y="139"/>
                      <a:pt x="31112" y="6330"/>
                      <a:pt x="31112" y="14046"/>
                    </a:cubicBezTo>
                    <a:lnTo>
                      <a:pt x="31112" y="14046"/>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6" name="Freeform: Shape 85">
                <a:extLst>
                  <a:ext uri="{FF2B5EF4-FFF2-40B4-BE49-F238E27FC236}">
                    <a16:creationId xmlns:a16="http://schemas.microsoft.com/office/drawing/2014/main" id="{4C0F9BF8-AE2A-B677-9457-E7BD3E44076B}"/>
                  </a:ext>
                </a:extLst>
              </p:cNvPr>
              <p:cNvSpPr/>
              <p:nvPr/>
            </p:nvSpPr>
            <p:spPr>
              <a:xfrm>
                <a:off x="4608980" y="3508256"/>
                <a:ext cx="30821" cy="27813"/>
              </a:xfrm>
              <a:custGeom>
                <a:avLst/>
                <a:gdLst>
                  <a:gd name="connsiteX0" fmla="*/ 31115 w 30821"/>
                  <a:gd name="connsiteY0" fmla="*/ 14046 h 27813"/>
                  <a:gd name="connsiteX1" fmla="*/ 15705 w 30821"/>
                  <a:gd name="connsiteY1" fmla="*/ 27952 h 27813"/>
                  <a:gd name="connsiteX2" fmla="*/ 294 w 30821"/>
                  <a:gd name="connsiteY2" fmla="*/ 14046 h 27813"/>
                  <a:gd name="connsiteX3" fmla="*/ 15705 w 30821"/>
                  <a:gd name="connsiteY3" fmla="*/ 139 h 27813"/>
                  <a:gd name="connsiteX4" fmla="*/ 31115 w 30821"/>
                  <a:gd name="connsiteY4" fmla="*/ 14046 h 27813"/>
                  <a:gd name="connsiteX5" fmla="*/ 31115 w 30821"/>
                  <a:gd name="connsiteY5" fmla="*/ 14046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15" y="14046"/>
                    </a:moveTo>
                    <a:cubicBezTo>
                      <a:pt x="31115" y="21761"/>
                      <a:pt x="24254" y="27952"/>
                      <a:pt x="15705" y="27952"/>
                    </a:cubicBezTo>
                    <a:cubicBezTo>
                      <a:pt x="7155" y="27952"/>
                      <a:pt x="294" y="21761"/>
                      <a:pt x="294" y="14046"/>
                    </a:cubicBezTo>
                    <a:cubicBezTo>
                      <a:pt x="294" y="6330"/>
                      <a:pt x="7155" y="139"/>
                      <a:pt x="15705" y="139"/>
                    </a:cubicBezTo>
                    <a:cubicBezTo>
                      <a:pt x="24254" y="139"/>
                      <a:pt x="31115" y="6330"/>
                      <a:pt x="31115" y="14046"/>
                    </a:cubicBezTo>
                    <a:lnTo>
                      <a:pt x="31115" y="14046"/>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7" name="Freeform: Shape 86">
                <a:extLst>
                  <a:ext uri="{FF2B5EF4-FFF2-40B4-BE49-F238E27FC236}">
                    <a16:creationId xmlns:a16="http://schemas.microsoft.com/office/drawing/2014/main" id="{303BB6DF-AF52-5C8E-6F46-D5C6B03E965F}"/>
                  </a:ext>
                </a:extLst>
              </p:cNvPr>
              <p:cNvSpPr/>
              <p:nvPr/>
            </p:nvSpPr>
            <p:spPr>
              <a:xfrm>
                <a:off x="4640646" y="3517876"/>
                <a:ext cx="30821" cy="27813"/>
              </a:xfrm>
              <a:custGeom>
                <a:avLst/>
                <a:gdLst>
                  <a:gd name="connsiteX0" fmla="*/ 31118 w 30821"/>
                  <a:gd name="connsiteY0" fmla="*/ 14047 h 27813"/>
                  <a:gd name="connsiteX1" fmla="*/ 15708 w 30821"/>
                  <a:gd name="connsiteY1" fmla="*/ 27953 h 27813"/>
                  <a:gd name="connsiteX2" fmla="*/ 297 w 30821"/>
                  <a:gd name="connsiteY2" fmla="*/ 14047 h 27813"/>
                  <a:gd name="connsiteX3" fmla="*/ 15708 w 30821"/>
                  <a:gd name="connsiteY3" fmla="*/ 140 h 27813"/>
                  <a:gd name="connsiteX4" fmla="*/ 31118 w 30821"/>
                  <a:gd name="connsiteY4" fmla="*/ 14047 h 27813"/>
                  <a:gd name="connsiteX5" fmla="*/ 31118 w 30821"/>
                  <a:gd name="connsiteY5" fmla="*/ 1404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18" y="14047"/>
                    </a:moveTo>
                    <a:cubicBezTo>
                      <a:pt x="31118" y="21762"/>
                      <a:pt x="24257" y="27953"/>
                      <a:pt x="15708" y="27953"/>
                    </a:cubicBezTo>
                    <a:cubicBezTo>
                      <a:pt x="7158" y="27953"/>
                      <a:pt x="297" y="21762"/>
                      <a:pt x="297" y="14047"/>
                    </a:cubicBezTo>
                    <a:cubicBezTo>
                      <a:pt x="297" y="6331"/>
                      <a:pt x="7158" y="140"/>
                      <a:pt x="15708" y="140"/>
                    </a:cubicBezTo>
                    <a:cubicBezTo>
                      <a:pt x="24257" y="140"/>
                      <a:pt x="31118" y="6331"/>
                      <a:pt x="31118" y="14047"/>
                    </a:cubicBezTo>
                    <a:lnTo>
                      <a:pt x="31118" y="1404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8" name="Freeform: Shape 87">
                <a:extLst>
                  <a:ext uri="{FF2B5EF4-FFF2-40B4-BE49-F238E27FC236}">
                    <a16:creationId xmlns:a16="http://schemas.microsoft.com/office/drawing/2014/main" id="{A1E72883-80F7-66A2-2125-D1CE6E71447A}"/>
                  </a:ext>
                </a:extLst>
              </p:cNvPr>
              <p:cNvSpPr/>
              <p:nvPr/>
            </p:nvSpPr>
            <p:spPr>
              <a:xfrm>
                <a:off x="4672312" y="3517876"/>
                <a:ext cx="30821" cy="27813"/>
              </a:xfrm>
              <a:custGeom>
                <a:avLst/>
                <a:gdLst>
                  <a:gd name="connsiteX0" fmla="*/ 31121 w 30821"/>
                  <a:gd name="connsiteY0" fmla="*/ 14047 h 27813"/>
                  <a:gd name="connsiteX1" fmla="*/ 15711 w 30821"/>
                  <a:gd name="connsiteY1" fmla="*/ 27953 h 27813"/>
                  <a:gd name="connsiteX2" fmla="*/ 300 w 30821"/>
                  <a:gd name="connsiteY2" fmla="*/ 14047 h 27813"/>
                  <a:gd name="connsiteX3" fmla="*/ 15711 w 30821"/>
                  <a:gd name="connsiteY3" fmla="*/ 140 h 27813"/>
                  <a:gd name="connsiteX4" fmla="*/ 31121 w 30821"/>
                  <a:gd name="connsiteY4" fmla="*/ 14047 h 27813"/>
                  <a:gd name="connsiteX5" fmla="*/ 31121 w 30821"/>
                  <a:gd name="connsiteY5" fmla="*/ 1404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21" y="14047"/>
                    </a:moveTo>
                    <a:cubicBezTo>
                      <a:pt x="31121" y="21762"/>
                      <a:pt x="24260" y="27953"/>
                      <a:pt x="15711" y="27953"/>
                    </a:cubicBezTo>
                    <a:cubicBezTo>
                      <a:pt x="7161" y="27953"/>
                      <a:pt x="300" y="21762"/>
                      <a:pt x="300" y="14047"/>
                    </a:cubicBezTo>
                    <a:cubicBezTo>
                      <a:pt x="300" y="6331"/>
                      <a:pt x="7161" y="140"/>
                      <a:pt x="15711" y="140"/>
                    </a:cubicBezTo>
                    <a:cubicBezTo>
                      <a:pt x="24260" y="140"/>
                      <a:pt x="31121" y="6331"/>
                      <a:pt x="31121" y="14047"/>
                    </a:cubicBezTo>
                    <a:lnTo>
                      <a:pt x="31121" y="1404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89" name="Freeform: Shape 88">
                <a:extLst>
                  <a:ext uri="{FF2B5EF4-FFF2-40B4-BE49-F238E27FC236}">
                    <a16:creationId xmlns:a16="http://schemas.microsoft.com/office/drawing/2014/main" id="{6F5F26F7-3A9A-C0DF-7678-1E6A3CF117C0}"/>
                  </a:ext>
                </a:extLst>
              </p:cNvPr>
              <p:cNvSpPr/>
              <p:nvPr/>
            </p:nvSpPr>
            <p:spPr>
              <a:xfrm>
                <a:off x="4704400" y="3531687"/>
                <a:ext cx="30821" cy="27813"/>
              </a:xfrm>
              <a:custGeom>
                <a:avLst/>
                <a:gdLst>
                  <a:gd name="connsiteX0" fmla="*/ 31124 w 30821"/>
                  <a:gd name="connsiteY0" fmla="*/ 14048 h 27813"/>
                  <a:gd name="connsiteX1" fmla="*/ 15714 w 30821"/>
                  <a:gd name="connsiteY1" fmla="*/ 27955 h 27813"/>
                  <a:gd name="connsiteX2" fmla="*/ 303 w 30821"/>
                  <a:gd name="connsiteY2" fmla="*/ 14048 h 27813"/>
                  <a:gd name="connsiteX3" fmla="*/ 15714 w 30821"/>
                  <a:gd name="connsiteY3" fmla="*/ 142 h 27813"/>
                  <a:gd name="connsiteX4" fmla="*/ 31124 w 30821"/>
                  <a:gd name="connsiteY4" fmla="*/ 14048 h 27813"/>
                  <a:gd name="connsiteX5" fmla="*/ 31124 w 30821"/>
                  <a:gd name="connsiteY5" fmla="*/ 1404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24" y="14048"/>
                    </a:moveTo>
                    <a:cubicBezTo>
                      <a:pt x="31124" y="21763"/>
                      <a:pt x="24263" y="27955"/>
                      <a:pt x="15714" y="27955"/>
                    </a:cubicBezTo>
                    <a:cubicBezTo>
                      <a:pt x="7164" y="27955"/>
                      <a:pt x="303" y="21763"/>
                      <a:pt x="303" y="14048"/>
                    </a:cubicBezTo>
                    <a:cubicBezTo>
                      <a:pt x="303" y="6333"/>
                      <a:pt x="7164" y="142"/>
                      <a:pt x="15714" y="142"/>
                    </a:cubicBezTo>
                    <a:cubicBezTo>
                      <a:pt x="24263" y="142"/>
                      <a:pt x="31124" y="6333"/>
                      <a:pt x="31124" y="14048"/>
                    </a:cubicBezTo>
                    <a:lnTo>
                      <a:pt x="31124" y="1404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0" name="Freeform: Shape 89">
                <a:extLst>
                  <a:ext uri="{FF2B5EF4-FFF2-40B4-BE49-F238E27FC236}">
                    <a16:creationId xmlns:a16="http://schemas.microsoft.com/office/drawing/2014/main" id="{65C02B49-7B1C-0C3F-BDA2-4D4789E6F042}"/>
                  </a:ext>
                </a:extLst>
              </p:cNvPr>
              <p:cNvSpPr/>
              <p:nvPr/>
            </p:nvSpPr>
            <p:spPr>
              <a:xfrm>
                <a:off x="4736065" y="3531687"/>
                <a:ext cx="30821" cy="27813"/>
              </a:xfrm>
              <a:custGeom>
                <a:avLst/>
                <a:gdLst>
                  <a:gd name="connsiteX0" fmla="*/ 31127 w 30821"/>
                  <a:gd name="connsiteY0" fmla="*/ 14048 h 27813"/>
                  <a:gd name="connsiteX1" fmla="*/ 15717 w 30821"/>
                  <a:gd name="connsiteY1" fmla="*/ 27955 h 27813"/>
                  <a:gd name="connsiteX2" fmla="*/ 306 w 30821"/>
                  <a:gd name="connsiteY2" fmla="*/ 14048 h 27813"/>
                  <a:gd name="connsiteX3" fmla="*/ 15717 w 30821"/>
                  <a:gd name="connsiteY3" fmla="*/ 142 h 27813"/>
                  <a:gd name="connsiteX4" fmla="*/ 31127 w 30821"/>
                  <a:gd name="connsiteY4" fmla="*/ 14048 h 27813"/>
                  <a:gd name="connsiteX5" fmla="*/ 31127 w 30821"/>
                  <a:gd name="connsiteY5" fmla="*/ 1404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27" y="14048"/>
                    </a:moveTo>
                    <a:cubicBezTo>
                      <a:pt x="31127" y="21763"/>
                      <a:pt x="24266" y="27955"/>
                      <a:pt x="15717" y="27955"/>
                    </a:cubicBezTo>
                    <a:cubicBezTo>
                      <a:pt x="7167" y="27955"/>
                      <a:pt x="306" y="21763"/>
                      <a:pt x="306" y="14048"/>
                    </a:cubicBezTo>
                    <a:cubicBezTo>
                      <a:pt x="306" y="6333"/>
                      <a:pt x="7167" y="142"/>
                      <a:pt x="15717" y="142"/>
                    </a:cubicBezTo>
                    <a:cubicBezTo>
                      <a:pt x="24266" y="142"/>
                      <a:pt x="31127" y="6333"/>
                      <a:pt x="31127" y="14048"/>
                    </a:cubicBezTo>
                    <a:lnTo>
                      <a:pt x="31127" y="1404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1" name="Freeform: Shape 90">
                <a:extLst>
                  <a:ext uri="{FF2B5EF4-FFF2-40B4-BE49-F238E27FC236}">
                    <a16:creationId xmlns:a16="http://schemas.microsoft.com/office/drawing/2014/main" id="{0B73622B-3760-D86B-278C-C2F21104DFE1}"/>
                  </a:ext>
                </a:extLst>
              </p:cNvPr>
              <p:cNvSpPr/>
              <p:nvPr/>
            </p:nvSpPr>
            <p:spPr>
              <a:xfrm>
                <a:off x="4767731" y="3531687"/>
                <a:ext cx="30821" cy="27813"/>
              </a:xfrm>
              <a:custGeom>
                <a:avLst/>
                <a:gdLst>
                  <a:gd name="connsiteX0" fmla="*/ 31130 w 30821"/>
                  <a:gd name="connsiteY0" fmla="*/ 14048 h 27813"/>
                  <a:gd name="connsiteX1" fmla="*/ 15720 w 30821"/>
                  <a:gd name="connsiteY1" fmla="*/ 27955 h 27813"/>
                  <a:gd name="connsiteX2" fmla="*/ 309 w 30821"/>
                  <a:gd name="connsiteY2" fmla="*/ 14048 h 27813"/>
                  <a:gd name="connsiteX3" fmla="*/ 15720 w 30821"/>
                  <a:gd name="connsiteY3" fmla="*/ 142 h 27813"/>
                  <a:gd name="connsiteX4" fmla="*/ 31130 w 30821"/>
                  <a:gd name="connsiteY4" fmla="*/ 14048 h 27813"/>
                  <a:gd name="connsiteX5" fmla="*/ 31130 w 30821"/>
                  <a:gd name="connsiteY5" fmla="*/ 1404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30" y="14048"/>
                    </a:moveTo>
                    <a:cubicBezTo>
                      <a:pt x="31130" y="21763"/>
                      <a:pt x="24269" y="27955"/>
                      <a:pt x="15720" y="27955"/>
                    </a:cubicBezTo>
                    <a:cubicBezTo>
                      <a:pt x="7170" y="27955"/>
                      <a:pt x="309" y="21763"/>
                      <a:pt x="309" y="14048"/>
                    </a:cubicBezTo>
                    <a:cubicBezTo>
                      <a:pt x="309" y="6333"/>
                      <a:pt x="7170" y="142"/>
                      <a:pt x="15720" y="142"/>
                    </a:cubicBezTo>
                    <a:cubicBezTo>
                      <a:pt x="24269" y="142"/>
                      <a:pt x="31130" y="6333"/>
                      <a:pt x="31130" y="14048"/>
                    </a:cubicBezTo>
                    <a:lnTo>
                      <a:pt x="31130" y="1404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2" name="Freeform: Shape 91">
                <a:extLst>
                  <a:ext uri="{FF2B5EF4-FFF2-40B4-BE49-F238E27FC236}">
                    <a16:creationId xmlns:a16="http://schemas.microsoft.com/office/drawing/2014/main" id="{A014D52E-A9F6-0E13-680D-D6D499321191}"/>
                  </a:ext>
                </a:extLst>
              </p:cNvPr>
              <p:cNvSpPr/>
              <p:nvPr/>
            </p:nvSpPr>
            <p:spPr>
              <a:xfrm>
                <a:off x="4799397" y="3531687"/>
                <a:ext cx="30821" cy="27813"/>
              </a:xfrm>
              <a:custGeom>
                <a:avLst/>
                <a:gdLst>
                  <a:gd name="connsiteX0" fmla="*/ 31133 w 30821"/>
                  <a:gd name="connsiteY0" fmla="*/ 14048 h 27813"/>
                  <a:gd name="connsiteX1" fmla="*/ 15723 w 30821"/>
                  <a:gd name="connsiteY1" fmla="*/ 27955 h 27813"/>
                  <a:gd name="connsiteX2" fmla="*/ 312 w 30821"/>
                  <a:gd name="connsiteY2" fmla="*/ 14048 h 27813"/>
                  <a:gd name="connsiteX3" fmla="*/ 15723 w 30821"/>
                  <a:gd name="connsiteY3" fmla="*/ 142 h 27813"/>
                  <a:gd name="connsiteX4" fmla="*/ 31133 w 30821"/>
                  <a:gd name="connsiteY4" fmla="*/ 14048 h 27813"/>
                  <a:gd name="connsiteX5" fmla="*/ 31133 w 30821"/>
                  <a:gd name="connsiteY5" fmla="*/ 1404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33" y="14048"/>
                    </a:moveTo>
                    <a:cubicBezTo>
                      <a:pt x="31133" y="21763"/>
                      <a:pt x="24272" y="27955"/>
                      <a:pt x="15723" y="27955"/>
                    </a:cubicBezTo>
                    <a:cubicBezTo>
                      <a:pt x="7173" y="27955"/>
                      <a:pt x="312" y="21763"/>
                      <a:pt x="312" y="14048"/>
                    </a:cubicBezTo>
                    <a:cubicBezTo>
                      <a:pt x="312" y="6333"/>
                      <a:pt x="7173" y="142"/>
                      <a:pt x="15723" y="142"/>
                    </a:cubicBezTo>
                    <a:cubicBezTo>
                      <a:pt x="24272" y="142"/>
                      <a:pt x="31133" y="6333"/>
                      <a:pt x="31133" y="14048"/>
                    </a:cubicBezTo>
                    <a:lnTo>
                      <a:pt x="31133" y="1404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3" name="Freeform: Shape 92">
                <a:extLst>
                  <a:ext uri="{FF2B5EF4-FFF2-40B4-BE49-F238E27FC236}">
                    <a16:creationId xmlns:a16="http://schemas.microsoft.com/office/drawing/2014/main" id="{7CEEBFB3-2BF2-8F82-4225-FA2E793606DE}"/>
                  </a:ext>
                </a:extLst>
              </p:cNvPr>
              <p:cNvSpPr/>
              <p:nvPr/>
            </p:nvSpPr>
            <p:spPr>
              <a:xfrm>
                <a:off x="4831063" y="3531687"/>
                <a:ext cx="30821" cy="27813"/>
              </a:xfrm>
              <a:custGeom>
                <a:avLst/>
                <a:gdLst>
                  <a:gd name="connsiteX0" fmla="*/ 31136 w 30821"/>
                  <a:gd name="connsiteY0" fmla="*/ 14048 h 27813"/>
                  <a:gd name="connsiteX1" fmla="*/ 15726 w 30821"/>
                  <a:gd name="connsiteY1" fmla="*/ 27955 h 27813"/>
                  <a:gd name="connsiteX2" fmla="*/ 315 w 30821"/>
                  <a:gd name="connsiteY2" fmla="*/ 14048 h 27813"/>
                  <a:gd name="connsiteX3" fmla="*/ 15726 w 30821"/>
                  <a:gd name="connsiteY3" fmla="*/ 142 h 27813"/>
                  <a:gd name="connsiteX4" fmla="*/ 31136 w 30821"/>
                  <a:gd name="connsiteY4" fmla="*/ 14048 h 27813"/>
                  <a:gd name="connsiteX5" fmla="*/ 31136 w 30821"/>
                  <a:gd name="connsiteY5" fmla="*/ 1404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36" y="14048"/>
                    </a:moveTo>
                    <a:cubicBezTo>
                      <a:pt x="31136" y="21763"/>
                      <a:pt x="24275" y="27955"/>
                      <a:pt x="15726" y="27955"/>
                    </a:cubicBezTo>
                    <a:cubicBezTo>
                      <a:pt x="7176" y="27955"/>
                      <a:pt x="315" y="21763"/>
                      <a:pt x="315" y="14048"/>
                    </a:cubicBezTo>
                    <a:cubicBezTo>
                      <a:pt x="315" y="6333"/>
                      <a:pt x="7176" y="142"/>
                      <a:pt x="15726" y="142"/>
                    </a:cubicBezTo>
                    <a:cubicBezTo>
                      <a:pt x="24275" y="142"/>
                      <a:pt x="31136" y="6333"/>
                      <a:pt x="31136" y="14048"/>
                    </a:cubicBezTo>
                    <a:lnTo>
                      <a:pt x="31136" y="1404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4" name="Freeform: Shape 93">
                <a:extLst>
                  <a:ext uri="{FF2B5EF4-FFF2-40B4-BE49-F238E27FC236}">
                    <a16:creationId xmlns:a16="http://schemas.microsoft.com/office/drawing/2014/main" id="{BF6BEC1B-5B22-8AB4-76AA-FF5274AF2682}"/>
                  </a:ext>
                </a:extLst>
              </p:cNvPr>
              <p:cNvSpPr/>
              <p:nvPr/>
            </p:nvSpPr>
            <p:spPr>
              <a:xfrm>
                <a:off x="4862728" y="3531687"/>
                <a:ext cx="30821" cy="27813"/>
              </a:xfrm>
              <a:custGeom>
                <a:avLst/>
                <a:gdLst>
                  <a:gd name="connsiteX0" fmla="*/ 31139 w 30821"/>
                  <a:gd name="connsiteY0" fmla="*/ 14048 h 27813"/>
                  <a:gd name="connsiteX1" fmla="*/ 15729 w 30821"/>
                  <a:gd name="connsiteY1" fmla="*/ 27955 h 27813"/>
                  <a:gd name="connsiteX2" fmla="*/ 318 w 30821"/>
                  <a:gd name="connsiteY2" fmla="*/ 14048 h 27813"/>
                  <a:gd name="connsiteX3" fmla="*/ 15729 w 30821"/>
                  <a:gd name="connsiteY3" fmla="*/ 142 h 27813"/>
                  <a:gd name="connsiteX4" fmla="*/ 31139 w 30821"/>
                  <a:gd name="connsiteY4" fmla="*/ 14048 h 27813"/>
                  <a:gd name="connsiteX5" fmla="*/ 31139 w 30821"/>
                  <a:gd name="connsiteY5" fmla="*/ 1404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39" y="14048"/>
                    </a:moveTo>
                    <a:cubicBezTo>
                      <a:pt x="31139" y="21763"/>
                      <a:pt x="24278" y="27955"/>
                      <a:pt x="15729" y="27955"/>
                    </a:cubicBezTo>
                    <a:cubicBezTo>
                      <a:pt x="7179" y="27955"/>
                      <a:pt x="318" y="21763"/>
                      <a:pt x="318" y="14048"/>
                    </a:cubicBezTo>
                    <a:cubicBezTo>
                      <a:pt x="318" y="6333"/>
                      <a:pt x="7179" y="142"/>
                      <a:pt x="15729" y="142"/>
                    </a:cubicBezTo>
                    <a:cubicBezTo>
                      <a:pt x="24278" y="142"/>
                      <a:pt x="31139" y="6333"/>
                      <a:pt x="31139" y="14048"/>
                    </a:cubicBezTo>
                    <a:lnTo>
                      <a:pt x="31139" y="1404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5" name="Freeform: Shape 94">
                <a:extLst>
                  <a:ext uri="{FF2B5EF4-FFF2-40B4-BE49-F238E27FC236}">
                    <a16:creationId xmlns:a16="http://schemas.microsoft.com/office/drawing/2014/main" id="{BC58FD67-130A-5E56-EDDC-1CA415FB5E49}"/>
                  </a:ext>
                </a:extLst>
              </p:cNvPr>
              <p:cNvSpPr/>
              <p:nvPr/>
            </p:nvSpPr>
            <p:spPr>
              <a:xfrm>
                <a:off x="4904527" y="3546451"/>
                <a:ext cx="30821" cy="27813"/>
              </a:xfrm>
              <a:custGeom>
                <a:avLst/>
                <a:gdLst>
                  <a:gd name="connsiteX0" fmla="*/ 31143 w 30821"/>
                  <a:gd name="connsiteY0" fmla="*/ 14050 h 27813"/>
                  <a:gd name="connsiteX1" fmla="*/ 15733 w 30821"/>
                  <a:gd name="connsiteY1" fmla="*/ 27956 h 27813"/>
                  <a:gd name="connsiteX2" fmla="*/ 322 w 30821"/>
                  <a:gd name="connsiteY2" fmla="*/ 14050 h 27813"/>
                  <a:gd name="connsiteX3" fmla="*/ 15733 w 30821"/>
                  <a:gd name="connsiteY3" fmla="*/ 143 h 27813"/>
                  <a:gd name="connsiteX4" fmla="*/ 31143 w 30821"/>
                  <a:gd name="connsiteY4" fmla="*/ 14050 h 27813"/>
                  <a:gd name="connsiteX5" fmla="*/ 31143 w 30821"/>
                  <a:gd name="connsiteY5" fmla="*/ 1405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43" y="14050"/>
                    </a:moveTo>
                    <a:cubicBezTo>
                      <a:pt x="31143" y="21765"/>
                      <a:pt x="24282" y="27956"/>
                      <a:pt x="15733" y="27956"/>
                    </a:cubicBezTo>
                    <a:cubicBezTo>
                      <a:pt x="7183" y="27956"/>
                      <a:pt x="322" y="21765"/>
                      <a:pt x="322" y="14050"/>
                    </a:cubicBezTo>
                    <a:cubicBezTo>
                      <a:pt x="322" y="6334"/>
                      <a:pt x="7183" y="143"/>
                      <a:pt x="15733" y="143"/>
                    </a:cubicBezTo>
                    <a:cubicBezTo>
                      <a:pt x="24282" y="143"/>
                      <a:pt x="31143" y="6334"/>
                      <a:pt x="31143" y="14050"/>
                    </a:cubicBezTo>
                    <a:lnTo>
                      <a:pt x="31143" y="14050"/>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6" name="Freeform: Shape 95">
                <a:extLst>
                  <a:ext uri="{FF2B5EF4-FFF2-40B4-BE49-F238E27FC236}">
                    <a16:creationId xmlns:a16="http://schemas.microsoft.com/office/drawing/2014/main" id="{B29A205D-F7C1-B526-34A1-587D97F3C57F}"/>
                  </a:ext>
                </a:extLst>
              </p:cNvPr>
              <p:cNvSpPr/>
              <p:nvPr/>
            </p:nvSpPr>
            <p:spPr>
              <a:xfrm>
                <a:off x="4936193" y="3565501"/>
                <a:ext cx="30821" cy="27813"/>
              </a:xfrm>
              <a:custGeom>
                <a:avLst/>
                <a:gdLst>
                  <a:gd name="connsiteX0" fmla="*/ 31146 w 30821"/>
                  <a:gd name="connsiteY0" fmla="*/ 14052 h 27813"/>
                  <a:gd name="connsiteX1" fmla="*/ 15736 w 30821"/>
                  <a:gd name="connsiteY1" fmla="*/ 27958 h 27813"/>
                  <a:gd name="connsiteX2" fmla="*/ 325 w 30821"/>
                  <a:gd name="connsiteY2" fmla="*/ 14052 h 27813"/>
                  <a:gd name="connsiteX3" fmla="*/ 15736 w 30821"/>
                  <a:gd name="connsiteY3" fmla="*/ 145 h 27813"/>
                  <a:gd name="connsiteX4" fmla="*/ 31146 w 30821"/>
                  <a:gd name="connsiteY4" fmla="*/ 14052 h 27813"/>
                  <a:gd name="connsiteX5" fmla="*/ 31146 w 30821"/>
                  <a:gd name="connsiteY5" fmla="*/ 1405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46" y="14052"/>
                    </a:moveTo>
                    <a:cubicBezTo>
                      <a:pt x="31146" y="21767"/>
                      <a:pt x="24285" y="27958"/>
                      <a:pt x="15736" y="27958"/>
                    </a:cubicBezTo>
                    <a:cubicBezTo>
                      <a:pt x="7186" y="27958"/>
                      <a:pt x="325" y="21767"/>
                      <a:pt x="325" y="14052"/>
                    </a:cubicBezTo>
                    <a:cubicBezTo>
                      <a:pt x="325" y="6336"/>
                      <a:pt x="7186" y="145"/>
                      <a:pt x="15736" y="145"/>
                    </a:cubicBezTo>
                    <a:cubicBezTo>
                      <a:pt x="24285" y="145"/>
                      <a:pt x="31146" y="6336"/>
                      <a:pt x="31146" y="14052"/>
                    </a:cubicBezTo>
                    <a:lnTo>
                      <a:pt x="31146" y="14052"/>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7" name="Freeform: Shape 96">
                <a:extLst>
                  <a:ext uri="{FF2B5EF4-FFF2-40B4-BE49-F238E27FC236}">
                    <a16:creationId xmlns:a16="http://schemas.microsoft.com/office/drawing/2014/main" id="{6646AAF7-07DF-C50E-0407-C610B366C431}"/>
                  </a:ext>
                </a:extLst>
              </p:cNvPr>
              <p:cNvSpPr/>
              <p:nvPr/>
            </p:nvSpPr>
            <p:spPr>
              <a:xfrm>
                <a:off x="4967859" y="3584551"/>
                <a:ext cx="30821" cy="27813"/>
              </a:xfrm>
              <a:custGeom>
                <a:avLst/>
                <a:gdLst>
                  <a:gd name="connsiteX0" fmla="*/ 31149 w 30821"/>
                  <a:gd name="connsiteY0" fmla="*/ 14054 h 27813"/>
                  <a:gd name="connsiteX1" fmla="*/ 15739 w 30821"/>
                  <a:gd name="connsiteY1" fmla="*/ 27960 h 27813"/>
                  <a:gd name="connsiteX2" fmla="*/ 328 w 30821"/>
                  <a:gd name="connsiteY2" fmla="*/ 14054 h 27813"/>
                  <a:gd name="connsiteX3" fmla="*/ 15739 w 30821"/>
                  <a:gd name="connsiteY3" fmla="*/ 147 h 27813"/>
                  <a:gd name="connsiteX4" fmla="*/ 31149 w 30821"/>
                  <a:gd name="connsiteY4" fmla="*/ 14054 h 27813"/>
                  <a:gd name="connsiteX5" fmla="*/ 31149 w 30821"/>
                  <a:gd name="connsiteY5" fmla="*/ 1405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49" y="14054"/>
                    </a:moveTo>
                    <a:cubicBezTo>
                      <a:pt x="31149" y="21769"/>
                      <a:pt x="24288" y="27960"/>
                      <a:pt x="15739" y="27960"/>
                    </a:cubicBezTo>
                    <a:cubicBezTo>
                      <a:pt x="7189" y="27960"/>
                      <a:pt x="328" y="21769"/>
                      <a:pt x="328" y="14054"/>
                    </a:cubicBezTo>
                    <a:cubicBezTo>
                      <a:pt x="328" y="6338"/>
                      <a:pt x="7189" y="147"/>
                      <a:pt x="15739" y="147"/>
                    </a:cubicBezTo>
                    <a:cubicBezTo>
                      <a:pt x="24288" y="147"/>
                      <a:pt x="31149" y="6338"/>
                      <a:pt x="31149" y="14054"/>
                    </a:cubicBezTo>
                    <a:lnTo>
                      <a:pt x="31149" y="14054"/>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8" name="Freeform: Shape 97">
                <a:extLst>
                  <a:ext uri="{FF2B5EF4-FFF2-40B4-BE49-F238E27FC236}">
                    <a16:creationId xmlns:a16="http://schemas.microsoft.com/office/drawing/2014/main" id="{72A8D9E3-8569-86DE-AA0D-F53C7A15130D}"/>
                  </a:ext>
                </a:extLst>
              </p:cNvPr>
              <p:cNvSpPr/>
              <p:nvPr/>
            </p:nvSpPr>
            <p:spPr>
              <a:xfrm>
                <a:off x="4999525" y="3594076"/>
                <a:ext cx="30821" cy="27813"/>
              </a:xfrm>
              <a:custGeom>
                <a:avLst/>
                <a:gdLst>
                  <a:gd name="connsiteX0" fmla="*/ 31152 w 30821"/>
                  <a:gd name="connsiteY0" fmla="*/ 14055 h 27813"/>
                  <a:gd name="connsiteX1" fmla="*/ 15742 w 30821"/>
                  <a:gd name="connsiteY1" fmla="*/ 27961 h 27813"/>
                  <a:gd name="connsiteX2" fmla="*/ 331 w 30821"/>
                  <a:gd name="connsiteY2" fmla="*/ 14055 h 27813"/>
                  <a:gd name="connsiteX3" fmla="*/ 15742 w 30821"/>
                  <a:gd name="connsiteY3" fmla="*/ 148 h 27813"/>
                  <a:gd name="connsiteX4" fmla="*/ 31152 w 30821"/>
                  <a:gd name="connsiteY4" fmla="*/ 14055 h 27813"/>
                  <a:gd name="connsiteX5" fmla="*/ 31152 w 30821"/>
                  <a:gd name="connsiteY5" fmla="*/ 14055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52" y="14055"/>
                    </a:moveTo>
                    <a:cubicBezTo>
                      <a:pt x="31152" y="21770"/>
                      <a:pt x="24291" y="27961"/>
                      <a:pt x="15742" y="27961"/>
                    </a:cubicBezTo>
                    <a:cubicBezTo>
                      <a:pt x="7192" y="27961"/>
                      <a:pt x="331" y="21770"/>
                      <a:pt x="331" y="14055"/>
                    </a:cubicBezTo>
                    <a:cubicBezTo>
                      <a:pt x="331" y="6339"/>
                      <a:pt x="7192" y="148"/>
                      <a:pt x="15742" y="148"/>
                    </a:cubicBezTo>
                    <a:cubicBezTo>
                      <a:pt x="24291" y="148"/>
                      <a:pt x="31152" y="6339"/>
                      <a:pt x="31152" y="14055"/>
                    </a:cubicBezTo>
                    <a:lnTo>
                      <a:pt x="31152" y="14055"/>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9" name="Freeform: Shape 98">
                <a:extLst>
                  <a:ext uri="{FF2B5EF4-FFF2-40B4-BE49-F238E27FC236}">
                    <a16:creationId xmlns:a16="http://schemas.microsoft.com/office/drawing/2014/main" id="{167FC900-5798-EA93-B79B-9C8EAE28A657}"/>
                  </a:ext>
                </a:extLst>
              </p:cNvPr>
              <p:cNvSpPr/>
              <p:nvPr/>
            </p:nvSpPr>
            <p:spPr>
              <a:xfrm>
                <a:off x="5020635" y="3603601"/>
                <a:ext cx="30821" cy="27813"/>
              </a:xfrm>
              <a:custGeom>
                <a:avLst/>
                <a:gdLst>
                  <a:gd name="connsiteX0" fmla="*/ 31154 w 30821"/>
                  <a:gd name="connsiteY0" fmla="*/ 14056 h 27813"/>
                  <a:gd name="connsiteX1" fmla="*/ 15744 w 30821"/>
                  <a:gd name="connsiteY1" fmla="*/ 27962 h 27813"/>
                  <a:gd name="connsiteX2" fmla="*/ 333 w 30821"/>
                  <a:gd name="connsiteY2" fmla="*/ 14056 h 27813"/>
                  <a:gd name="connsiteX3" fmla="*/ 15744 w 30821"/>
                  <a:gd name="connsiteY3" fmla="*/ 149 h 27813"/>
                  <a:gd name="connsiteX4" fmla="*/ 31154 w 30821"/>
                  <a:gd name="connsiteY4" fmla="*/ 14056 h 27813"/>
                  <a:gd name="connsiteX5" fmla="*/ 31154 w 30821"/>
                  <a:gd name="connsiteY5" fmla="*/ 14056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54" y="14056"/>
                    </a:moveTo>
                    <a:cubicBezTo>
                      <a:pt x="31154" y="21771"/>
                      <a:pt x="24293" y="27962"/>
                      <a:pt x="15744" y="27962"/>
                    </a:cubicBezTo>
                    <a:cubicBezTo>
                      <a:pt x="7194" y="27962"/>
                      <a:pt x="333" y="21771"/>
                      <a:pt x="333" y="14056"/>
                    </a:cubicBezTo>
                    <a:cubicBezTo>
                      <a:pt x="333" y="6340"/>
                      <a:pt x="7194" y="149"/>
                      <a:pt x="15744" y="149"/>
                    </a:cubicBezTo>
                    <a:cubicBezTo>
                      <a:pt x="24293" y="149"/>
                      <a:pt x="31154" y="6340"/>
                      <a:pt x="31154" y="14056"/>
                    </a:cubicBezTo>
                    <a:lnTo>
                      <a:pt x="31154" y="14056"/>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0" name="Freeform: Shape 99">
                <a:extLst>
                  <a:ext uri="{FF2B5EF4-FFF2-40B4-BE49-F238E27FC236}">
                    <a16:creationId xmlns:a16="http://schemas.microsoft.com/office/drawing/2014/main" id="{E834ADF5-28C8-88BA-0FE2-491E8986DC37}"/>
                  </a:ext>
                </a:extLst>
              </p:cNvPr>
              <p:cNvSpPr/>
              <p:nvPr/>
            </p:nvSpPr>
            <p:spPr>
              <a:xfrm>
                <a:off x="5052301" y="3613126"/>
                <a:ext cx="30821" cy="27813"/>
              </a:xfrm>
              <a:custGeom>
                <a:avLst/>
                <a:gdLst>
                  <a:gd name="connsiteX0" fmla="*/ 31157 w 30821"/>
                  <a:gd name="connsiteY0" fmla="*/ 14057 h 27813"/>
                  <a:gd name="connsiteX1" fmla="*/ 15747 w 30821"/>
                  <a:gd name="connsiteY1" fmla="*/ 27963 h 27813"/>
                  <a:gd name="connsiteX2" fmla="*/ 336 w 30821"/>
                  <a:gd name="connsiteY2" fmla="*/ 14057 h 27813"/>
                  <a:gd name="connsiteX3" fmla="*/ 15747 w 30821"/>
                  <a:gd name="connsiteY3" fmla="*/ 150 h 27813"/>
                  <a:gd name="connsiteX4" fmla="*/ 31157 w 30821"/>
                  <a:gd name="connsiteY4" fmla="*/ 14057 h 27813"/>
                  <a:gd name="connsiteX5" fmla="*/ 31157 w 30821"/>
                  <a:gd name="connsiteY5" fmla="*/ 1405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57" y="14057"/>
                    </a:moveTo>
                    <a:cubicBezTo>
                      <a:pt x="31157" y="21772"/>
                      <a:pt x="24296" y="27963"/>
                      <a:pt x="15747" y="27963"/>
                    </a:cubicBezTo>
                    <a:cubicBezTo>
                      <a:pt x="7197" y="27963"/>
                      <a:pt x="336" y="21772"/>
                      <a:pt x="336" y="14057"/>
                    </a:cubicBezTo>
                    <a:cubicBezTo>
                      <a:pt x="336" y="6341"/>
                      <a:pt x="7197" y="150"/>
                      <a:pt x="15747" y="150"/>
                    </a:cubicBezTo>
                    <a:cubicBezTo>
                      <a:pt x="24296" y="150"/>
                      <a:pt x="31157" y="6341"/>
                      <a:pt x="31157" y="14057"/>
                    </a:cubicBezTo>
                    <a:lnTo>
                      <a:pt x="31157" y="1405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1" name="Freeform: Shape 100">
                <a:extLst>
                  <a:ext uri="{FF2B5EF4-FFF2-40B4-BE49-F238E27FC236}">
                    <a16:creationId xmlns:a16="http://schemas.microsoft.com/office/drawing/2014/main" id="{E531146C-4CD9-DB8E-5D7D-1E68139919F1}"/>
                  </a:ext>
                </a:extLst>
              </p:cNvPr>
              <p:cNvSpPr/>
              <p:nvPr/>
            </p:nvSpPr>
            <p:spPr>
              <a:xfrm>
                <a:off x="5083967" y="3622651"/>
                <a:ext cx="30821" cy="27813"/>
              </a:xfrm>
              <a:custGeom>
                <a:avLst/>
                <a:gdLst>
                  <a:gd name="connsiteX0" fmla="*/ 31160 w 30821"/>
                  <a:gd name="connsiteY0" fmla="*/ 14058 h 27813"/>
                  <a:gd name="connsiteX1" fmla="*/ 15750 w 30821"/>
                  <a:gd name="connsiteY1" fmla="*/ 27964 h 27813"/>
                  <a:gd name="connsiteX2" fmla="*/ 339 w 30821"/>
                  <a:gd name="connsiteY2" fmla="*/ 14058 h 27813"/>
                  <a:gd name="connsiteX3" fmla="*/ 15750 w 30821"/>
                  <a:gd name="connsiteY3" fmla="*/ 151 h 27813"/>
                  <a:gd name="connsiteX4" fmla="*/ 31160 w 30821"/>
                  <a:gd name="connsiteY4" fmla="*/ 14058 h 27813"/>
                  <a:gd name="connsiteX5" fmla="*/ 31160 w 30821"/>
                  <a:gd name="connsiteY5" fmla="*/ 1405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60" y="14058"/>
                    </a:moveTo>
                    <a:cubicBezTo>
                      <a:pt x="31160" y="21773"/>
                      <a:pt x="24299" y="27964"/>
                      <a:pt x="15750" y="27964"/>
                    </a:cubicBezTo>
                    <a:cubicBezTo>
                      <a:pt x="7200" y="27964"/>
                      <a:pt x="339" y="21773"/>
                      <a:pt x="339" y="14058"/>
                    </a:cubicBezTo>
                    <a:cubicBezTo>
                      <a:pt x="339" y="6342"/>
                      <a:pt x="7200" y="151"/>
                      <a:pt x="15750" y="151"/>
                    </a:cubicBezTo>
                    <a:cubicBezTo>
                      <a:pt x="24299" y="151"/>
                      <a:pt x="31160" y="6342"/>
                      <a:pt x="31160" y="14058"/>
                    </a:cubicBezTo>
                    <a:lnTo>
                      <a:pt x="31160" y="1405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2" name="Freeform: Shape 101">
                <a:extLst>
                  <a:ext uri="{FF2B5EF4-FFF2-40B4-BE49-F238E27FC236}">
                    <a16:creationId xmlns:a16="http://schemas.microsoft.com/office/drawing/2014/main" id="{BB702D42-F26B-40B6-DE5E-9D57E27BEE0E}"/>
                  </a:ext>
                </a:extLst>
              </p:cNvPr>
              <p:cNvSpPr/>
              <p:nvPr/>
            </p:nvSpPr>
            <p:spPr>
              <a:xfrm>
                <a:off x="5115632" y="3622651"/>
                <a:ext cx="30821" cy="27813"/>
              </a:xfrm>
              <a:custGeom>
                <a:avLst/>
                <a:gdLst>
                  <a:gd name="connsiteX0" fmla="*/ 31163 w 30821"/>
                  <a:gd name="connsiteY0" fmla="*/ 14058 h 27813"/>
                  <a:gd name="connsiteX1" fmla="*/ 15753 w 30821"/>
                  <a:gd name="connsiteY1" fmla="*/ 27964 h 27813"/>
                  <a:gd name="connsiteX2" fmla="*/ 342 w 30821"/>
                  <a:gd name="connsiteY2" fmla="*/ 14058 h 27813"/>
                  <a:gd name="connsiteX3" fmla="*/ 15753 w 30821"/>
                  <a:gd name="connsiteY3" fmla="*/ 151 h 27813"/>
                  <a:gd name="connsiteX4" fmla="*/ 31163 w 30821"/>
                  <a:gd name="connsiteY4" fmla="*/ 14058 h 27813"/>
                  <a:gd name="connsiteX5" fmla="*/ 31163 w 30821"/>
                  <a:gd name="connsiteY5" fmla="*/ 1405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63" y="14058"/>
                    </a:moveTo>
                    <a:cubicBezTo>
                      <a:pt x="31163" y="21773"/>
                      <a:pt x="24302" y="27964"/>
                      <a:pt x="15753" y="27964"/>
                    </a:cubicBezTo>
                    <a:cubicBezTo>
                      <a:pt x="7203" y="27964"/>
                      <a:pt x="342" y="21773"/>
                      <a:pt x="342" y="14058"/>
                    </a:cubicBezTo>
                    <a:cubicBezTo>
                      <a:pt x="342" y="6342"/>
                      <a:pt x="7203" y="151"/>
                      <a:pt x="15753" y="151"/>
                    </a:cubicBezTo>
                    <a:cubicBezTo>
                      <a:pt x="24302" y="151"/>
                      <a:pt x="31163" y="6342"/>
                      <a:pt x="31163" y="14058"/>
                    </a:cubicBezTo>
                    <a:lnTo>
                      <a:pt x="31163" y="1405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3" name="Freeform: Shape 102">
                <a:extLst>
                  <a:ext uri="{FF2B5EF4-FFF2-40B4-BE49-F238E27FC236}">
                    <a16:creationId xmlns:a16="http://schemas.microsoft.com/office/drawing/2014/main" id="{7C7EF1DF-D58F-AEC7-8695-3B99B1D259AB}"/>
                  </a:ext>
                </a:extLst>
              </p:cNvPr>
              <p:cNvSpPr/>
              <p:nvPr/>
            </p:nvSpPr>
            <p:spPr>
              <a:xfrm>
                <a:off x="5147298" y="3622651"/>
                <a:ext cx="30821" cy="27813"/>
              </a:xfrm>
              <a:custGeom>
                <a:avLst/>
                <a:gdLst>
                  <a:gd name="connsiteX0" fmla="*/ 31166 w 30821"/>
                  <a:gd name="connsiteY0" fmla="*/ 14058 h 27813"/>
                  <a:gd name="connsiteX1" fmla="*/ 15756 w 30821"/>
                  <a:gd name="connsiteY1" fmla="*/ 27964 h 27813"/>
                  <a:gd name="connsiteX2" fmla="*/ 345 w 30821"/>
                  <a:gd name="connsiteY2" fmla="*/ 14058 h 27813"/>
                  <a:gd name="connsiteX3" fmla="*/ 15756 w 30821"/>
                  <a:gd name="connsiteY3" fmla="*/ 151 h 27813"/>
                  <a:gd name="connsiteX4" fmla="*/ 31166 w 30821"/>
                  <a:gd name="connsiteY4" fmla="*/ 14058 h 27813"/>
                  <a:gd name="connsiteX5" fmla="*/ 31166 w 30821"/>
                  <a:gd name="connsiteY5" fmla="*/ 1405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66" y="14058"/>
                    </a:moveTo>
                    <a:cubicBezTo>
                      <a:pt x="31166" y="21773"/>
                      <a:pt x="24305" y="27964"/>
                      <a:pt x="15756" y="27964"/>
                    </a:cubicBezTo>
                    <a:cubicBezTo>
                      <a:pt x="7206" y="27964"/>
                      <a:pt x="345" y="21773"/>
                      <a:pt x="345" y="14058"/>
                    </a:cubicBezTo>
                    <a:cubicBezTo>
                      <a:pt x="345" y="6342"/>
                      <a:pt x="7206" y="151"/>
                      <a:pt x="15756" y="151"/>
                    </a:cubicBezTo>
                    <a:cubicBezTo>
                      <a:pt x="24305" y="151"/>
                      <a:pt x="31166" y="6342"/>
                      <a:pt x="31166" y="14058"/>
                    </a:cubicBezTo>
                    <a:lnTo>
                      <a:pt x="31166" y="1405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4" name="Freeform: Shape 103">
                <a:extLst>
                  <a:ext uri="{FF2B5EF4-FFF2-40B4-BE49-F238E27FC236}">
                    <a16:creationId xmlns:a16="http://schemas.microsoft.com/office/drawing/2014/main" id="{28C2F0DB-24DE-C58F-317E-39ABDB0E8CCD}"/>
                  </a:ext>
                </a:extLst>
              </p:cNvPr>
              <p:cNvSpPr/>
              <p:nvPr/>
            </p:nvSpPr>
            <p:spPr>
              <a:xfrm>
                <a:off x="5189519" y="3632176"/>
                <a:ext cx="30821" cy="27813"/>
              </a:xfrm>
              <a:custGeom>
                <a:avLst/>
                <a:gdLst>
                  <a:gd name="connsiteX0" fmla="*/ 31170 w 30821"/>
                  <a:gd name="connsiteY0" fmla="*/ 14059 h 27813"/>
                  <a:gd name="connsiteX1" fmla="*/ 15760 w 30821"/>
                  <a:gd name="connsiteY1" fmla="*/ 27965 h 27813"/>
                  <a:gd name="connsiteX2" fmla="*/ 349 w 30821"/>
                  <a:gd name="connsiteY2" fmla="*/ 14059 h 27813"/>
                  <a:gd name="connsiteX3" fmla="*/ 15760 w 30821"/>
                  <a:gd name="connsiteY3" fmla="*/ 152 h 27813"/>
                  <a:gd name="connsiteX4" fmla="*/ 31170 w 30821"/>
                  <a:gd name="connsiteY4" fmla="*/ 14059 h 27813"/>
                  <a:gd name="connsiteX5" fmla="*/ 31170 w 30821"/>
                  <a:gd name="connsiteY5" fmla="*/ 1405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70" y="14059"/>
                    </a:moveTo>
                    <a:cubicBezTo>
                      <a:pt x="31170" y="21774"/>
                      <a:pt x="24309" y="27965"/>
                      <a:pt x="15760" y="27965"/>
                    </a:cubicBezTo>
                    <a:cubicBezTo>
                      <a:pt x="7210" y="27965"/>
                      <a:pt x="349" y="21774"/>
                      <a:pt x="349" y="14059"/>
                    </a:cubicBezTo>
                    <a:cubicBezTo>
                      <a:pt x="349" y="6343"/>
                      <a:pt x="7210" y="152"/>
                      <a:pt x="15760" y="152"/>
                    </a:cubicBezTo>
                    <a:cubicBezTo>
                      <a:pt x="24309" y="152"/>
                      <a:pt x="31170" y="6343"/>
                      <a:pt x="31170" y="14059"/>
                    </a:cubicBezTo>
                    <a:lnTo>
                      <a:pt x="31170" y="14059"/>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5" name="Freeform: Shape 104">
                <a:extLst>
                  <a:ext uri="{FF2B5EF4-FFF2-40B4-BE49-F238E27FC236}">
                    <a16:creationId xmlns:a16="http://schemas.microsoft.com/office/drawing/2014/main" id="{EE0C8F5C-EE45-55F8-E195-11D274FF8D22}"/>
                  </a:ext>
                </a:extLst>
              </p:cNvPr>
              <p:cNvSpPr/>
              <p:nvPr/>
            </p:nvSpPr>
            <p:spPr>
              <a:xfrm>
                <a:off x="5222557" y="3645987"/>
                <a:ext cx="30821" cy="27813"/>
              </a:xfrm>
              <a:custGeom>
                <a:avLst/>
                <a:gdLst>
                  <a:gd name="connsiteX0" fmla="*/ 31173 w 30821"/>
                  <a:gd name="connsiteY0" fmla="*/ 14060 h 27813"/>
                  <a:gd name="connsiteX1" fmla="*/ 15763 w 30821"/>
                  <a:gd name="connsiteY1" fmla="*/ 27967 h 27813"/>
                  <a:gd name="connsiteX2" fmla="*/ 352 w 30821"/>
                  <a:gd name="connsiteY2" fmla="*/ 14060 h 27813"/>
                  <a:gd name="connsiteX3" fmla="*/ 15763 w 30821"/>
                  <a:gd name="connsiteY3" fmla="*/ 154 h 27813"/>
                  <a:gd name="connsiteX4" fmla="*/ 31173 w 30821"/>
                  <a:gd name="connsiteY4" fmla="*/ 14060 h 27813"/>
                  <a:gd name="connsiteX5" fmla="*/ 31173 w 30821"/>
                  <a:gd name="connsiteY5" fmla="*/ 1406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73" y="14060"/>
                    </a:moveTo>
                    <a:cubicBezTo>
                      <a:pt x="31173" y="21775"/>
                      <a:pt x="24313" y="27967"/>
                      <a:pt x="15763" y="27967"/>
                    </a:cubicBezTo>
                    <a:cubicBezTo>
                      <a:pt x="7213" y="27967"/>
                      <a:pt x="352" y="21775"/>
                      <a:pt x="352" y="14060"/>
                    </a:cubicBezTo>
                    <a:cubicBezTo>
                      <a:pt x="352" y="6345"/>
                      <a:pt x="7213" y="154"/>
                      <a:pt x="15763" y="154"/>
                    </a:cubicBezTo>
                    <a:cubicBezTo>
                      <a:pt x="24313" y="154"/>
                      <a:pt x="31173" y="6345"/>
                      <a:pt x="31173" y="14060"/>
                    </a:cubicBezTo>
                    <a:lnTo>
                      <a:pt x="31173" y="14060"/>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6" name="Freeform: Shape 105">
                <a:extLst>
                  <a:ext uri="{FF2B5EF4-FFF2-40B4-BE49-F238E27FC236}">
                    <a16:creationId xmlns:a16="http://schemas.microsoft.com/office/drawing/2014/main" id="{26E0894B-8302-B826-E4E9-34F7CD98F703}"/>
                  </a:ext>
                </a:extLst>
              </p:cNvPr>
              <p:cNvSpPr/>
              <p:nvPr/>
            </p:nvSpPr>
            <p:spPr>
              <a:xfrm>
                <a:off x="5302144" y="3715710"/>
                <a:ext cx="30821" cy="27813"/>
              </a:xfrm>
              <a:custGeom>
                <a:avLst/>
                <a:gdLst>
                  <a:gd name="connsiteX0" fmla="*/ 31181 w 30821"/>
                  <a:gd name="connsiteY0" fmla="*/ 14068 h 27813"/>
                  <a:gd name="connsiteX1" fmla="*/ 15770 w 30821"/>
                  <a:gd name="connsiteY1" fmla="*/ 27974 h 27813"/>
                  <a:gd name="connsiteX2" fmla="*/ 360 w 30821"/>
                  <a:gd name="connsiteY2" fmla="*/ 14068 h 27813"/>
                  <a:gd name="connsiteX3" fmla="*/ 15770 w 30821"/>
                  <a:gd name="connsiteY3" fmla="*/ 161 h 27813"/>
                  <a:gd name="connsiteX4" fmla="*/ 31181 w 30821"/>
                  <a:gd name="connsiteY4" fmla="*/ 14068 h 27813"/>
                  <a:gd name="connsiteX5" fmla="*/ 31181 w 30821"/>
                  <a:gd name="connsiteY5" fmla="*/ 1406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81" y="14068"/>
                    </a:moveTo>
                    <a:cubicBezTo>
                      <a:pt x="31181" y="21783"/>
                      <a:pt x="24320" y="27974"/>
                      <a:pt x="15770" y="27974"/>
                    </a:cubicBezTo>
                    <a:cubicBezTo>
                      <a:pt x="7221" y="27974"/>
                      <a:pt x="360" y="21783"/>
                      <a:pt x="360" y="14068"/>
                    </a:cubicBezTo>
                    <a:cubicBezTo>
                      <a:pt x="360" y="6352"/>
                      <a:pt x="7221" y="161"/>
                      <a:pt x="15770" y="161"/>
                    </a:cubicBezTo>
                    <a:cubicBezTo>
                      <a:pt x="24320" y="161"/>
                      <a:pt x="31181" y="6352"/>
                      <a:pt x="31181" y="14068"/>
                    </a:cubicBezTo>
                    <a:lnTo>
                      <a:pt x="31181" y="1406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7" name="Freeform: Shape 106">
                <a:extLst>
                  <a:ext uri="{FF2B5EF4-FFF2-40B4-BE49-F238E27FC236}">
                    <a16:creationId xmlns:a16="http://schemas.microsoft.com/office/drawing/2014/main" id="{959A58EB-C0D8-1B29-568C-01B2B635E4EE}"/>
                  </a:ext>
                </a:extLst>
              </p:cNvPr>
              <p:cNvSpPr/>
              <p:nvPr/>
            </p:nvSpPr>
            <p:spPr>
              <a:xfrm>
                <a:off x="5333810" y="3725235"/>
                <a:ext cx="30821" cy="27813"/>
              </a:xfrm>
              <a:custGeom>
                <a:avLst/>
                <a:gdLst>
                  <a:gd name="connsiteX0" fmla="*/ 31184 w 30821"/>
                  <a:gd name="connsiteY0" fmla="*/ 14069 h 27813"/>
                  <a:gd name="connsiteX1" fmla="*/ 15773 w 30821"/>
                  <a:gd name="connsiteY1" fmla="*/ 27975 h 27813"/>
                  <a:gd name="connsiteX2" fmla="*/ 363 w 30821"/>
                  <a:gd name="connsiteY2" fmla="*/ 14069 h 27813"/>
                  <a:gd name="connsiteX3" fmla="*/ 15773 w 30821"/>
                  <a:gd name="connsiteY3" fmla="*/ 162 h 27813"/>
                  <a:gd name="connsiteX4" fmla="*/ 31184 w 30821"/>
                  <a:gd name="connsiteY4" fmla="*/ 14069 h 27813"/>
                  <a:gd name="connsiteX5" fmla="*/ 31184 w 30821"/>
                  <a:gd name="connsiteY5" fmla="*/ 1406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84" y="14069"/>
                    </a:moveTo>
                    <a:cubicBezTo>
                      <a:pt x="31184" y="21784"/>
                      <a:pt x="24323" y="27975"/>
                      <a:pt x="15773" y="27975"/>
                    </a:cubicBezTo>
                    <a:cubicBezTo>
                      <a:pt x="7224" y="27975"/>
                      <a:pt x="363" y="21784"/>
                      <a:pt x="363" y="14069"/>
                    </a:cubicBezTo>
                    <a:cubicBezTo>
                      <a:pt x="363" y="6353"/>
                      <a:pt x="7224" y="162"/>
                      <a:pt x="15773" y="162"/>
                    </a:cubicBezTo>
                    <a:cubicBezTo>
                      <a:pt x="24323" y="162"/>
                      <a:pt x="31184" y="6353"/>
                      <a:pt x="31184" y="14069"/>
                    </a:cubicBezTo>
                    <a:lnTo>
                      <a:pt x="31184" y="14069"/>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8" name="Freeform: Shape 107">
                <a:extLst>
                  <a:ext uri="{FF2B5EF4-FFF2-40B4-BE49-F238E27FC236}">
                    <a16:creationId xmlns:a16="http://schemas.microsoft.com/office/drawing/2014/main" id="{ED7883A0-52DC-0B85-657F-07BD8FC52B6B}"/>
                  </a:ext>
                </a:extLst>
              </p:cNvPr>
              <p:cNvSpPr/>
              <p:nvPr/>
            </p:nvSpPr>
            <p:spPr>
              <a:xfrm>
                <a:off x="5354920" y="3751429"/>
                <a:ext cx="30821" cy="27813"/>
              </a:xfrm>
              <a:custGeom>
                <a:avLst/>
                <a:gdLst>
                  <a:gd name="connsiteX0" fmla="*/ 31186 w 30821"/>
                  <a:gd name="connsiteY0" fmla="*/ 14071 h 27813"/>
                  <a:gd name="connsiteX1" fmla="*/ 15775 w 30821"/>
                  <a:gd name="connsiteY1" fmla="*/ 27978 h 27813"/>
                  <a:gd name="connsiteX2" fmla="*/ 365 w 30821"/>
                  <a:gd name="connsiteY2" fmla="*/ 14071 h 27813"/>
                  <a:gd name="connsiteX3" fmla="*/ 15775 w 30821"/>
                  <a:gd name="connsiteY3" fmla="*/ 165 h 27813"/>
                  <a:gd name="connsiteX4" fmla="*/ 31186 w 30821"/>
                  <a:gd name="connsiteY4" fmla="*/ 14071 h 27813"/>
                  <a:gd name="connsiteX5" fmla="*/ 31186 w 30821"/>
                  <a:gd name="connsiteY5" fmla="*/ 1407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86" y="14071"/>
                    </a:moveTo>
                    <a:cubicBezTo>
                      <a:pt x="31186" y="21787"/>
                      <a:pt x="24325" y="27978"/>
                      <a:pt x="15775" y="27978"/>
                    </a:cubicBezTo>
                    <a:cubicBezTo>
                      <a:pt x="7226" y="27978"/>
                      <a:pt x="365" y="21787"/>
                      <a:pt x="365" y="14071"/>
                    </a:cubicBezTo>
                    <a:cubicBezTo>
                      <a:pt x="365" y="6356"/>
                      <a:pt x="7226" y="165"/>
                      <a:pt x="15775" y="165"/>
                    </a:cubicBezTo>
                    <a:cubicBezTo>
                      <a:pt x="24325" y="165"/>
                      <a:pt x="31186" y="6356"/>
                      <a:pt x="31186" y="14071"/>
                    </a:cubicBezTo>
                    <a:lnTo>
                      <a:pt x="31186" y="1407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09" name="Freeform: Shape 108">
                <a:extLst>
                  <a:ext uri="{FF2B5EF4-FFF2-40B4-BE49-F238E27FC236}">
                    <a16:creationId xmlns:a16="http://schemas.microsoft.com/office/drawing/2014/main" id="{518C90EF-06A6-4BB4-7A52-777DD1B2F688}"/>
                  </a:ext>
                </a:extLst>
              </p:cNvPr>
              <p:cNvSpPr/>
              <p:nvPr/>
            </p:nvSpPr>
            <p:spPr>
              <a:xfrm>
                <a:off x="5376031" y="3751429"/>
                <a:ext cx="30821" cy="27813"/>
              </a:xfrm>
              <a:custGeom>
                <a:avLst/>
                <a:gdLst>
                  <a:gd name="connsiteX0" fmla="*/ 31188 w 30821"/>
                  <a:gd name="connsiteY0" fmla="*/ 14071 h 27813"/>
                  <a:gd name="connsiteX1" fmla="*/ 15777 w 30821"/>
                  <a:gd name="connsiteY1" fmla="*/ 27978 h 27813"/>
                  <a:gd name="connsiteX2" fmla="*/ 367 w 30821"/>
                  <a:gd name="connsiteY2" fmla="*/ 14071 h 27813"/>
                  <a:gd name="connsiteX3" fmla="*/ 15777 w 30821"/>
                  <a:gd name="connsiteY3" fmla="*/ 165 h 27813"/>
                  <a:gd name="connsiteX4" fmla="*/ 31188 w 30821"/>
                  <a:gd name="connsiteY4" fmla="*/ 14071 h 27813"/>
                  <a:gd name="connsiteX5" fmla="*/ 31188 w 30821"/>
                  <a:gd name="connsiteY5" fmla="*/ 1407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88" y="14071"/>
                    </a:moveTo>
                    <a:cubicBezTo>
                      <a:pt x="31188" y="21787"/>
                      <a:pt x="24327" y="27978"/>
                      <a:pt x="15777" y="27978"/>
                    </a:cubicBezTo>
                    <a:cubicBezTo>
                      <a:pt x="7228" y="27978"/>
                      <a:pt x="367" y="21787"/>
                      <a:pt x="367" y="14071"/>
                    </a:cubicBezTo>
                    <a:cubicBezTo>
                      <a:pt x="367" y="6356"/>
                      <a:pt x="7228" y="165"/>
                      <a:pt x="15777" y="165"/>
                    </a:cubicBezTo>
                    <a:cubicBezTo>
                      <a:pt x="24327" y="165"/>
                      <a:pt x="31188" y="6356"/>
                      <a:pt x="31188" y="14071"/>
                    </a:cubicBezTo>
                    <a:lnTo>
                      <a:pt x="31188" y="1407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0" name="Freeform: Shape 109">
                <a:extLst>
                  <a:ext uri="{FF2B5EF4-FFF2-40B4-BE49-F238E27FC236}">
                    <a16:creationId xmlns:a16="http://schemas.microsoft.com/office/drawing/2014/main" id="{66712054-8E09-6690-993A-7A038E77FB9D}"/>
                  </a:ext>
                </a:extLst>
              </p:cNvPr>
              <p:cNvSpPr/>
              <p:nvPr/>
            </p:nvSpPr>
            <p:spPr>
              <a:xfrm>
                <a:off x="5407697" y="3751429"/>
                <a:ext cx="30821" cy="27813"/>
              </a:xfrm>
              <a:custGeom>
                <a:avLst/>
                <a:gdLst>
                  <a:gd name="connsiteX0" fmla="*/ 31191 w 30821"/>
                  <a:gd name="connsiteY0" fmla="*/ 14071 h 27813"/>
                  <a:gd name="connsiteX1" fmla="*/ 15780 w 30821"/>
                  <a:gd name="connsiteY1" fmla="*/ 27978 h 27813"/>
                  <a:gd name="connsiteX2" fmla="*/ 370 w 30821"/>
                  <a:gd name="connsiteY2" fmla="*/ 14071 h 27813"/>
                  <a:gd name="connsiteX3" fmla="*/ 15780 w 30821"/>
                  <a:gd name="connsiteY3" fmla="*/ 165 h 27813"/>
                  <a:gd name="connsiteX4" fmla="*/ 31191 w 30821"/>
                  <a:gd name="connsiteY4" fmla="*/ 14071 h 27813"/>
                  <a:gd name="connsiteX5" fmla="*/ 31191 w 30821"/>
                  <a:gd name="connsiteY5" fmla="*/ 1407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91" y="14071"/>
                    </a:moveTo>
                    <a:cubicBezTo>
                      <a:pt x="31191" y="21787"/>
                      <a:pt x="24330" y="27978"/>
                      <a:pt x="15780" y="27978"/>
                    </a:cubicBezTo>
                    <a:cubicBezTo>
                      <a:pt x="7231" y="27978"/>
                      <a:pt x="370" y="21787"/>
                      <a:pt x="370" y="14071"/>
                    </a:cubicBezTo>
                    <a:cubicBezTo>
                      <a:pt x="370" y="6356"/>
                      <a:pt x="7231" y="165"/>
                      <a:pt x="15780" y="165"/>
                    </a:cubicBezTo>
                    <a:cubicBezTo>
                      <a:pt x="24330" y="165"/>
                      <a:pt x="31191" y="6356"/>
                      <a:pt x="31191" y="14071"/>
                    </a:cubicBezTo>
                    <a:lnTo>
                      <a:pt x="31191" y="1407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1" name="Freeform: Shape 110">
                <a:extLst>
                  <a:ext uri="{FF2B5EF4-FFF2-40B4-BE49-F238E27FC236}">
                    <a16:creationId xmlns:a16="http://schemas.microsoft.com/office/drawing/2014/main" id="{E6DAE231-15E6-D887-3072-6AC108AE9044}"/>
                  </a:ext>
                </a:extLst>
              </p:cNvPr>
              <p:cNvSpPr/>
              <p:nvPr/>
            </p:nvSpPr>
            <p:spPr>
              <a:xfrm>
                <a:off x="5439362" y="3751429"/>
                <a:ext cx="30821" cy="27813"/>
              </a:xfrm>
              <a:custGeom>
                <a:avLst/>
                <a:gdLst>
                  <a:gd name="connsiteX0" fmla="*/ 31194 w 30821"/>
                  <a:gd name="connsiteY0" fmla="*/ 14071 h 27813"/>
                  <a:gd name="connsiteX1" fmla="*/ 15783 w 30821"/>
                  <a:gd name="connsiteY1" fmla="*/ 27978 h 27813"/>
                  <a:gd name="connsiteX2" fmla="*/ 373 w 30821"/>
                  <a:gd name="connsiteY2" fmla="*/ 14071 h 27813"/>
                  <a:gd name="connsiteX3" fmla="*/ 15783 w 30821"/>
                  <a:gd name="connsiteY3" fmla="*/ 165 h 27813"/>
                  <a:gd name="connsiteX4" fmla="*/ 31194 w 30821"/>
                  <a:gd name="connsiteY4" fmla="*/ 14071 h 27813"/>
                  <a:gd name="connsiteX5" fmla="*/ 31194 w 30821"/>
                  <a:gd name="connsiteY5" fmla="*/ 1407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94" y="14071"/>
                    </a:moveTo>
                    <a:cubicBezTo>
                      <a:pt x="31194" y="21787"/>
                      <a:pt x="24333" y="27978"/>
                      <a:pt x="15783" y="27978"/>
                    </a:cubicBezTo>
                    <a:cubicBezTo>
                      <a:pt x="7234" y="27978"/>
                      <a:pt x="373" y="21787"/>
                      <a:pt x="373" y="14071"/>
                    </a:cubicBezTo>
                    <a:cubicBezTo>
                      <a:pt x="373" y="6356"/>
                      <a:pt x="7234" y="165"/>
                      <a:pt x="15783" y="165"/>
                    </a:cubicBezTo>
                    <a:cubicBezTo>
                      <a:pt x="24333" y="165"/>
                      <a:pt x="31194" y="6356"/>
                      <a:pt x="31194" y="14071"/>
                    </a:cubicBezTo>
                    <a:lnTo>
                      <a:pt x="31194" y="1407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2" name="Freeform: Shape 111">
                <a:extLst>
                  <a:ext uri="{FF2B5EF4-FFF2-40B4-BE49-F238E27FC236}">
                    <a16:creationId xmlns:a16="http://schemas.microsoft.com/office/drawing/2014/main" id="{B5043AE0-E7B4-B4E8-D617-7AF70F2F1236}"/>
                  </a:ext>
                </a:extLst>
              </p:cNvPr>
              <p:cNvSpPr/>
              <p:nvPr/>
            </p:nvSpPr>
            <p:spPr>
              <a:xfrm>
                <a:off x="5471028" y="3751429"/>
                <a:ext cx="30821" cy="27813"/>
              </a:xfrm>
              <a:custGeom>
                <a:avLst/>
                <a:gdLst>
                  <a:gd name="connsiteX0" fmla="*/ 31197 w 30821"/>
                  <a:gd name="connsiteY0" fmla="*/ 14071 h 27813"/>
                  <a:gd name="connsiteX1" fmla="*/ 15786 w 30821"/>
                  <a:gd name="connsiteY1" fmla="*/ 27978 h 27813"/>
                  <a:gd name="connsiteX2" fmla="*/ 376 w 30821"/>
                  <a:gd name="connsiteY2" fmla="*/ 14071 h 27813"/>
                  <a:gd name="connsiteX3" fmla="*/ 15786 w 30821"/>
                  <a:gd name="connsiteY3" fmla="*/ 165 h 27813"/>
                  <a:gd name="connsiteX4" fmla="*/ 31197 w 30821"/>
                  <a:gd name="connsiteY4" fmla="*/ 14071 h 27813"/>
                  <a:gd name="connsiteX5" fmla="*/ 31197 w 30821"/>
                  <a:gd name="connsiteY5" fmla="*/ 1407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97" y="14071"/>
                    </a:moveTo>
                    <a:cubicBezTo>
                      <a:pt x="31197" y="21787"/>
                      <a:pt x="24336" y="27978"/>
                      <a:pt x="15786" y="27978"/>
                    </a:cubicBezTo>
                    <a:cubicBezTo>
                      <a:pt x="7237" y="27978"/>
                      <a:pt x="376" y="21787"/>
                      <a:pt x="376" y="14071"/>
                    </a:cubicBezTo>
                    <a:cubicBezTo>
                      <a:pt x="376" y="6356"/>
                      <a:pt x="7237" y="165"/>
                      <a:pt x="15786" y="165"/>
                    </a:cubicBezTo>
                    <a:cubicBezTo>
                      <a:pt x="24336" y="165"/>
                      <a:pt x="31197" y="6356"/>
                      <a:pt x="31197" y="14071"/>
                    </a:cubicBezTo>
                    <a:lnTo>
                      <a:pt x="31197" y="1407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3" name="Freeform: Shape 112">
                <a:extLst>
                  <a:ext uri="{FF2B5EF4-FFF2-40B4-BE49-F238E27FC236}">
                    <a16:creationId xmlns:a16="http://schemas.microsoft.com/office/drawing/2014/main" id="{140E2BBB-1A37-10BB-6249-F049F6D13378}"/>
                  </a:ext>
                </a:extLst>
              </p:cNvPr>
              <p:cNvSpPr/>
              <p:nvPr/>
            </p:nvSpPr>
            <p:spPr>
              <a:xfrm>
                <a:off x="5502694" y="3751429"/>
                <a:ext cx="30821" cy="27813"/>
              </a:xfrm>
              <a:custGeom>
                <a:avLst/>
                <a:gdLst>
                  <a:gd name="connsiteX0" fmla="*/ 31200 w 30821"/>
                  <a:gd name="connsiteY0" fmla="*/ 14071 h 27813"/>
                  <a:gd name="connsiteX1" fmla="*/ 15789 w 30821"/>
                  <a:gd name="connsiteY1" fmla="*/ 27978 h 27813"/>
                  <a:gd name="connsiteX2" fmla="*/ 379 w 30821"/>
                  <a:gd name="connsiteY2" fmla="*/ 14071 h 27813"/>
                  <a:gd name="connsiteX3" fmla="*/ 15789 w 30821"/>
                  <a:gd name="connsiteY3" fmla="*/ 165 h 27813"/>
                  <a:gd name="connsiteX4" fmla="*/ 31200 w 30821"/>
                  <a:gd name="connsiteY4" fmla="*/ 14071 h 27813"/>
                  <a:gd name="connsiteX5" fmla="*/ 31200 w 30821"/>
                  <a:gd name="connsiteY5" fmla="*/ 1407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00" y="14071"/>
                    </a:moveTo>
                    <a:cubicBezTo>
                      <a:pt x="31200" y="21787"/>
                      <a:pt x="24339" y="27978"/>
                      <a:pt x="15789" y="27978"/>
                    </a:cubicBezTo>
                    <a:cubicBezTo>
                      <a:pt x="7240" y="27978"/>
                      <a:pt x="379" y="21787"/>
                      <a:pt x="379" y="14071"/>
                    </a:cubicBezTo>
                    <a:cubicBezTo>
                      <a:pt x="379" y="6356"/>
                      <a:pt x="7240" y="165"/>
                      <a:pt x="15789" y="165"/>
                    </a:cubicBezTo>
                    <a:cubicBezTo>
                      <a:pt x="24339" y="165"/>
                      <a:pt x="31200" y="6356"/>
                      <a:pt x="31200" y="14071"/>
                    </a:cubicBezTo>
                    <a:lnTo>
                      <a:pt x="31200" y="1407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4" name="Freeform: Shape 113">
                <a:extLst>
                  <a:ext uri="{FF2B5EF4-FFF2-40B4-BE49-F238E27FC236}">
                    <a16:creationId xmlns:a16="http://schemas.microsoft.com/office/drawing/2014/main" id="{681099CC-538D-09E4-F516-1AA5426B66D6}"/>
                  </a:ext>
                </a:extLst>
              </p:cNvPr>
              <p:cNvSpPr/>
              <p:nvPr/>
            </p:nvSpPr>
            <p:spPr>
              <a:xfrm>
                <a:off x="5534360" y="3751429"/>
                <a:ext cx="30821" cy="27813"/>
              </a:xfrm>
              <a:custGeom>
                <a:avLst/>
                <a:gdLst>
                  <a:gd name="connsiteX0" fmla="*/ 31203 w 30821"/>
                  <a:gd name="connsiteY0" fmla="*/ 14071 h 27813"/>
                  <a:gd name="connsiteX1" fmla="*/ 15792 w 30821"/>
                  <a:gd name="connsiteY1" fmla="*/ 27978 h 27813"/>
                  <a:gd name="connsiteX2" fmla="*/ 382 w 30821"/>
                  <a:gd name="connsiteY2" fmla="*/ 14071 h 27813"/>
                  <a:gd name="connsiteX3" fmla="*/ 15792 w 30821"/>
                  <a:gd name="connsiteY3" fmla="*/ 165 h 27813"/>
                  <a:gd name="connsiteX4" fmla="*/ 31203 w 30821"/>
                  <a:gd name="connsiteY4" fmla="*/ 14071 h 27813"/>
                  <a:gd name="connsiteX5" fmla="*/ 31203 w 30821"/>
                  <a:gd name="connsiteY5" fmla="*/ 1407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03" y="14071"/>
                    </a:moveTo>
                    <a:cubicBezTo>
                      <a:pt x="31203" y="21787"/>
                      <a:pt x="24342" y="27978"/>
                      <a:pt x="15792" y="27978"/>
                    </a:cubicBezTo>
                    <a:cubicBezTo>
                      <a:pt x="7243" y="27978"/>
                      <a:pt x="382" y="21787"/>
                      <a:pt x="382" y="14071"/>
                    </a:cubicBezTo>
                    <a:cubicBezTo>
                      <a:pt x="382" y="6356"/>
                      <a:pt x="7243" y="165"/>
                      <a:pt x="15792" y="165"/>
                    </a:cubicBezTo>
                    <a:cubicBezTo>
                      <a:pt x="24342" y="165"/>
                      <a:pt x="31203" y="6356"/>
                      <a:pt x="31203" y="14071"/>
                    </a:cubicBezTo>
                    <a:lnTo>
                      <a:pt x="31203" y="1407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5" name="Freeform: Shape 114">
                <a:extLst>
                  <a:ext uri="{FF2B5EF4-FFF2-40B4-BE49-F238E27FC236}">
                    <a16:creationId xmlns:a16="http://schemas.microsoft.com/office/drawing/2014/main" id="{CE4E130B-EA2E-B270-9C0E-FE5DFE110911}"/>
                  </a:ext>
                </a:extLst>
              </p:cNvPr>
              <p:cNvSpPr/>
              <p:nvPr/>
            </p:nvSpPr>
            <p:spPr>
              <a:xfrm>
                <a:off x="5566025" y="3751429"/>
                <a:ext cx="30821" cy="27813"/>
              </a:xfrm>
              <a:custGeom>
                <a:avLst/>
                <a:gdLst>
                  <a:gd name="connsiteX0" fmla="*/ 31206 w 30821"/>
                  <a:gd name="connsiteY0" fmla="*/ 14071 h 27813"/>
                  <a:gd name="connsiteX1" fmla="*/ 15795 w 30821"/>
                  <a:gd name="connsiteY1" fmla="*/ 27978 h 27813"/>
                  <a:gd name="connsiteX2" fmla="*/ 385 w 30821"/>
                  <a:gd name="connsiteY2" fmla="*/ 14071 h 27813"/>
                  <a:gd name="connsiteX3" fmla="*/ 15795 w 30821"/>
                  <a:gd name="connsiteY3" fmla="*/ 165 h 27813"/>
                  <a:gd name="connsiteX4" fmla="*/ 31206 w 30821"/>
                  <a:gd name="connsiteY4" fmla="*/ 14071 h 27813"/>
                  <a:gd name="connsiteX5" fmla="*/ 31206 w 30821"/>
                  <a:gd name="connsiteY5" fmla="*/ 1407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06" y="14071"/>
                    </a:moveTo>
                    <a:cubicBezTo>
                      <a:pt x="31206" y="21787"/>
                      <a:pt x="24345" y="27978"/>
                      <a:pt x="15795" y="27978"/>
                    </a:cubicBezTo>
                    <a:cubicBezTo>
                      <a:pt x="7246" y="27978"/>
                      <a:pt x="385" y="21787"/>
                      <a:pt x="385" y="14071"/>
                    </a:cubicBezTo>
                    <a:cubicBezTo>
                      <a:pt x="385" y="6356"/>
                      <a:pt x="7246" y="165"/>
                      <a:pt x="15795" y="165"/>
                    </a:cubicBezTo>
                    <a:cubicBezTo>
                      <a:pt x="24345" y="165"/>
                      <a:pt x="31206" y="6356"/>
                      <a:pt x="31206" y="14071"/>
                    </a:cubicBezTo>
                    <a:lnTo>
                      <a:pt x="31206" y="1407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6" name="Freeform: Shape 115">
                <a:extLst>
                  <a:ext uri="{FF2B5EF4-FFF2-40B4-BE49-F238E27FC236}">
                    <a16:creationId xmlns:a16="http://schemas.microsoft.com/office/drawing/2014/main" id="{BE38B8E5-3535-F15C-BF35-E9836BD90BAE}"/>
                  </a:ext>
                </a:extLst>
              </p:cNvPr>
              <p:cNvSpPr/>
              <p:nvPr/>
            </p:nvSpPr>
            <p:spPr>
              <a:xfrm>
                <a:off x="5639912" y="3751429"/>
                <a:ext cx="30821" cy="27813"/>
              </a:xfrm>
              <a:custGeom>
                <a:avLst/>
                <a:gdLst>
                  <a:gd name="connsiteX0" fmla="*/ 31213 w 30821"/>
                  <a:gd name="connsiteY0" fmla="*/ 14071 h 27813"/>
                  <a:gd name="connsiteX1" fmla="*/ 15802 w 30821"/>
                  <a:gd name="connsiteY1" fmla="*/ 27978 h 27813"/>
                  <a:gd name="connsiteX2" fmla="*/ 392 w 30821"/>
                  <a:gd name="connsiteY2" fmla="*/ 14071 h 27813"/>
                  <a:gd name="connsiteX3" fmla="*/ 15802 w 30821"/>
                  <a:gd name="connsiteY3" fmla="*/ 165 h 27813"/>
                  <a:gd name="connsiteX4" fmla="*/ 31213 w 30821"/>
                  <a:gd name="connsiteY4" fmla="*/ 14071 h 27813"/>
                  <a:gd name="connsiteX5" fmla="*/ 31213 w 30821"/>
                  <a:gd name="connsiteY5" fmla="*/ 1407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13" y="14071"/>
                    </a:moveTo>
                    <a:cubicBezTo>
                      <a:pt x="31213" y="21787"/>
                      <a:pt x="24352" y="27978"/>
                      <a:pt x="15802" y="27978"/>
                    </a:cubicBezTo>
                    <a:cubicBezTo>
                      <a:pt x="7253" y="27978"/>
                      <a:pt x="392" y="21787"/>
                      <a:pt x="392" y="14071"/>
                    </a:cubicBezTo>
                    <a:cubicBezTo>
                      <a:pt x="392" y="6356"/>
                      <a:pt x="7253" y="165"/>
                      <a:pt x="15802" y="165"/>
                    </a:cubicBezTo>
                    <a:cubicBezTo>
                      <a:pt x="24352" y="165"/>
                      <a:pt x="31213" y="6356"/>
                      <a:pt x="31213" y="14071"/>
                    </a:cubicBezTo>
                    <a:lnTo>
                      <a:pt x="31213" y="1407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7" name="Freeform: Shape 116">
                <a:extLst>
                  <a:ext uri="{FF2B5EF4-FFF2-40B4-BE49-F238E27FC236}">
                    <a16:creationId xmlns:a16="http://schemas.microsoft.com/office/drawing/2014/main" id="{74811F9B-3428-E66F-DC53-C184A67216F3}"/>
                  </a:ext>
                </a:extLst>
              </p:cNvPr>
              <p:cNvSpPr/>
              <p:nvPr/>
            </p:nvSpPr>
            <p:spPr>
              <a:xfrm>
                <a:off x="5713799" y="3751429"/>
                <a:ext cx="30821" cy="27813"/>
              </a:xfrm>
              <a:custGeom>
                <a:avLst/>
                <a:gdLst>
                  <a:gd name="connsiteX0" fmla="*/ 31220 w 30821"/>
                  <a:gd name="connsiteY0" fmla="*/ 14071 h 27813"/>
                  <a:gd name="connsiteX1" fmla="*/ 15809 w 30821"/>
                  <a:gd name="connsiteY1" fmla="*/ 27978 h 27813"/>
                  <a:gd name="connsiteX2" fmla="*/ 399 w 30821"/>
                  <a:gd name="connsiteY2" fmla="*/ 14071 h 27813"/>
                  <a:gd name="connsiteX3" fmla="*/ 15809 w 30821"/>
                  <a:gd name="connsiteY3" fmla="*/ 165 h 27813"/>
                  <a:gd name="connsiteX4" fmla="*/ 31220 w 30821"/>
                  <a:gd name="connsiteY4" fmla="*/ 14071 h 27813"/>
                  <a:gd name="connsiteX5" fmla="*/ 31220 w 30821"/>
                  <a:gd name="connsiteY5" fmla="*/ 1407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20" y="14071"/>
                    </a:moveTo>
                    <a:cubicBezTo>
                      <a:pt x="31220" y="21787"/>
                      <a:pt x="24359" y="27978"/>
                      <a:pt x="15809" y="27978"/>
                    </a:cubicBezTo>
                    <a:cubicBezTo>
                      <a:pt x="7260" y="27978"/>
                      <a:pt x="399" y="21787"/>
                      <a:pt x="399" y="14071"/>
                    </a:cubicBezTo>
                    <a:cubicBezTo>
                      <a:pt x="399" y="6356"/>
                      <a:pt x="7260" y="165"/>
                      <a:pt x="15809" y="165"/>
                    </a:cubicBezTo>
                    <a:cubicBezTo>
                      <a:pt x="24359" y="165"/>
                      <a:pt x="31220" y="6356"/>
                      <a:pt x="31220" y="14071"/>
                    </a:cubicBezTo>
                    <a:lnTo>
                      <a:pt x="31220" y="1407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8" name="Freeform: Shape 117">
                <a:extLst>
                  <a:ext uri="{FF2B5EF4-FFF2-40B4-BE49-F238E27FC236}">
                    <a16:creationId xmlns:a16="http://schemas.microsoft.com/office/drawing/2014/main" id="{AFE8AC0E-E929-4D72-D168-18EB0CED99EA}"/>
                  </a:ext>
                </a:extLst>
              </p:cNvPr>
              <p:cNvSpPr/>
              <p:nvPr/>
            </p:nvSpPr>
            <p:spPr>
              <a:xfrm>
                <a:off x="5787686" y="3751429"/>
                <a:ext cx="30821" cy="27813"/>
              </a:xfrm>
              <a:custGeom>
                <a:avLst/>
                <a:gdLst>
                  <a:gd name="connsiteX0" fmla="*/ 31227 w 30821"/>
                  <a:gd name="connsiteY0" fmla="*/ 14071 h 27813"/>
                  <a:gd name="connsiteX1" fmla="*/ 15816 w 30821"/>
                  <a:gd name="connsiteY1" fmla="*/ 27978 h 27813"/>
                  <a:gd name="connsiteX2" fmla="*/ 406 w 30821"/>
                  <a:gd name="connsiteY2" fmla="*/ 14071 h 27813"/>
                  <a:gd name="connsiteX3" fmla="*/ 15816 w 30821"/>
                  <a:gd name="connsiteY3" fmla="*/ 165 h 27813"/>
                  <a:gd name="connsiteX4" fmla="*/ 31227 w 30821"/>
                  <a:gd name="connsiteY4" fmla="*/ 14071 h 27813"/>
                  <a:gd name="connsiteX5" fmla="*/ 31227 w 30821"/>
                  <a:gd name="connsiteY5" fmla="*/ 1407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27" y="14071"/>
                    </a:moveTo>
                    <a:cubicBezTo>
                      <a:pt x="31227" y="21787"/>
                      <a:pt x="24366" y="27978"/>
                      <a:pt x="15816" y="27978"/>
                    </a:cubicBezTo>
                    <a:cubicBezTo>
                      <a:pt x="7267" y="27978"/>
                      <a:pt x="406" y="21787"/>
                      <a:pt x="406" y="14071"/>
                    </a:cubicBezTo>
                    <a:cubicBezTo>
                      <a:pt x="406" y="6356"/>
                      <a:pt x="7267" y="165"/>
                      <a:pt x="15816" y="165"/>
                    </a:cubicBezTo>
                    <a:cubicBezTo>
                      <a:pt x="24366" y="165"/>
                      <a:pt x="31227" y="6356"/>
                      <a:pt x="31227" y="14071"/>
                    </a:cubicBezTo>
                    <a:lnTo>
                      <a:pt x="31227" y="1407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9" name="Freeform: Shape 118">
                <a:extLst>
                  <a:ext uri="{FF2B5EF4-FFF2-40B4-BE49-F238E27FC236}">
                    <a16:creationId xmlns:a16="http://schemas.microsoft.com/office/drawing/2014/main" id="{8F95F237-C34C-B489-098E-74C07EA8B22F}"/>
                  </a:ext>
                </a:extLst>
              </p:cNvPr>
              <p:cNvSpPr/>
              <p:nvPr/>
            </p:nvSpPr>
            <p:spPr>
              <a:xfrm>
                <a:off x="5252956" y="3660751"/>
                <a:ext cx="30821" cy="27813"/>
              </a:xfrm>
              <a:custGeom>
                <a:avLst/>
                <a:gdLst>
                  <a:gd name="connsiteX0" fmla="*/ 31176 w 30821"/>
                  <a:gd name="connsiteY0" fmla="*/ 14062 h 27813"/>
                  <a:gd name="connsiteX1" fmla="*/ 15766 w 30821"/>
                  <a:gd name="connsiteY1" fmla="*/ 27968 h 27813"/>
                  <a:gd name="connsiteX2" fmla="*/ 355 w 30821"/>
                  <a:gd name="connsiteY2" fmla="*/ 14062 h 27813"/>
                  <a:gd name="connsiteX3" fmla="*/ 15766 w 30821"/>
                  <a:gd name="connsiteY3" fmla="*/ 155 h 27813"/>
                  <a:gd name="connsiteX4" fmla="*/ 31176 w 30821"/>
                  <a:gd name="connsiteY4" fmla="*/ 14062 h 27813"/>
                  <a:gd name="connsiteX5" fmla="*/ 31176 w 30821"/>
                  <a:gd name="connsiteY5" fmla="*/ 1406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76" y="14062"/>
                    </a:moveTo>
                    <a:cubicBezTo>
                      <a:pt x="31176" y="21777"/>
                      <a:pt x="24315" y="27968"/>
                      <a:pt x="15766" y="27968"/>
                    </a:cubicBezTo>
                    <a:cubicBezTo>
                      <a:pt x="7216" y="27968"/>
                      <a:pt x="355" y="21777"/>
                      <a:pt x="355" y="14062"/>
                    </a:cubicBezTo>
                    <a:cubicBezTo>
                      <a:pt x="355" y="6346"/>
                      <a:pt x="7216" y="155"/>
                      <a:pt x="15766" y="155"/>
                    </a:cubicBezTo>
                    <a:cubicBezTo>
                      <a:pt x="24315" y="155"/>
                      <a:pt x="31176" y="6346"/>
                      <a:pt x="31176" y="14062"/>
                    </a:cubicBezTo>
                    <a:lnTo>
                      <a:pt x="31176" y="14062"/>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0" name="Freeform: Shape 119">
                <a:extLst>
                  <a:ext uri="{FF2B5EF4-FFF2-40B4-BE49-F238E27FC236}">
                    <a16:creationId xmlns:a16="http://schemas.microsoft.com/office/drawing/2014/main" id="{8BFFFE9C-1E32-10FE-FB98-F08CD8EDBA7E}"/>
                  </a:ext>
                </a:extLst>
              </p:cNvPr>
              <p:cNvSpPr/>
              <p:nvPr/>
            </p:nvSpPr>
            <p:spPr>
              <a:xfrm>
                <a:off x="4388481" y="3455868"/>
                <a:ext cx="30821" cy="27813"/>
              </a:xfrm>
              <a:custGeom>
                <a:avLst/>
                <a:gdLst>
                  <a:gd name="connsiteX0" fmla="*/ 31094 w 30821"/>
                  <a:gd name="connsiteY0" fmla="*/ 14040 h 27813"/>
                  <a:gd name="connsiteX1" fmla="*/ 15684 w 30821"/>
                  <a:gd name="connsiteY1" fmla="*/ 27947 h 27813"/>
                  <a:gd name="connsiteX2" fmla="*/ 273 w 30821"/>
                  <a:gd name="connsiteY2" fmla="*/ 14040 h 27813"/>
                  <a:gd name="connsiteX3" fmla="*/ 15684 w 30821"/>
                  <a:gd name="connsiteY3" fmla="*/ 134 h 27813"/>
                  <a:gd name="connsiteX4" fmla="*/ 31094 w 30821"/>
                  <a:gd name="connsiteY4" fmla="*/ 14040 h 27813"/>
                  <a:gd name="connsiteX5" fmla="*/ 31094 w 30821"/>
                  <a:gd name="connsiteY5" fmla="*/ 1404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94" y="14040"/>
                    </a:moveTo>
                    <a:cubicBezTo>
                      <a:pt x="31094" y="21755"/>
                      <a:pt x="24234" y="27947"/>
                      <a:pt x="15684" y="27947"/>
                    </a:cubicBezTo>
                    <a:cubicBezTo>
                      <a:pt x="7134" y="27947"/>
                      <a:pt x="273" y="21755"/>
                      <a:pt x="273" y="14040"/>
                    </a:cubicBezTo>
                    <a:cubicBezTo>
                      <a:pt x="273" y="6325"/>
                      <a:pt x="7134" y="134"/>
                      <a:pt x="15684" y="134"/>
                    </a:cubicBezTo>
                    <a:cubicBezTo>
                      <a:pt x="24234" y="134"/>
                      <a:pt x="31094" y="6325"/>
                      <a:pt x="31094" y="14040"/>
                    </a:cubicBezTo>
                    <a:lnTo>
                      <a:pt x="31094" y="14040"/>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grpSp>
        <p:sp>
          <p:nvSpPr>
            <p:cNvPr id="24" name="Freeform: Shape 23">
              <a:extLst>
                <a:ext uri="{FF2B5EF4-FFF2-40B4-BE49-F238E27FC236}">
                  <a16:creationId xmlns:a16="http://schemas.microsoft.com/office/drawing/2014/main" id="{915A479E-3711-974F-EE2A-C2E9E98B3833}"/>
                </a:ext>
              </a:extLst>
            </p:cNvPr>
            <p:cNvSpPr/>
            <p:nvPr/>
          </p:nvSpPr>
          <p:spPr>
            <a:xfrm>
              <a:off x="1565709" y="2196758"/>
              <a:ext cx="4055752" cy="1630203"/>
            </a:xfrm>
            <a:custGeom>
              <a:avLst/>
              <a:gdLst>
                <a:gd name="connsiteX0" fmla="*/ 4055753 w 4055752"/>
                <a:gd name="connsiteY0" fmla="*/ 1630204 h 1630203"/>
                <a:gd name="connsiteX1" fmla="*/ 3917373 w 4055752"/>
                <a:gd name="connsiteY1" fmla="*/ 1630204 h 1630203"/>
                <a:gd name="connsiteX2" fmla="*/ 3613804 w 4055752"/>
                <a:gd name="connsiteY2" fmla="*/ 1630204 h 1630203"/>
                <a:gd name="connsiteX3" fmla="*/ 3506879 w 4055752"/>
                <a:gd name="connsiteY3" fmla="*/ 1630204 h 1630203"/>
                <a:gd name="connsiteX4" fmla="*/ 3455264 w 4055752"/>
                <a:gd name="connsiteY4" fmla="*/ 1630204 h 1630203"/>
                <a:gd name="connsiteX5" fmla="*/ 3455264 w 4055752"/>
                <a:gd name="connsiteY5" fmla="*/ 1619631 h 1630203"/>
                <a:gd name="connsiteX6" fmla="*/ 3366706 w 4055752"/>
                <a:gd name="connsiteY6" fmla="*/ 1619631 h 1630203"/>
                <a:gd name="connsiteX7" fmla="*/ 3366706 w 4055752"/>
                <a:gd name="connsiteY7" fmla="*/ 1614773 h 1630203"/>
                <a:gd name="connsiteX8" fmla="*/ 3365650 w 4055752"/>
                <a:gd name="connsiteY8" fmla="*/ 1606772 h 1630203"/>
                <a:gd name="connsiteX9" fmla="*/ 3365650 w 4055752"/>
                <a:gd name="connsiteY9" fmla="*/ 1593152 h 1630203"/>
                <a:gd name="connsiteX10" fmla="*/ 3323957 w 4055752"/>
                <a:gd name="connsiteY10" fmla="*/ 1593152 h 1630203"/>
                <a:gd name="connsiteX11" fmla="*/ 3323851 w 4055752"/>
                <a:gd name="connsiteY11" fmla="*/ 1582388 h 1630203"/>
                <a:gd name="connsiteX12" fmla="*/ 3234659 w 4055752"/>
                <a:gd name="connsiteY12" fmla="*/ 1582388 h 1630203"/>
                <a:gd name="connsiteX13" fmla="*/ 3234870 w 4055752"/>
                <a:gd name="connsiteY13" fmla="*/ 1579436 h 1630203"/>
                <a:gd name="connsiteX14" fmla="*/ 3145679 w 4055752"/>
                <a:gd name="connsiteY14" fmla="*/ 1579436 h 1630203"/>
                <a:gd name="connsiteX15" fmla="*/ 3089419 w 4055752"/>
                <a:gd name="connsiteY15" fmla="*/ 1579436 h 1630203"/>
                <a:gd name="connsiteX16" fmla="*/ 3089419 w 4055752"/>
                <a:gd name="connsiteY16" fmla="*/ 1560386 h 1630203"/>
                <a:gd name="connsiteX17" fmla="*/ 3037804 w 4055752"/>
                <a:gd name="connsiteY17" fmla="*/ 1560386 h 1630203"/>
                <a:gd name="connsiteX18" fmla="*/ 3038437 w 4055752"/>
                <a:gd name="connsiteY18" fmla="*/ 1546765 h 1630203"/>
                <a:gd name="connsiteX19" fmla="*/ 2991572 w 4055752"/>
                <a:gd name="connsiteY19" fmla="*/ 1546765 h 1630203"/>
                <a:gd name="connsiteX20" fmla="*/ 2991572 w 4055752"/>
                <a:gd name="connsiteY20" fmla="*/ 1528477 h 1630203"/>
                <a:gd name="connsiteX21" fmla="*/ 2941645 w 4055752"/>
                <a:gd name="connsiteY21" fmla="*/ 1527524 h 1630203"/>
                <a:gd name="connsiteX22" fmla="*/ 2891086 w 4055752"/>
                <a:gd name="connsiteY22" fmla="*/ 1527524 h 1630203"/>
                <a:gd name="connsiteX23" fmla="*/ 2891086 w 4055752"/>
                <a:gd name="connsiteY23" fmla="*/ 1513808 h 1630203"/>
                <a:gd name="connsiteX24" fmla="*/ 2857203 w 4055752"/>
                <a:gd name="connsiteY24" fmla="*/ 1513808 h 1630203"/>
                <a:gd name="connsiteX25" fmla="*/ 2857203 w 4055752"/>
                <a:gd name="connsiteY25" fmla="*/ 1496854 h 1630203"/>
                <a:gd name="connsiteX26" fmla="*/ 2812660 w 4055752"/>
                <a:gd name="connsiteY26" fmla="*/ 1496854 h 1630203"/>
                <a:gd name="connsiteX27" fmla="*/ 2811499 w 4055752"/>
                <a:gd name="connsiteY27" fmla="*/ 1481423 h 1630203"/>
                <a:gd name="connsiteX28" fmla="*/ 2791022 w 4055752"/>
                <a:gd name="connsiteY28" fmla="*/ 1481423 h 1630203"/>
                <a:gd name="connsiteX29" fmla="*/ 2791022 w 4055752"/>
                <a:gd name="connsiteY29" fmla="*/ 1466850 h 1630203"/>
                <a:gd name="connsiteX30" fmla="*/ 2755451 w 4055752"/>
                <a:gd name="connsiteY30" fmla="*/ 1466755 h 1630203"/>
                <a:gd name="connsiteX31" fmla="*/ 2689586 w 4055752"/>
                <a:gd name="connsiteY31" fmla="*/ 1468088 h 1630203"/>
                <a:gd name="connsiteX32" fmla="*/ 2688319 w 4055752"/>
                <a:gd name="connsiteY32" fmla="*/ 1460849 h 1630203"/>
                <a:gd name="connsiteX33" fmla="*/ 2624988 w 4055752"/>
                <a:gd name="connsiteY33" fmla="*/ 1460849 h 1630203"/>
                <a:gd name="connsiteX34" fmla="*/ 2624988 w 4055752"/>
                <a:gd name="connsiteY34" fmla="*/ 1451420 h 1630203"/>
                <a:gd name="connsiteX35" fmla="*/ 2569361 w 4055752"/>
                <a:gd name="connsiteY35" fmla="*/ 1451420 h 1630203"/>
                <a:gd name="connsiteX36" fmla="*/ 2569361 w 4055752"/>
                <a:gd name="connsiteY36" fmla="*/ 1431227 h 1630203"/>
                <a:gd name="connsiteX37" fmla="*/ 2517113 w 4055752"/>
                <a:gd name="connsiteY37" fmla="*/ 1431227 h 1630203"/>
                <a:gd name="connsiteX38" fmla="*/ 2517113 w 4055752"/>
                <a:gd name="connsiteY38" fmla="*/ 1416463 h 1630203"/>
                <a:gd name="connsiteX39" fmla="*/ 2460748 w 4055752"/>
                <a:gd name="connsiteY39" fmla="*/ 1416463 h 1630203"/>
                <a:gd name="connsiteX40" fmla="*/ 2460748 w 4055752"/>
                <a:gd name="connsiteY40" fmla="*/ 1397413 h 1630203"/>
                <a:gd name="connsiteX41" fmla="*/ 2399738 w 4055752"/>
                <a:gd name="connsiteY41" fmla="*/ 1397413 h 1630203"/>
                <a:gd name="connsiteX42" fmla="*/ 2399738 w 4055752"/>
                <a:gd name="connsiteY42" fmla="*/ 1374077 h 1630203"/>
                <a:gd name="connsiteX43" fmla="*/ 2371661 w 4055752"/>
                <a:gd name="connsiteY43" fmla="*/ 1374077 h 1630203"/>
                <a:gd name="connsiteX44" fmla="*/ 2371661 w 4055752"/>
                <a:gd name="connsiteY44" fmla="*/ 1359313 h 1630203"/>
                <a:gd name="connsiteX45" fmla="*/ 2334084 w 4055752"/>
                <a:gd name="connsiteY45" fmla="*/ 1359313 h 1630203"/>
                <a:gd name="connsiteX46" fmla="*/ 2334084 w 4055752"/>
                <a:gd name="connsiteY46" fmla="*/ 1344454 h 1630203"/>
                <a:gd name="connsiteX47" fmla="*/ 2308330 w 4055752"/>
                <a:gd name="connsiteY47" fmla="*/ 1344454 h 1630203"/>
                <a:gd name="connsiteX48" fmla="*/ 2308330 w 4055752"/>
                <a:gd name="connsiteY48" fmla="*/ 1327499 h 1630203"/>
                <a:gd name="connsiteX49" fmla="*/ 2254392 w 4055752"/>
                <a:gd name="connsiteY49" fmla="*/ 1327499 h 1630203"/>
                <a:gd name="connsiteX50" fmla="*/ 2200455 w 4055752"/>
                <a:gd name="connsiteY50" fmla="*/ 1327499 h 1630203"/>
                <a:gd name="connsiteX51" fmla="*/ 2200455 w 4055752"/>
                <a:gd name="connsiteY51" fmla="*/ 1309116 h 1630203"/>
                <a:gd name="connsiteX52" fmla="*/ 2144512 w 4055752"/>
                <a:gd name="connsiteY52" fmla="*/ 1309116 h 1630203"/>
                <a:gd name="connsiteX53" fmla="*/ 2144512 w 4055752"/>
                <a:gd name="connsiteY53" fmla="*/ 1293686 h 1630203"/>
                <a:gd name="connsiteX54" fmla="*/ 2090152 w 4055752"/>
                <a:gd name="connsiteY54" fmla="*/ 1293686 h 1630203"/>
                <a:gd name="connsiteX55" fmla="*/ 2090152 w 4055752"/>
                <a:gd name="connsiteY55" fmla="*/ 1277779 h 1630203"/>
                <a:gd name="connsiteX56" fmla="*/ 2047931 w 4055752"/>
                <a:gd name="connsiteY56" fmla="*/ 1277779 h 1630203"/>
                <a:gd name="connsiteX57" fmla="*/ 2047931 w 4055752"/>
                <a:gd name="connsiteY57" fmla="*/ 1257681 h 1630203"/>
                <a:gd name="connsiteX58" fmla="*/ 2024499 w 4055752"/>
                <a:gd name="connsiteY58" fmla="*/ 1257681 h 1630203"/>
                <a:gd name="connsiteX59" fmla="*/ 2024499 w 4055752"/>
                <a:gd name="connsiteY59" fmla="*/ 1234440 h 1630203"/>
                <a:gd name="connsiteX60" fmla="*/ 1991672 w 4055752"/>
                <a:gd name="connsiteY60" fmla="*/ 1234440 h 1630203"/>
                <a:gd name="connsiteX61" fmla="*/ 1991672 w 4055752"/>
                <a:gd name="connsiteY61" fmla="*/ 1213199 h 1630203"/>
                <a:gd name="connsiteX62" fmla="*/ 1937735 w 4055752"/>
                <a:gd name="connsiteY62" fmla="*/ 1213199 h 1630203"/>
                <a:gd name="connsiteX63" fmla="*/ 1937735 w 4055752"/>
                <a:gd name="connsiteY63" fmla="*/ 1198436 h 1630203"/>
                <a:gd name="connsiteX64" fmla="*/ 1881369 w 4055752"/>
                <a:gd name="connsiteY64" fmla="*/ 1198436 h 1630203"/>
                <a:gd name="connsiteX65" fmla="*/ 1881369 w 4055752"/>
                <a:gd name="connsiteY65" fmla="*/ 1158240 h 1630203"/>
                <a:gd name="connsiteX66" fmla="*/ 1848543 w 4055752"/>
                <a:gd name="connsiteY66" fmla="*/ 1158240 h 1630203"/>
                <a:gd name="connsiteX67" fmla="*/ 1848543 w 4055752"/>
                <a:gd name="connsiteY67" fmla="*/ 1136999 h 1630203"/>
                <a:gd name="connsiteX68" fmla="*/ 1813394 w 4055752"/>
                <a:gd name="connsiteY68" fmla="*/ 1136999 h 1630203"/>
                <a:gd name="connsiteX69" fmla="*/ 1813394 w 4055752"/>
                <a:gd name="connsiteY69" fmla="*/ 1115854 h 1630203"/>
                <a:gd name="connsiteX70" fmla="*/ 1773495 w 4055752"/>
                <a:gd name="connsiteY70" fmla="*/ 1115854 h 1630203"/>
                <a:gd name="connsiteX71" fmla="*/ 1773495 w 4055752"/>
                <a:gd name="connsiteY71" fmla="*/ 1090708 h 1630203"/>
                <a:gd name="connsiteX72" fmla="*/ 1731274 w 4055752"/>
                <a:gd name="connsiteY72" fmla="*/ 1090708 h 1630203"/>
                <a:gd name="connsiteX73" fmla="*/ 1731274 w 4055752"/>
                <a:gd name="connsiteY73" fmla="*/ 1071467 h 1630203"/>
                <a:gd name="connsiteX74" fmla="*/ 1667942 w 4055752"/>
                <a:gd name="connsiteY74" fmla="*/ 1071467 h 1630203"/>
                <a:gd name="connsiteX75" fmla="*/ 1667942 w 4055752"/>
                <a:gd name="connsiteY75" fmla="*/ 1035463 h 1630203"/>
                <a:gd name="connsiteX76" fmla="*/ 1628043 w 4055752"/>
                <a:gd name="connsiteY76" fmla="*/ 1035463 h 1630203"/>
                <a:gd name="connsiteX77" fmla="*/ 1628043 w 4055752"/>
                <a:gd name="connsiteY77" fmla="*/ 1016413 h 1630203"/>
                <a:gd name="connsiteX78" fmla="*/ 1576428 w 4055752"/>
                <a:gd name="connsiteY78" fmla="*/ 1016413 h 1630203"/>
                <a:gd name="connsiteX79" fmla="*/ 1576428 w 4055752"/>
                <a:gd name="connsiteY79" fmla="*/ 995267 h 1630203"/>
                <a:gd name="connsiteX80" fmla="*/ 1541279 w 4055752"/>
                <a:gd name="connsiteY80" fmla="*/ 995267 h 1630203"/>
                <a:gd name="connsiteX81" fmla="*/ 1541279 w 4055752"/>
                <a:gd name="connsiteY81" fmla="*/ 967740 h 1630203"/>
                <a:gd name="connsiteX82" fmla="*/ 1499058 w 4055752"/>
                <a:gd name="connsiteY82" fmla="*/ 967740 h 1630203"/>
                <a:gd name="connsiteX83" fmla="*/ 1499058 w 4055752"/>
                <a:gd name="connsiteY83" fmla="*/ 954977 h 1630203"/>
                <a:gd name="connsiteX84" fmla="*/ 1475625 w 4055752"/>
                <a:gd name="connsiteY84" fmla="*/ 954977 h 1630203"/>
                <a:gd name="connsiteX85" fmla="*/ 1475625 w 4055752"/>
                <a:gd name="connsiteY85" fmla="*/ 933831 h 1630203"/>
                <a:gd name="connsiteX86" fmla="*/ 1438048 w 4055752"/>
                <a:gd name="connsiteY86" fmla="*/ 933831 h 1630203"/>
                <a:gd name="connsiteX87" fmla="*/ 1438048 w 4055752"/>
                <a:gd name="connsiteY87" fmla="*/ 914781 h 1630203"/>
                <a:gd name="connsiteX88" fmla="*/ 1398255 w 4055752"/>
                <a:gd name="connsiteY88" fmla="*/ 914781 h 1630203"/>
                <a:gd name="connsiteX89" fmla="*/ 1398255 w 4055752"/>
                <a:gd name="connsiteY89" fmla="*/ 897827 h 1630203"/>
                <a:gd name="connsiteX90" fmla="*/ 1381789 w 4055752"/>
                <a:gd name="connsiteY90" fmla="*/ 897827 h 1630203"/>
                <a:gd name="connsiteX91" fmla="*/ 1381789 w 4055752"/>
                <a:gd name="connsiteY91" fmla="*/ 872300 h 1630203"/>
                <a:gd name="connsiteX92" fmla="*/ 1356034 w 4055752"/>
                <a:gd name="connsiteY92" fmla="*/ 872300 h 1630203"/>
                <a:gd name="connsiteX93" fmla="*/ 1356034 w 4055752"/>
                <a:gd name="connsiteY93" fmla="*/ 855536 h 1630203"/>
                <a:gd name="connsiteX94" fmla="*/ 1327852 w 4055752"/>
                <a:gd name="connsiteY94" fmla="*/ 855536 h 1630203"/>
                <a:gd name="connsiteX95" fmla="*/ 1327852 w 4055752"/>
                <a:gd name="connsiteY95" fmla="*/ 828008 h 1630203"/>
                <a:gd name="connsiteX96" fmla="*/ 1311385 w 4055752"/>
                <a:gd name="connsiteY96" fmla="*/ 828008 h 1630203"/>
                <a:gd name="connsiteX97" fmla="*/ 1311385 w 4055752"/>
                <a:gd name="connsiteY97" fmla="*/ 806863 h 1630203"/>
                <a:gd name="connsiteX98" fmla="*/ 1290275 w 4055752"/>
                <a:gd name="connsiteY98" fmla="*/ 806863 h 1630203"/>
                <a:gd name="connsiteX99" fmla="*/ 1290275 w 4055752"/>
                <a:gd name="connsiteY99" fmla="*/ 781431 h 1630203"/>
                <a:gd name="connsiteX100" fmla="*/ 1262198 w 4055752"/>
                <a:gd name="connsiteY100" fmla="*/ 781431 h 1630203"/>
                <a:gd name="connsiteX101" fmla="*/ 1262198 w 4055752"/>
                <a:gd name="connsiteY101" fmla="*/ 764477 h 1630203"/>
                <a:gd name="connsiteX102" fmla="*/ 1243410 w 4055752"/>
                <a:gd name="connsiteY102" fmla="*/ 764477 h 1630203"/>
                <a:gd name="connsiteX103" fmla="*/ 1243410 w 4055752"/>
                <a:gd name="connsiteY103" fmla="*/ 749713 h 1630203"/>
                <a:gd name="connsiteX104" fmla="*/ 1217549 w 4055752"/>
                <a:gd name="connsiteY104" fmla="*/ 749713 h 1630203"/>
                <a:gd name="connsiteX105" fmla="*/ 1217549 w 4055752"/>
                <a:gd name="connsiteY105" fmla="*/ 732758 h 1630203"/>
                <a:gd name="connsiteX106" fmla="*/ 1198866 w 4055752"/>
                <a:gd name="connsiteY106" fmla="*/ 732758 h 1630203"/>
                <a:gd name="connsiteX107" fmla="*/ 1198866 w 4055752"/>
                <a:gd name="connsiteY107" fmla="*/ 715804 h 1630203"/>
                <a:gd name="connsiteX108" fmla="*/ 1175328 w 4055752"/>
                <a:gd name="connsiteY108" fmla="*/ 715804 h 1630203"/>
                <a:gd name="connsiteX109" fmla="*/ 1175328 w 4055752"/>
                <a:gd name="connsiteY109" fmla="*/ 698849 h 1630203"/>
                <a:gd name="connsiteX110" fmla="*/ 1151895 w 4055752"/>
                <a:gd name="connsiteY110" fmla="*/ 698849 h 1630203"/>
                <a:gd name="connsiteX111" fmla="*/ 1151895 w 4055752"/>
                <a:gd name="connsiteY111" fmla="*/ 667131 h 1630203"/>
                <a:gd name="connsiteX112" fmla="*/ 1121391 w 4055752"/>
                <a:gd name="connsiteY112" fmla="*/ 667131 h 1630203"/>
                <a:gd name="connsiteX113" fmla="*/ 1121391 w 4055752"/>
                <a:gd name="connsiteY113" fmla="*/ 653891 h 1630203"/>
                <a:gd name="connsiteX114" fmla="*/ 1090886 w 4055752"/>
                <a:gd name="connsiteY114" fmla="*/ 653891 h 1630203"/>
                <a:gd name="connsiteX115" fmla="*/ 1090886 w 4055752"/>
                <a:gd name="connsiteY115" fmla="*/ 641699 h 1630203"/>
                <a:gd name="connsiteX116" fmla="*/ 1067453 w 4055752"/>
                <a:gd name="connsiteY116" fmla="*/ 641699 h 1630203"/>
                <a:gd name="connsiteX117" fmla="*/ 1067453 w 4055752"/>
                <a:gd name="connsiteY117" fmla="*/ 609981 h 1630203"/>
                <a:gd name="connsiteX118" fmla="*/ 1041699 w 4055752"/>
                <a:gd name="connsiteY118" fmla="*/ 609981 h 1630203"/>
                <a:gd name="connsiteX119" fmla="*/ 1041699 w 4055752"/>
                <a:gd name="connsiteY119" fmla="*/ 573977 h 1630203"/>
                <a:gd name="connsiteX120" fmla="*/ 1015838 w 4055752"/>
                <a:gd name="connsiteY120" fmla="*/ 573977 h 1630203"/>
                <a:gd name="connsiteX121" fmla="*/ 1015838 w 4055752"/>
                <a:gd name="connsiteY121" fmla="*/ 554927 h 1630203"/>
                <a:gd name="connsiteX122" fmla="*/ 978367 w 4055752"/>
                <a:gd name="connsiteY122" fmla="*/ 554927 h 1630203"/>
                <a:gd name="connsiteX123" fmla="*/ 978367 w 4055752"/>
                <a:gd name="connsiteY123" fmla="*/ 538067 h 1630203"/>
                <a:gd name="connsiteX124" fmla="*/ 952507 w 4055752"/>
                <a:gd name="connsiteY124" fmla="*/ 538067 h 1630203"/>
                <a:gd name="connsiteX125" fmla="*/ 952507 w 4055752"/>
                <a:gd name="connsiteY125" fmla="*/ 523208 h 1630203"/>
                <a:gd name="connsiteX126" fmla="*/ 931396 w 4055752"/>
                <a:gd name="connsiteY126" fmla="*/ 523208 h 1630203"/>
                <a:gd name="connsiteX127" fmla="*/ 931396 w 4055752"/>
                <a:gd name="connsiteY127" fmla="*/ 497777 h 1630203"/>
                <a:gd name="connsiteX128" fmla="*/ 863420 w 4055752"/>
                <a:gd name="connsiteY128" fmla="*/ 497777 h 1630203"/>
                <a:gd name="connsiteX129" fmla="*/ 863420 w 4055752"/>
                <a:gd name="connsiteY129" fmla="*/ 472440 h 1630203"/>
                <a:gd name="connsiteX130" fmla="*/ 844632 w 4055752"/>
                <a:gd name="connsiteY130" fmla="*/ 472440 h 1630203"/>
                <a:gd name="connsiteX131" fmla="*/ 844632 w 4055752"/>
                <a:gd name="connsiteY131" fmla="*/ 451199 h 1630203"/>
                <a:gd name="connsiteX132" fmla="*/ 814127 w 4055752"/>
                <a:gd name="connsiteY132" fmla="*/ 451199 h 1630203"/>
                <a:gd name="connsiteX133" fmla="*/ 814127 w 4055752"/>
                <a:gd name="connsiteY133" fmla="*/ 435483 h 1630203"/>
                <a:gd name="connsiteX134" fmla="*/ 771906 w 4055752"/>
                <a:gd name="connsiteY134" fmla="*/ 435483 h 1630203"/>
                <a:gd name="connsiteX135" fmla="*/ 771906 w 4055752"/>
                <a:gd name="connsiteY135" fmla="*/ 421577 h 1630203"/>
                <a:gd name="connsiteX136" fmla="*/ 725041 w 4055752"/>
                <a:gd name="connsiteY136" fmla="*/ 421577 h 1630203"/>
                <a:gd name="connsiteX137" fmla="*/ 725041 w 4055752"/>
                <a:gd name="connsiteY137" fmla="*/ 404717 h 1630203"/>
                <a:gd name="connsiteX138" fmla="*/ 682820 w 4055752"/>
                <a:gd name="connsiteY138" fmla="*/ 404717 h 1630203"/>
                <a:gd name="connsiteX139" fmla="*/ 682820 w 4055752"/>
                <a:gd name="connsiteY139" fmla="*/ 381381 h 1630203"/>
                <a:gd name="connsiteX140" fmla="*/ 659387 w 4055752"/>
                <a:gd name="connsiteY140" fmla="*/ 381381 h 1630203"/>
                <a:gd name="connsiteX141" fmla="*/ 659387 w 4055752"/>
                <a:gd name="connsiteY141" fmla="*/ 351758 h 1630203"/>
                <a:gd name="connsiteX142" fmla="*/ 624133 w 4055752"/>
                <a:gd name="connsiteY142" fmla="*/ 351758 h 1630203"/>
                <a:gd name="connsiteX143" fmla="*/ 624133 w 4055752"/>
                <a:gd name="connsiteY143" fmla="*/ 334804 h 1630203"/>
                <a:gd name="connsiteX144" fmla="*/ 591306 w 4055752"/>
                <a:gd name="connsiteY144" fmla="*/ 334804 h 1630203"/>
                <a:gd name="connsiteX145" fmla="*/ 591306 w 4055752"/>
                <a:gd name="connsiteY145" fmla="*/ 307277 h 1630203"/>
                <a:gd name="connsiteX146" fmla="*/ 565551 w 4055752"/>
                <a:gd name="connsiteY146" fmla="*/ 307277 h 1630203"/>
                <a:gd name="connsiteX147" fmla="*/ 565551 w 4055752"/>
                <a:gd name="connsiteY147" fmla="*/ 284036 h 1630203"/>
                <a:gd name="connsiteX148" fmla="*/ 542013 w 4055752"/>
                <a:gd name="connsiteY148" fmla="*/ 284036 h 1630203"/>
                <a:gd name="connsiteX149" fmla="*/ 542013 w 4055752"/>
                <a:gd name="connsiteY149" fmla="*/ 239554 h 1630203"/>
                <a:gd name="connsiteX150" fmla="*/ 506864 w 4055752"/>
                <a:gd name="connsiteY150" fmla="*/ 239554 h 1630203"/>
                <a:gd name="connsiteX151" fmla="*/ 506864 w 4055752"/>
                <a:gd name="connsiteY151" fmla="*/ 217075 h 1630203"/>
                <a:gd name="connsiteX152" fmla="*/ 427171 w 4055752"/>
                <a:gd name="connsiteY152" fmla="*/ 217075 h 1630203"/>
                <a:gd name="connsiteX153" fmla="*/ 427171 w 4055752"/>
                <a:gd name="connsiteY153" fmla="*/ 190881 h 1630203"/>
                <a:gd name="connsiteX154" fmla="*/ 398989 w 4055752"/>
                <a:gd name="connsiteY154" fmla="*/ 190881 h 1630203"/>
                <a:gd name="connsiteX155" fmla="*/ 398989 w 4055752"/>
                <a:gd name="connsiteY155" fmla="*/ 169736 h 1630203"/>
                <a:gd name="connsiteX156" fmla="*/ 375556 w 4055752"/>
                <a:gd name="connsiteY156" fmla="*/ 169736 h 1630203"/>
                <a:gd name="connsiteX157" fmla="*/ 375556 w 4055752"/>
                <a:gd name="connsiteY157" fmla="*/ 144304 h 1630203"/>
                <a:gd name="connsiteX158" fmla="*/ 356768 w 4055752"/>
                <a:gd name="connsiteY158" fmla="*/ 144304 h 1630203"/>
                <a:gd name="connsiteX159" fmla="*/ 356768 w 4055752"/>
                <a:gd name="connsiteY159" fmla="*/ 116777 h 1630203"/>
                <a:gd name="connsiteX160" fmla="*/ 314547 w 4055752"/>
                <a:gd name="connsiteY160" fmla="*/ 116777 h 1630203"/>
                <a:gd name="connsiteX161" fmla="*/ 314547 w 4055752"/>
                <a:gd name="connsiteY161" fmla="*/ 104108 h 1630203"/>
                <a:gd name="connsiteX162" fmla="*/ 274648 w 4055752"/>
                <a:gd name="connsiteY162" fmla="*/ 104108 h 1630203"/>
                <a:gd name="connsiteX163" fmla="*/ 274648 w 4055752"/>
                <a:gd name="connsiteY163" fmla="*/ 72390 h 1630203"/>
                <a:gd name="connsiteX164" fmla="*/ 246465 w 4055752"/>
                <a:gd name="connsiteY164" fmla="*/ 72390 h 1630203"/>
                <a:gd name="connsiteX165" fmla="*/ 246465 w 4055752"/>
                <a:gd name="connsiteY165" fmla="*/ 51149 h 1630203"/>
                <a:gd name="connsiteX166" fmla="*/ 218388 w 4055752"/>
                <a:gd name="connsiteY166" fmla="*/ 51149 h 1630203"/>
                <a:gd name="connsiteX167" fmla="*/ 218388 w 4055752"/>
                <a:gd name="connsiteY167" fmla="*/ 27908 h 1630203"/>
                <a:gd name="connsiteX168" fmla="*/ 150307 w 4055752"/>
                <a:gd name="connsiteY168" fmla="*/ 27908 h 1630203"/>
                <a:gd name="connsiteX169" fmla="*/ 150307 w 4055752"/>
                <a:gd name="connsiteY169" fmla="*/ 17336 h 1630203"/>
                <a:gd name="connsiteX170" fmla="*/ 91725 w 4055752"/>
                <a:gd name="connsiteY170" fmla="*/ 17336 h 1630203"/>
                <a:gd name="connsiteX171" fmla="*/ 91725 w 4055752"/>
                <a:gd name="connsiteY171" fmla="*/ 0 h 1630203"/>
                <a:gd name="connsiteX172" fmla="*/ 0 w 4055752"/>
                <a:gd name="connsiteY172" fmla="*/ 0 h 163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4055752" h="1630203">
                  <a:moveTo>
                    <a:pt x="4055753" y="1630204"/>
                  </a:moveTo>
                  <a:lnTo>
                    <a:pt x="3917373" y="1630204"/>
                  </a:lnTo>
                  <a:lnTo>
                    <a:pt x="3613804" y="1630204"/>
                  </a:lnTo>
                  <a:lnTo>
                    <a:pt x="3506879" y="1630204"/>
                  </a:lnTo>
                  <a:lnTo>
                    <a:pt x="3455264" y="1630204"/>
                  </a:lnTo>
                  <a:lnTo>
                    <a:pt x="3455264" y="1619631"/>
                  </a:lnTo>
                  <a:lnTo>
                    <a:pt x="3366706" y="1619631"/>
                  </a:lnTo>
                  <a:lnTo>
                    <a:pt x="3366706" y="1614773"/>
                  </a:lnTo>
                  <a:lnTo>
                    <a:pt x="3365650" y="1606772"/>
                  </a:lnTo>
                  <a:lnTo>
                    <a:pt x="3365650" y="1593152"/>
                  </a:lnTo>
                  <a:lnTo>
                    <a:pt x="3323957" y="1593152"/>
                  </a:lnTo>
                  <a:lnTo>
                    <a:pt x="3323851" y="1582388"/>
                  </a:lnTo>
                  <a:lnTo>
                    <a:pt x="3234659" y="1582388"/>
                  </a:lnTo>
                  <a:lnTo>
                    <a:pt x="3234870" y="1579436"/>
                  </a:lnTo>
                  <a:lnTo>
                    <a:pt x="3145679" y="1579436"/>
                  </a:lnTo>
                  <a:lnTo>
                    <a:pt x="3089419" y="1579436"/>
                  </a:lnTo>
                  <a:lnTo>
                    <a:pt x="3089419" y="1560386"/>
                  </a:lnTo>
                  <a:lnTo>
                    <a:pt x="3037804" y="1560386"/>
                  </a:lnTo>
                  <a:lnTo>
                    <a:pt x="3038437" y="1546765"/>
                  </a:lnTo>
                  <a:lnTo>
                    <a:pt x="2991572" y="1546765"/>
                  </a:lnTo>
                  <a:lnTo>
                    <a:pt x="2991572" y="1528477"/>
                  </a:lnTo>
                  <a:lnTo>
                    <a:pt x="2941645" y="1527524"/>
                  </a:lnTo>
                  <a:lnTo>
                    <a:pt x="2891086" y="1527524"/>
                  </a:lnTo>
                  <a:lnTo>
                    <a:pt x="2891086" y="1513808"/>
                  </a:lnTo>
                  <a:lnTo>
                    <a:pt x="2857203" y="1513808"/>
                  </a:lnTo>
                  <a:lnTo>
                    <a:pt x="2857203" y="1496854"/>
                  </a:lnTo>
                  <a:lnTo>
                    <a:pt x="2812660" y="1496854"/>
                  </a:lnTo>
                  <a:lnTo>
                    <a:pt x="2811499" y="1481423"/>
                  </a:lnTo>
                  <a:lnTo>
                    <a:pt x="2791022" y="1481423"/>
                  </a:lnTo>
                  <a:lnTo>
                    <a:pt x="2791022" y="1466850"/>
                  </a:lnTo>
                  <a:lnTo>
                    <a:pt x="2755451" y="1466755"/>
                  </a:lnTo>
                  <a:lnTo>
                    <a:pt x="2689586" y="1468088"/>
                  </a:lnTo>
                  <a:lnTo>
                    <a:pt x="2688319" y="1460849"/>
                  </a:lnTo>
                  <a:lnTo>
                    <a:pt x="2624988" y="1460849"/>
                  </a:lnTo>
                  <a:lnTo>
                    <a:pt x="2624988" y="1451420"/>
                  </a:lnTo>
                  <a:lnTo>
                    <a:pt x="2569361" y="1451420"/>
                  </a:lnTo>
                  <a:lnTo>
                    <a:pt x="2569361" y="1431227"/>
                  </a:lnTo>
                  <a:lnTo>
                    <a:pt x="2517113" y="1431227"/>
                  </a:lnTo>
                  <a:lnTo>
                    <a:pt x="2517113" y="1416463"/>
                  </a:lnTo>
                  <a:lnTo>
                    <a:pt x="2460748" y="1416463"/>
                  </a:lnTo>
                  <a:lnTo>
                    <a:pt x="2460748" y="1397413"/>
                  </a:lnTo>
                  <a:lnTo>
                    <a:pt x="2399738" y="1397413"/>
                  </a:lnTo>
                  <a:lnTo>
                    <a:pt x="2399738" y="1374077"/>
                  </a:lnTo>
                  <a:lnTo>
                    <a:pt x="2371661" y="1374077"/>
                  </a:lnTo>
                  <a:lnTo>
                    <a:pt x="2371661" y="1359313"/>
                  </a:lnTo>
                  <a:lnTo>
                    <a:pt x="2334084" y="1359313"/>
                  </a:lnTo>
                  <a:lnTo>
                    <a:pt x="2334084" y="1344454"/>
                  </a:lnTo>
                  <a:lnTo>
                    <a:pt x="2308330" y="1344454"/>
                  </a:lnTo>
                  <a:lnTo>
                    <a:pt x="2308330" y="1327499"/>
                  </a:lnTo>
                  <a:lnTo>
                    <a:pt x="2254392" y="1327499"/>
                  </a:lnTo>
                  <a:lnTo>
                    <a:pt x="2200455" y="1327499"/>
                  </a:lnTo>
                  <a:lnTo>
                    <a:pt x="2200455" y="1309116"/>
                  </a:lnTo>
                  <a:lnTo>
                    <a:pt x="2144512" y="1309116"/>
                  </a:lnTo>
                  <a:lnTo>
                    <a:pt x="2144512" y="1293686"/>
                  </a:lnTo>
                  <a:lnTo>
                    <a:pt x="2090152" y="1293686"/>
                  </a:lnTo>
                  <a:lnTo>
                    <a:pt x="2090152" y="1277779"/>
                  </a:lnTo>
                  <a:lnTo>
                    <a:pt x="2047931" y="1277779"/>
                  </a:lnTo>
                  <a:lnTo>
                    <a:pt x="2047931" y="1257681"/>
                  </a:lnTo>
                  <a:lnTo>
                    <a:pt x="2024499" y="1257681"/>
                  </a:lnTo>
                  <a:lnTo>
                    <a:pt x="2024499" y="1234440"/>
                  </a:lnTo>
                  <a:lnTo>
                    <a:pt x="1991672" y="1234440"/>
                  </a:lnTo>
                  <a:lnTo>
                    <a:pt x="1991672" y="1213199"/>
                  </a:lnTo>
                  <a:lnTo>
                    <a:pt x="1937735" y="1213199"/>
                  </a:lnTo>
                  <a:lnTo>
                    <a:pt x="1937735" y="1198436"/>
                  </a:lnTo>
                  <a:lnTo>
                    <a:pt x="1881369" y="1198436"/>
                  </a:lnTo>
                  <a:lnTo>
                    <a:pt x="1881369" y="1158240"/>
                  </a:lnTo>
                  <a:lnTo>
                    <a:pt x="1848543" y="1158240"/>
                  </a:lnTo>
                  <a:lnTo>
                    <a:pt x="1848543" y="1136999"/>
                  </a:lnTo>
                  <a:lnTo>
                    <a:pt x="1813394" y="1136999"/>
                  </a:lnTo>
                  <a:lnTo>
                    <a:pt x="1813394" y="1115854"/>
                  </a:lnTo>
                  <a:lnTo>
                    <a:pt x="1773495" y="1115854"/>
                  </a:lnTo>
                  <a:lnTo>
                    <a:pt x="1773495" y="1090708"/>
                  </a:lnTo>
                  <a:lnTo>
                    <a:pt x="1731274" y="1090708"/>
                  </a:lnTo>
                  <a:lnTo>
                    <a:pt x="1731274" y="1071467"/>
                  </a:lnTo>
                  <a:lnTo>
                    <a:pt x="1667942" y="1071467"/>
                  </a:lnTo>
                  <a:lnTo>
                    <a:pt x="1667942" y="1035463"/>
                  </a:lnTo>
                  <a:lnTo>
                    <a:pt x="1628043" y="1035463"/>
                  </a:lnTo>
                  <a:lnTo>
                    <a:pt x="1628043" y="1016413"/>
                  </a:lnTo>
                  <a:lnTo>
                    <a:pt x="1576428" y="1016413"/>
                  </a:lnTo>
                  <a:lnTo>
                    <a:pt x="1576428" y="995267"/>
                  </a:lnTo>
                  <a:lnTo>
                    <a:pt x="1541279" y="995267"/>
                  </a:lnTo>
                  <a:lnTo>
                    <a:pt x="1541279" y="967740"/>
                  </a:lnTo>
                  <a:lnTo>
                    <a:pt x="1499058" y="967740"/>
                  </a:lnTo>
                  <a:lnTo>
                    <a:pt x="1499058" y="954977"/>
                  </a:lnTo>
                  <a:lnTo>
                    <a:pt x="1475625" y="954977"/>
                  </a:lnTo>
                  <a:lnTo>
                    <a:pt x="1475625" y="933831"/>
                  </a:lnTo>
                  <a:lnTo>
                    <a:pt x="1438048" y="933831"/>
                  </a:lnTo>
                  <a:lnTo>
                    <a:pt x="1438048" y="914781"/>
                  </a:lnTo>
                  <a:lnTo>
                    <a:pt x="1398255" y="914781"/>
                  </a:lnTo>
                  <a:lnTo>
                    <a:pt x="1398255" y="897827"/>
                  </a:lnTo>
                  <a:lnTo>
                    <a:pt x="1381789" y="897827"/>
                  </a:lnTo>
                  <a:lnTo>
                    <a:pt x="1381789" y="872300"/>
                  </a:lnTo>
                  <a:lnTo>
                    <a:pt x="1356034" y="872300"/>
                  </a:lnTo>
                  <a:lnTo>
                    <a:pt x="1356034" y="855536"/>
                  </a:lnTo>
                  <a:lnTo>
                    <a:pt x="1327852" y="855536"/>
                  </a:lnTo>
                  <a:lnTo>
                    <a:pt x="1327852" y="828008"/>
                  </a:lnTo>
                  <a:lnTo>
                    <a:pt x="1311385" y="828008"/>
                  </a:lnTo>
                  <a:lnTo>
                    <a:pt x="1311385" y="806863"/>
                  </a:lnTo>
                  <a:lnTo>
                    <a:pt x="1290275" y="806863"/>
                  </a:lnTo>
                  <a:lnTo>
                    <a:pt x="1290275" y="781431"/>
                  </a:lnTo>
                  <a:lnTo>
                    <a:pt x="1262198" y="781431"/>
                  </a:lnTo>
                  <a:lnTo>
                    <a:pt x="1262198" y="764477"/>
                  </a:lnTo>
                  <a:lnTo>
                    <a:pt x="1243410" y="764477"/>
                  </a:lnTo>
                  <a:lnTo>
                    <a:pt x="1243410" y="749713"/>
                  </a:lnTo>
                  <a:lnTo>
                    <a:pt x="1217549" y="749713"/>
                  </a:lnTo>
                  <a:lnTo>
                    <a:pt x="1217549" y="732758"/>
                  </a:lnTo>
                  <a:lnTo>
                    <a:pt x="1198866" y="732758"/>
                  </a:lnTo>
                  <a:lnTo>
                    <a:pt x="1198866" y="715804"/>
                  </a:lnTo>
                  <a:lnTo>
                    <a:pt x="1175328" y="715804"/>
                  </a:lnTo>
                  <a:lnTo>
                    <a:pt x="1175328" y="698849"/>
                  </a:lnTo>
                  <a:lnTo>
                    <a:pt x="1151895" y="698849"/>
                  </a:lnTo>
                  <a:lnTo>
                    <a:pt x="1151895" y="667131"/>
                  </a:lnTo>
                  <a:lnTo>
                    <a:pt x="1121391" y="667131"/>
                  </a:lnTo>
                  <a:lnTo>
                    <a:pt x="1121391" y="653891"/>
                  </a:lnTo>
                  <a:lnTo>
                    <a:pt x="1090886" y="653891"/>
                  </a:lnTo>
                  <a:lnTo>
                    <a:pt x="1090886" y="641699"/>
                  </a:lnTo>
                  <a:lnTo>
                    <a:pt x="1067453" y="641699"/>
                  </a:lnTo>
                  <a:lnTo>
                    <a:pt x="1067453" y="609981"/>
                  </a:lnTo>
                  <a:lnTo>
                    <a:pt x="1041699" y="609981"/>
                  </a:lnTo>
                  <a:lnTo>
                    <a:pt x="1041699" y="573977"/>
                  </a:lnTo>
                  <a:lnTo>
                    <a:pt x="1015838" y="573977"/>
                  </a:lnTo>
                  <a:lnTo>
                    <a:pt x="1015838" y="554927"/>
                  </a:lnTo>
                  <a:lnTo>
                    <a:pt x="978367" y="554927"/>
                  </a:lnTo>
                  <a:lnTo>
                    <a:pt x="978367" y="538067"/>
                  </a:lnTo>
                  <a:lnTo>
                    <a:pt x="952507" y="538067"/>
                  </a:lnTo>
                  <a:lnTo>
                    <a:pt x="952507" y="523208"/>
                  </a:lnTo>
                  <a:lnTo>
                    <a:pt x="931396" y="523208"/>
                  </a:lnTo>
                  <a:lnTo>
                    <a:pt x="931396" y="497777"/>
                  </a:lnTo>
                  <a:lnTo>
                    <a:pt x="863420" y="497777"/>
                  </a:lnTo>
                  <a:lnTo>
                    <a:pt x="863420" y="472440"/>
                  </a:lnTo>
                  <a:lnTo>
                    <a:pt x="844632" y="472440"/>
                  </a:lnTo>
                  <a:lnTo>
                    <a:pt x="844632" y="451199"/>
                  </a:lnTo>
                  <a:lnTo>
                    <a:pt x="814127" y="451199"/>
                  </a:lnTo>
                  <a:lnTo>
                    <a:pt x="814127" y="435483"/>
                  </a:lnTo>
                  <a:lnTo>
                    <a:pt x="771906" y="435483"/>
                  </a:lnTo>
                  <a:lnTo>
                    <a:pt x="771906" y="421577"/>
                  </a:lnTo>
                  <a:lnTo>
                    <a:pt x="725041" y="421577"/>
                  </a:lnTo>
                  <a:lnTo>
                    <a:pt x="725041" y="404717"/>
                  </a:lnTo>
                  <a:lnTo>
                    <a:pt x="682820" y="404717"/>
                  </a:lnTo>
                  <a:lnTo>
                    <a:pt x="682820" y="381381"/>
                  </a:lnTo>
                  <a:lnTo>
                    <a:pt x="659387" y="381381"/>
                  </a:lnTo>
                  <a:lnTo>
                    <a:pt x="659387" y="351758"/>
                  </a:lnTo>
                  <a:lnTo>
                    <a:pt x="624133" y="351758"/>
                  </a:lnTo>
                  <a:lnTo>
                    <a:pt x="624133" y="334804"/>
                  </a:lnTo>
                  <a:lnTo>
                    <a:pt x="591306" y="334804"/>
                  </a:lnTo>
                  <a:lnTo>
                    <a:pt x="591306" y="307277"/>
                  </a:lnTo>
                  <a:lnTo>
                    <a:pt x="565551" y="307277"/>
                  </a:lnTo>
                  <a:lnTo>
                    <a:pt x="565551" y="284036"/>
                  </a:lnTo>
                  <a:lnTo>
                    <a:pt x="542013" y="284036"/>
                  </a:lnTo>
                  <a:lnTo>
                    <a:pt x="542013" y="239554"/>
                  </a:lnTo>
                  <a:lnTo>
                    <a:pt x="506864" y="239554"/>
                  </a:lnTo>
                  <a:lnTo>
                    <a:pt x="506864" y="217075"/>
                  </a:lnTo>
                  <a:lnTo>
                    <a:pt x="427171" y="217075"/>
                  </a:lnTo>
                  <a:lnTo>
                    <a:pt x="427171" y="190881"/>
                  </a:lnTo>
                  <a:lnTo>
                    <a:pt x="398989" y="190881"/>
                  </a:lnTo>
                  <a:lnTo>
                    <a:pt x="398989" y="169736"/>
                  </a:lnTo>
                  <a:lnTo>
                    <a:pt x="375556" y="169736"/>
                  </a:lnTo>
                  <a:lnTo>
                    <a:pt x="375556" y="144304"/>
                  </a:lnTo>
                  <a:lnTo>
                    <a:pt x="356768" y="144304"/>
                  </a:lnTo>
                  <a:lnTo>
                    <a:pt x="356768" y="116777"/>
                  </a:lnTo>
                  <a:lnTo>
                    <a:pt x="314547" y="116777"/>
                  </a:lnTo>
                  <a:lnTo>
                    <a:pt x="314547" y="104108"/>
                  </a:lnTo>
                  <a:lnTo>
                    <a:pt x="274648" y="104108"/>
                  </a:lnTo>
                  <a:lnTo>
                    <a:pt x="274648" y="72390"/>
                  </a:lnTo>
                  <a:lnTo>
                    <a:pt x="246465" y="72390"/>
                  </a:lnTo>
                  <a:lnTo>
                    <a:pt x="246465" y="51149"/>
                  </a:lnTo>
                  <a:lnTo>
                    <a:pt x="218388" y="51149"/>
                  </a:lnTo>
                  <a:lnTo>
                    <a:pt x="218388" y="27908"/>
                  </a:lnTo>
                  <a:lnTo>
                    <a:pt x="150307" y="27908"/>
                  </a:lnTo>
                  <a:lnTo>
                    <a:pt x="150307" y="17336"/>
                  </a:lnTo>
                  <a:lnTo>
                    <a:pt x="91725" y="17336"/>
                  </a:lnTo>
                  <a:lnTo>
                    <a:pt x="91725" y="0"/>
                  </a:lnTo>
                  <a:lnTo>
                    <a:pt x="0" y="0"/>
                  </a:lnTo>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grpSp>
          <p:nvGrpSpPr>
            <p:cNvPr id="25" name="Group 24">
              <a:extLst>
                <a:ext uri="{FF2B5EF4-FFF2-40B4-BE49-F238E27FC236}">
                  <a16:creationId xmlns:a16="http://schemas.microsoft.com/office/drawing/2014/main" id="{8163BEFF-3B7E-A55F-3F7A-C3BAAD208E3E}"/>
                </a:ext>
              </a:extLst>
            </p:cNvPr>
            <p:cNvGrpSpPr/>
            <p:nvPr/>
          </p:nvGrpSpPr>
          <p:grpSpPr>
            <a:xfrm>
              <a:off x="1548588" y="2182090"/>
              <a:ext cx="4079924" cy="1658779"/>
              <a:chOff x="1548588" y="2182090"/>
              <a:chExt cx="4079924" cy="1658779"/>
            </a:xfrm>
          </p:grpSpPr>
          <p:sp>
            <p:nvSpPr>
              <p:cNvPr id="26" name="Freeform: Shape 25">
                <a:extLst>
                  <a:ext uri="{FF2B5EF4-FFF2-40B4-BE49-F238E27FC236}">
                    <a16:creationId xmlns:a16="http://schemas.microsoft.com/office/drawing/2014/main" id="{B4AABC65-496B-E3A3-4B24-BAD222845449}"/>
                  </a:ext>
                </a:extLst>
              </p:cNvPr>
              <p:cNvSpPr/>
              <p:nvPr/>
            </p:nvSpPr>
            <p:spPr>
              <a:xfrm>
                <a:off x="1548588" y="2182090"/>
                <a:ext cx="30821" cy="27813"/>
              </a:xfrm>
              <a:custGeom>
                <a:avLst/>
                <a:gdLst>
                  <a:gd name="connsiteX0" fmla="*/ 30825 w 30821"/>
                  <a:gd name="connsiteY0" fmla="*/ 13907 h 27813"/>
                  <a:gd name="connsiteX1" fmla="*/ 15415 w 30821"/>
                  <a:gd name="connsiteY1" fmla="*/ 27813 h 27813"/>
                  <a:gd name="connsiteX2" fmla="*/ 4 w 30821"/>
                  <a:gd name="connsiteY2" fmla="*/ 13907 h 27813"/>
                  <a:gd name="connsiteX3" fmla="*/ 15415 w 30821"/>
                  <a:gd name="connsiteY3" fmla="*/ 0 h 27813"/>
                  <a:gd name="connsiteX4" fmla="*/ 30825 w 30821"/>
                  <a:gd name="connsiteY4" fmla="*/ 13907 h 27813"/>
                  <a:gd name="connsiteX5" fmla="*/ 30825 w 30821"/>
                  <a:gd name="connsiteY5" fmla="*/ 1390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25" y="13907"/>
                    </a:moveTo>
                    <a:cubicBezTo>
                      <a:pt x="30825" y="21622"/>
                      <a:pt x="23964" y="27813"/>
                      <a:pt x="15415" y="27813"/>
                    </a:cubicBezTo>
                    <a:cubicBezTo>
                      <a:pt x="6865" y="27813"/>
                      <a:pt x="4" y="21622"/>
                      <a:pt x="4" y="13907"/>
                    </a:cubicBezTo>
                    <a:cubicBezTo>
                      <a:pt x="4" y="6191"/>
                      <a:pt x="6865" y="0"/>
                      <a:pt x="15415" y="0"/>
                    </a:cubicBezTo>
                    <a:cubicBezTo>
                      <a:pt x="23964" y="0"/>
                      <a:pt x="30825" y="6191"/>
                      <a:pt x="30825" y="13907"/>
                    </a:cubicBezTo>
                    <a:lnTo>
                      <a:pt x="30825" y="1390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FAE22346-3B34-E210-E64A-7A19832EDAD7}"/>
                  </a:ext>
                </a:extLst>
              </p:cNvPr>
              <p:cNvSpPr/>
              <p:nvPr/>
            </p:nvSpPr>
            <p:spPr>
              <a:xfrm>
                <a:off x="1801914" y="2273435"/>
                <a:ext cx="30821" cy="27813"/>
              </a:xfrm>
              <a:custGeom>
                <a:avLst/>
                <a:gdLst>
                  <a:gd name="connsiteX0" fmla="*/ 30849 w 30821"/>
                  <a:gd name="connsiteY0" fmla="*/ 13916 h 27813"/>
                  <a:gd name="connsiteX1" fmla="*/ 15439 w 30821"/>
                  <a:gd name="connsiteY1" fmla="*/ 27823 h 27813"/>
                  <a:gd name="connsiteX2" fmla="*/ 28 w 30821"/>
                  <a:gd name="connsiteY2" fmla="*/ 13916 h 27813"/>
                  <a:gd name="connsiteX3" fmla="*/ 15439 w 30821"/>
                  <a:gd name="connsiteY3" fmla="*/ 10 h 27813"/>
                  <a:gd name="connsiteX4" fmla="*/ 30849 w 30821"/>
                  <a:gd name="connsiteY4" fmla="*/ 13916 h 27813"/>
                  <a:gd name="connsiteX5" fmla="*/ 30849 w 30821"/>
                  <a:gd name="connsiteY5" fmla="*/ 13916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49" y="13916"/>
                    </a:moveTo>
                    <a:cubicBezTo>
                      <a:pt x="30849" y="21631"/>
                      <a:pt x="23988" y="27823"/>
                      <a:pt x="15439" y="27823"/>
                    </a:cubicBezTo>
                    <a:cubicBezTo>
                      <a:pt x="6889" y="27823"/>
                      <a:pt x="28" y="21631"/>
                      <a:pt x="28" y="13916"/>
                    </a:cubicBezTo>
                    <a:cubicBezTo>
                      <a:pt x="28" y="6201"/>
                      <a:pt x="6889" y="10"/>
                      <a:pt x="15439" y="10"/>
                    </a:cubicBezTo>
                    <a:cubicBezTo>
                      <a:pt x="23988" y="10"/>
                      <a:pt x="30849" y="6201"/>
                      <a:pt x="30849" y="13916"/>
                    </a:cubicBezTo>
                    <a:lnTo>
                      <a:pt x="30849" y="13916"/>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3BE4DAA0-1C6F-77E6-1A9D-3DBD71878521}"/>
                  </a:ext>
                </a:extLst>
              </p:cNvPr>
              <p:cNvSpPr/>
              <p:nvPr/>
            </p:nvSpPr>
            <p:spPr>
              <a:xfrm>
                <a:off x="1859968" y="2301153"/>
                <a:ext cx="30821" cy="27813"/>
              </a:xfrm>
              <a:custGeom>
                <a:avLst/>
                <a:gdLst>
                  <a:gd name="connsiteX0" fmla="*/ 30855 w 30821"/>
                  <a:gd name="connsiteY0" fmla="*/ 13919 h 27813"/>
                  <a:gd name="connsiteX1" fmla="*/ 15444 w 30821"/>
                  <a:gd name="connsiteY1" fmla="*/ 27826 h 27813"/>
                  <a:gd name="connsiteX2" fmla="*/ 34 w 30821"/>
                  <a:gd name="connsiteY2" fmla="*/ 13919 h 27813"/>
                  <a:gd name="connsiteX3" fmla="*/ 15444 w 30821"/>
                  <a:gd name="connsiteY3" fmla="*/ 13 h 27813"/>
                  <a:gd name="connsiteX4" fmla="*/ 30855 w 30821"/>
                  <a:gd name="connsiteY4" fmla="*/ 13919 h 27813"/>
                  <a:gd name="connsiteX5" fmla="*/ 30855 w 30821"/>
                  <a:gd name="connsiteY5" fmla="*/ 1391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55" y="13919"/>
                    </a:moveTo>
                    <a:cubicBezTo>
                      <a:pt x="30855" y="21634"/>
                      <a:pt x="23994" y="27826"/>
                      <a:pt x="15444" y="27826"/>
                    </a:cubicBezTo>
                    <a:cubicBezTo>
                      <a:pt x="6894" y="27826"/>
                      <a:pt x="34" y="21634"/>
                      <a:pt x="34" y="13919"/>
                    </a:cubicBezTo>
                    <a:cubicBezTo>
                      <a:pt x="34" y="6204"/>
                      <a:pt x="6894" y="13"/>
                      <a:pt x="15444" y="13"/>
                    </a:cubicBezTo>
                    <a:cubicBezTo>
                      <a:pt x="23994" y="13"/>
                      <a:pt x="30855" y="6204"/>
                      <a:pt x="30855" y="13919"/>
                    </a:cubicBezTo>
                    <a:lnTo>
                      <a:pt x="30855" y="13919"/>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A0CE977F-B3B6-7BDD-5216-C92F1CCB8538}"/>
                  </a:ext>
                </a:extLst>
              </p:cNvPr>
              <p:cNvSpPr/>
              <p:nvPr/>
            </p:nvSpPr>
            <p:spPr>
              <a:xfrm>
                <a:off x="2071074" y="2429740"/>
                <a:ext cx="30821" cy="27813"/>
              </a:xfrm>
              <a:custGeom>
                <a:avLst/>
                <a:gdLst>
                  <a:gd name="connsiteX0" fmla="*/ 30875 w 30821"/>
                  <a:gd name="connsiteY0" fmla="*/ 13933 h 27813"/>
                  <a:gd name="connsiteX1" fmla="*/ 15464 w 30821"/>
                  <a:gd name="connsiteY1" fmla="*/ 27839 h 27813"/>
                  <a:gd name="connsiteX2" fmla="*/ 54 w 30821"/>
                  <a:gd name="connsiteY2" fmla="*/ 13933 h 27813"/>
                  <a:gd name="connsiteX3" fmla="*/ 15464 w 30821"/>
                  <a:gd name="connsiteY3" fmla="*/ 26 h 27813"/>
                  <a:gd name="connsiteX4" fmla="*/ 30875 w 30821"/>
                  <a:gd name="connsiteY4" fmla="*/ 13933 h 27813"/>
                  <a:gd name="connsiteX5" fmla="*/ 30875 w 30821"/>
                  <a:gd name="connsiteY5" fmla="*/ 1393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75" y="13933"/>
                    </a:moveTo>
                    <a:cubicBezTo>
                      <a:pt x="30875" y="21648"/>
                      <a:pt x="24014" y="27839"/>
                      <a:pt x="15464" y="27839"/>
                    </a:cubicBezTo>
                    <a:cubicBezTo>
                      <a:pt x="6914" y="27839"/>
                      <a:pt x="54" y="21648"/>
                      <a:pt x="54" y="13933"/>
                    </a:cubicBezTo>
                    <a:cubicBezTo>
                      <a:pt x="54" y="6217"/>
                      <a:pt x="6914" y="26"/>
                      <a:pt x="15464" y="26"/>
                    </a:cubicBezTo>
                    <a:cubicBezTo>
                      <a:pt x="24014" y="26"/>
                      <a:pt x="30875" y="6217"/>
                      <a:pt x="30875" y="13933"/>
                    </a:cubicBezTo>
                    <a:lnTo>
                      <a:pt x="30875" y="13933"/>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CCCD6634-1F3A-403A-6E69-D80A298CB5EA}"/>
                  </a:ext>
                </a:extLst>
              </p:cNvPr>
              <p:cNvSpPr/>
              <p:nvPr/>
            </p:nvSpPr>
            <p:spPr>
              <a:xfrm>
                <a:off x="2468690" y="2698536"/>
                <a:ext cx="30821" cy="27813"/>
              </a:xfrm>
              <a:custGeom>
                <a:avLst/>
                <a:gdLst>
                  <a:gd name="connsiteX0" fmla="*/ 30913 w 30821"/>
                  <a:gd name="connsiteY0" fmla="*/ 13961 h 27813"/>
                  <a:gd name="connsiteX1" fmla="*/ 15502 w 30821"/>
                  <a:gd name="connsiteY1" fmla="*/ 27867 h 27813"/>
                  <a:gd name="connsiteX2" fmla="*/ 91 w 30821"/>
                  <a:gd name="connsiteY2" fmla="*/ 13961 h 27813"/>
                  <a:gd name="connsiteX3" fmla="*/ 15502 w 30821"/>
                  <a:gd name="connsiteY3" fmla="*/ 54 h 27813"/>
                  <a:gd name="connsiteX4" fmla="*/ 30913 w 30821"/>
                  <a:gd name="connsiteY4" fmla="*/ 13961 h 27813"/>
                  <a:gd name="connsiteX5" fmla="*/ 30913 w 30821"/>
                  <a:gd name="connsiteY5" fmla="*/ 1396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13" y="13961"/>
                    </a:moveTo>
                    <a:cubicBezTo>
                      <a:pt x="30913" y="21676"/>
                      <a:pt x="24052" y="27867"/>
                      <a:pt x="15502" y="27867"/>
                    </a:cubicBezTo>
                    <a:cubicBezTo>
                      <a:pt x="6952" y="27867"/>
                      <a:pt x="91" y="21676"/>
                      <a:pt x="91" y="13961"/>
                    </a:cubicBezTo>
                    <a:cubicBezTo>
                      <a:pt x="91" y="6245"/>
                      <a:pt x="6952" y="54"/>
                      <a:pt x="15502" y="54"/>
                    </a:cubicBezTo>
                    <a:cubicBezTo>
                      <a:pt x="24052" y="54"/>
                      <a:pt x="30913" y="6245"/>
                      <a:pt x="30913" y="13961"/>
                    </a:cubicBezTo>
                    <a:lnTo>
                      <a:pt x="30913" y="13961"/>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3F78B721-FF91-CAC6-CB12-1340A3456770}"/>
                  </a:ext>
                </a:extLst>
              </p:cNvPr>
              <p:cNvSpPr/>
              <p:nvPr/>
            </p:nvSpPr>
            <p:spPr>
              <a:xfrm>
                <a:off x="2605909" y="2812931"/>
                <a:ext cx="30821" cy="27813"/>
              </a:xfrm>
              <a:custGeom>
                <a:avLst/>
                <a:gdLst>
                  <a:gd name="connsiteX0" fmla="*/ 30926 w 30821"/>
                  <a:gd name="connsiteY0" fmla="*/ 13973 h 27813"/>
                  <a:gd name="connsiteX1" fmla="*/ 15515 w 30821"/>
                  <a:gd name="connsiteY1" fmla="*/ 27879 h 27813"/>
                  <a:gd name="connsiteX2" fmla="*/ 104 w 30821"/>
                  <a:gd name="connsiteY2" fmla="*/ 13973 h 27813"/>
                  <a:gd name="connsiteX3" fmla="*/ 15515 w 30821"/>
                  <a:gd name="connsiteY3" fmla="*/ 66 h 27813"/>
                  <a:gd name="connsiteX4" fmla="*/ 30926 w 30821"/>
                  <a:gd name="connsiteY4" fmla="*/ 13973 h 27813"/>
                  <a:gd name="connsiteX5" fmla="*/ 30926 w 30821"/>
                  <a:gd name="connsiteY5" fmla="*/ 1397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26" y="13973"/>
                    </a:moveTo>
                    <a:cubicBezTo>
                      <a:pt x="30926" y="21688"/>
                      <a:pt x="24065" y="27879"/>
                      <a:pt x="15515" y="27879"/>
                    </a:cubicBezTo>
                    <a:cubicBezTo>
                      <a:pt x="6965" y="27879"/>
                      <a:pt x="104" y="21688"/>
                      <a:pt x="104" y="13973"/>
                    </a:cubicBezTo>
                    <a:cubicBezTo>
                      <a:pt x="104" y="6257"/>
                      <a:pt x="6965" y="66"/>
                      <a:pt x="15515" y="66"/>
                    </a:cubicBezTo>
                    <a:cubicBezTo>
                      <a:pt x="24065" y="66"/>
                      <a:pt x="30926" y="6257"/>
                      <a:pt x="30926" y="13973"/>
                    </a:cubicBezTo>
                    <a:lnTo>
                      <a:pt x="30926" y="13973"/>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2BBBC5FD-D9AB-DFDF-CC09-7636A50B4AA5}"/>
                  </a:ext>
                </a:extLst>
              </p:cNvPr>
              <p:cNvSpPr/>
              <p:nvPr/>
            </p:nvSpPr>
            <p:spPr>
              <a:xfrm>
                <a:off x="2916620" y="3065343"/>
                <a:ext cx="30821" cy="27813"/>
              </a:xfrm>
              <a:custGeom>
                <a:avLst/>
                <a:gdLst>
                  <a:gd name="connsiteX0" fmla="*/ 30953 w 30821"/>
                  <a:gd name="connsiteY0" fmla="*/ 13999 h 27813"/>
                  <a:gd name="connsiteX1" fmla="*/ 15543 w 30821"/>
                  <a:gd name="connsiteY1" fmla="*/ 27906 h 27813"/>
                  <a:gd name="connsiteX2" fmla="*/ 132 w 30821"/>
                  <a:gd name="connsiteY2" fmla="*/ 13999 h 27813"/>
                  <a:gd name="connsiteX3" fmla="*/ 15543 w 30821"/>
                  <a:gd name="connsiteY3" fmla="*/ 93 h 27813"/>
                  <a:gd name="connsiteX4" fmla="*/ 30953 w 30821"/>
                  <a:gd name="connsiteY4" fmla="*/ 13999 h 27813"/>
                  <a:gd name="connsiteX5" fmla="*/ 30953 w 30821"/>
                  <a:gd name="connsiteY5" fmla="*/ 1399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53" y="13999"/>
                    </a:moveTo>
                    <a:cubicBezTo>
                      <a:pt x="30953" y="21714"/>
                      <a:pt x="24092" y="27906"/>
                      <a:pt x="15543" y="27906"/>
                    </a:cubicBezTo>
                    <a:cubicBezTo>
                      <a:pt x="6993" y="27906"/>
                      <a:pt x="132" y="21714"/>
                      <a:pt x="132" y="13999"/>
                    </a:cubicBezTo>
                    <a:cubicBezTo>
                      <a:pt x="132" y="6284"/>
                      <a:pt x="6993" y="93"/>
                      <a:pt x="15543" y="93"/>
                    </a:cubicBezTo>
                    <a:cubicBezTo>
                      <a:pt x="24092" y="93"/>
                      <a:pt x="30953" y="6284"/>
                      <a:pt x="30953" y="13999"/>
                    </a:cubicBezTo>
                    <a:lnTo>
                      <a:pt x="30953" y="13999"/>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75F28AC5-6A72-6C00-C828-F7C13C8B9881}"/>
                  </a:ext>
                </a:extLst>
              </p:cNvPr>
              <p:cNvSpPr/>
              <p:nvPr/>
            </p:nvSpPr>
            <p:spPr>
              <a:xfrm>
                <a:off x="3644407" y="3469394"/>
                <a:ext cx="30821" cy="27813"/>
              </a:xfrm>
              <a:custGeom>
                <a:avLst/>
                <a:gdLst>
                  <a:gd name="connsiteX0" fmla="*/ 31022 w 30821"/>
                  <a:gd name="connsiteY0" fmla="*/ 14042 h 27813"/>
                  <a:gd name="connsiteX1" fmla="*/ 15612 w 30821"/>
                  <a:gd name="connsiteY1" fmla="*/ 27948 h 27813"/>
                  <a:gd name="connsiteX2" fmla="*/ 201 w 30821"/>
                  <a:gd name="connsiteY2" fmla="*/ 14042 h 27813"/>
                  <a:gd name="connsiteX3" fmla="*/ 15612 w 30821"/>
                  <a:gd name="connsiteY3" fmla="*/ 135 h 27813"/>
                  <a:gd name="connsiteX4" fmla="*/ 31022 w 30821"/>
                  <a:gd name="connsiteY4" fmla="*/ 14042 h 27813"/>
                  <a:gd name="connsiteX5" fmla="*/ 31022 w 30821"/>
                  <a:gd name="connsiteY5" fmla="*/ 1404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22" y="14042"/>
                    </a:moveTo>
                    <a:cubicBezTo>
                      <a:pt x="31022" y="21757"/>
                      <a:pt x="24161" y="27948"/>
                      <a:pt x="15612" y="27948"/>
                    </a:cubicBezTo>
                    <a:cubicBezTo>
                      <a:pt x="7062" y="27948"/>
                      <a:pt x="201" y="21757"/>
                      <a:pt x="201" y="14042"/>
                    </a:cubicBezTo>
                    <a:cubicBezTo>
                      <a:pt x="201" y="6326"/>
                      <a:pt x="7062" y="135"/>
                      <a:pt x="15612" y="135"/>
                    </a:cubicBezTo>
                    <a:cubicBezTo>
                      <a:pt x="24161" y="135"/>
                      <a:pt x="31022" y="6326"/>
                      <a:pt x="31022" y="14042"/>
                    </a:cubicBezTo>
                    <a:lnTo>
                      <a:pt x="31022" y="14042"/>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BFBD6C27-B44D-381B-050B-42BE3C838E00}"/>
                  </a:ext>
                </a:extLst>
              </p:cNvPr>
              <p:cNvSpPr/>
              <p:nvPr/>
            </p:nvSpPr>
            <p:spPr>
              <a:xfrm>
                <a:off x="3884064" y="3530925"/>
                <a:ext cx="30821" cy="27813"/>
              </a:xfrm>
              <a:custGeom>
                <a:avLst/>
                <a:gdLst>
                  <a:gd name="connsiteX0" fmla="*/ 31046 w 30821"/>
                  <a:gd name="connsiteY0" fmla="*/ 14048 h 27813"/>
                  <a:gd name="connsiteX1" fmla="*/ 15635 w 30821"/>
                  <a:gd name="connsiteY1" fmla="*/ 27955 h 27813"/>
                  <a:gd name="connsiteX2" fmla="*/ 224 w 30821"/>
                  <a:gd name="connsiteY2" fmla="*/ 14048 h 27813"/>
                  <a:gd name="connsiteX3" fmla="*/ 15635 w 30821"/>
                  <a:gd name="connsiteY3" fmla="*/ 142 h 27813"/>
                  <a:gd name="connsiteX4" fmla="*/ 31046 w 30821"/>
                  <a:gd name="connsiteY4" fmla="*/ 14048 h 27813"/>
                  <a:gd name="connsiteX5" fmla="*/ 31046 w 30821"/>
                  <a:gd name="connsiteY5" fmla="*/ 1404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46" y="14048"/>
                    </a:moveTo>
                    <a:cubicBezTo>
                      <a:pt x="31046" y="21763"/>
                      <a:pt x="24185" y="27955"/>
                      <a:pt x="15635" y="27955"/>
                    </a:cubicBezTo>
                    <a:cubicBezTo>
                      <a:pt x="7085" y="27955"/>
                      <a:pt x="224" y="21763"/>
                      <a:pt x="224" y="14048"/>
                    </a:cubicBezTo>
                    <a:cubicBezTo>
                      <a:pt x="224" y="6333"/>
                      <a:pt x="7085" y="142"/>
                      <a:pt x="15635" y="142"/>
                    </a:cubicBezTo>
                    <a:cubicBezTo>
                      <a:pt x="24185" y="142"/>
                      <a:pt x="31046" y="6333"/>
                      <a:pt x="31046" y="14048"/>
                    </a:cubicBezTo>
                    <a:lnTo>
                      <a:pt x="31046" y="1404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2B67999B-BD19-7C84-86B8-3FD03BBA8C1C}"/>
                  </a:ext>
                </a:extLst>
              </p:cNvPr>
              <p:cNvSpPr/>
              <p:nvPr/>
            </p:nvSpPr>
            <p:spPr>
              <a:xfrm>
                <a:off x="4021388" y="3589695"/>
                <a:ext cx="30821" cy="27813"/>
              </a:xfrm>
              <a:custGeom>
                <a:avLst/>
                <a:gdLst>
                  <a:gd name="connsiteX0" fmla="*/ 31059 w 30821"/>
                  <a:gd name="connsiteY0" fmla="*/ 14054 h 27813"/>
                  <a:gd name="connsiteX1" fmla="*/ 15648 w 30821"/>
                  <a:gd name="connsiteY1" fmla="*/ 27961 h 27813"/>
                  <a:gd name="connsiteX2" fmla="*/ 237 w 30821"/>
                  <a:gd name="connsiteY2" fmla="*/ 14054 h 27813"/>
                  <a:gd name="connsiteX3" fmla="*/ 15648 w 30821"/>
                  <a:gd name="connsiteY3" fmla="*/ 148 h 27813"/>
                  <a:gd name="connsiteX4" fmla="*/ 31059 w 30821"/>
                  <a:gd name="connsiteY4" fmla="*/ 14054 h 27813"/>
                  <a:gd name="connsiteX5" fmla="*/ 31059 w 30821"/>
                  <a:gd name="connsiteY5" fmla="*/ 1405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59" y="14054"/>
                    </a:moveTo>
                    <a:cubicBezTo>
                      <a:pt x="31059" y="21770"/>
                      <a:pt x="24198" y="27961"/>
                      <a:pt x="15648" y="27961"/>
                    </a:cubicBezTo>
                    <a:cubicBezTo>
                      <a:pt x="7098" y="27961"/>
                      <a:pt x="237" y="21770"/>
                      <a:pt x="237" y="14054"/>
                    </a:cubicBezTo>
                    <a:cubicBezTo>
                      <a:pt x="237" y="6339"/>
                      <a:pt x="7098" y="148"/>
                      <a:pt x="15648" y="148"/>
                    </a:cubicBezTo>
                    <a:cubicBezTo>
                      <a:pt x="24198" y="148"/>
                      <a:pt x="31059" y="6339"/>
                      <a:pt x="31059" y="14054"/>
                    </a:cubicBezTo>
                    <a:lnTo>
                      <a:pt x="31059" y="14054"/>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7C9276F3-DA14-D508-B7DF-F1243492450D}"/>
                  </a:ext>
                </a:extLst>
              </p:cNvPr>
              <p:cNvSpPr/>
              <p:nvPr/>
            </p:nvSpPr>
            <p:spPr>
              <a:xfrm>
                <a:off x="4137496" y="3635700"/>
                <a:ext cx="30821" cy="27813"/>
              </a:xfrm>
              <a:custGeom>
                <a:avLst/>
                <a:gdLst>
                  <a:gd name="connsiteX0" fmla="*/ 31070 w 30821"/>
                  <a:gd name="connsiteY0" fmla="*/ 14059 h 27813"/>
                  <a:gd name="connsiteX1" fmla="*/ 15659 w 30821"/>
                  <a:gd name="connsiteY1" fmla="*/ 27966 h 27813"/>
                  <a:gd name="connsiteX2" fmla="*/ 248 w 30821"/>
                  <a:gd name="connsiteY2" fmla="*/ 14059 h 27813"/>
                  <a:gd name="connsiteX3" fmla="*/ 15659 w 30821"/>
                  <a:gd name="connsiteY3" fmla="*/ 153 h 27813"/>
                  <a:gd name="connsiteX4" fmla="*/ 31070 w 30821"/>
                  <a:gd name="connsiteY4" fmla="*/ 14059 h 27813"/>
                  <a:gd name="connsiteX5" fmla="*/ 31070 w 30821"/>
                  <a:gd name="connsiteY5" fmla="*/ 1405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70" y="14059"/>
                    </a:moveTo>
                    <a:cubicBezTo>
                      <a:pt x="31070" y="21774"/>
                      <a:pt x="24209" y="27966"/>
                      <a:pt x="15659" y="27966"/>
                    </a:cubicBezTo>
                    <a:cubicBezTo>
                      <a:pt x="7109" y="27966"/>
                      <a:pt x="248" y="21774"/>
                      <a:pt x="248" y="14059"/>
                    </a:cubicBezTo>
                    <a:cubicBezTo>
                      <a:pt x="248" y="6344"/>
                      <a:pt x="7109" y="153"/>
                      <a:pt x="15659" y="153"/>
                    </a:cubicBezTo>
                    <a:cubicBezTo>
                      <a:pt x="24209" y="153"/>
                      <a:pt x="31070" y="6344"/>
                      <a:pt x="31070" y="14059"/>
                    </a:cubicBezTo>
                    <a:lnTo>
                      <a:pt x="31070" y="14059"/>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669EBDCD-ACC4-1289-16ED-D527A5FFA515}"/>
                  </a:ext>
                </a:extLst>
              </p:cNvPr>
              <p:cNvSpPr/>
              <p:nvPr/>
            </p:nvSpPr>
            <p:spPr>
              <a:xfrm>
                <a:off x="4343323" y="3659894"/>
                <a:ext cx="30821" cy="27813"/>
              </a:xfrm>
              <a:custGeom>
                <a:avLst/>
                <a:gdLst>
                  <a:gd name="connsiteX0" fmla="*/ 31089 w 30821"/>
                  <a:gd name="connsiteY0" fmla="*/ 14062 h 27813"/>
                  <a:gd name="connsiteX1" fmla="*/ 15679 w 30821"/>
                  <a:gd name="connsiteY1" fmla="*/ 27968 h 27813"/>
                  <a:gd name="connsiteX2" fmla="*/ 268 w 30821"/>
                  <a:gd name="connsiteY2" fmla="*/ 14062 h 27813"/>
                  <a:gd name="connsiteX3" fmla="*/ 15679 w 30821"/>
                  <a:gd name="connsiteY3" fmla="*/ 155 h 27813"/>
                  <a:gd name="connsiteX4" fmla="*/ 31089 w 30821"/>
                  <a:gd name="connsiteY4" fmla="*/ 14062 h 27813"/>
                  <a:gd name="connsiteX5" fmla="*/ 31089 w 30821"/>
                  <a:gd name="connsiteY5" fmla="*/ 1406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89" y="14062"/>
                    </a:moveTo>
                    <a:cubicBezTo>
                      <a:pt x="31089" y="21777"/>
                      <a:pt x="24228" y="27968"/>
                      <a:pt x="15679" y="27968"/>
                    </a:cubicBezTo>
                    <a:cubicBezTo>
                      <a:pt x="7129" y="27968"/>
                      <a:pt x="268" y="21777"/>
                      <a:pt x="268" y="14062"/>
                    </a:cubicBezTo>
                    <a:cubicBezTo>
                      <a:pt x="268" y="6346"/>
                      <a:pt x="7129" y="155"/>
                      <a:pt x="15679" y="155"/>
                    </a:cubicBezTo>
                    <a:cubicBezTo>
                      <a:pt x="24228" y="155"/>
                      <a:pt x="31089" y="6346"/>
                      <a:pt x="31089" y="14062"/>
                    </a:cubicBezTo>
                    <a:lnTo>
                      <a:pt x="31089" y="14062"/>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8" name="Freeform: Shape 37">
                <a:extLst>
                  <a:ext uri="{FF2B5EF4-FFF2-40B4-BE49-F238E27FC236}">
                    <a16:creationId xmlns:a16="http://schemas.microsoft.com/office/drawing/2014/main" id="{F9E7D7E1-B15A-C46B-BFA0-3CA0608B4070}"/>
                  </a:ext>
                </a:extLst>
              </p:cNvPr>
              <p:cNvSpPr/>
              <p:nvPr/>
            </p:nvSpPr>
            <p:spPr>
              <a:xfrm>
                <a:off x="4403364" y="3692850"/>
                <a:ext cx="30821" cy="27813"/>
              </a:xfrm>
              <a:custGeom>
                <a:avLst/>
                <a:gdLst>
                  <a:gd name="connsiteX0" fmla="*/ 31096 w 30821"/>
                  <a:gd name="connsiteY0" fmla="*/ 14065 h 27813"/>
                  <a:gd name="connsiteX1" fmla="*/ 15685 w 30821"/>
                  <a:gd name="connsiteY1" fmla="*/ 27972 h 27813"/>
                  <a:gd name="connsiteX2" fmla="*/ 274 w 30821"/>
                  <a:gd name="connsiteY2" fmla="*/ 14065 h 27813"/>
                  <a:gd name="connsiteX3" fmla="*/ 15685 w 30821"/>
                  <a:gd name="connsiteY3" fmla="*/ 159 h 27813"/>
                  <a:gd name="connsiteX4" fmla="*/ 31096 w 30821"/>
                  <a:gd name="connsiteY4" fmla="*/ 14065 h 27813"/>
                  <a:gd name="connsiteX5" fmla="*/ 31096 w 30821"/>
                  <a:gd name="connsiteY5" fmla="*/ 14065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96" y="14065"/>
                    </a:moveTo>
                    <a:cubicBezTo>
                      <a:pt x="31096" y="21780"/>
                      <a:pt x="24235" y="27972"/>
                      <a:pt x="15685" y="27972"/>
                    </a:cubicBezTo>
                    <a:cubicBezTo>
                      <a:pt x="7135" y="27972"/>
                      <a:pt x="274" y="21780"/>
                      <a:pt x="274" y="14065"/>
                    </a:cubicBezTo>
                    <a:cubicBezTo>
                      <a:pt x="274" y="6350"/>
                      <a:pt x="7135" y="159"/>
                      <a:pt x="15685" y="159"/>
                    </a:cubicBezTo>
                    <a:cubicBezTo>
                      <a:pt x="24235" y="159"/>
                      <a:pt x="31096" y="6350"/>
                      <a:pt x="31096" y="14065"/>
                    </a:cubicBezTo>
                    <a:lnTo>
                      <a:pt x="31096" y="14065"/>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9" name="Freeform: Shape 38">
                <a:extLst>
                  <a:ext uri="{FF2B5EF4-FFF2-40B4-BE49-F238E27FC236}">
                    <a16:creationId xmlns:a16="http://schemas.microsoft.com/office/drawing/2014/main" id="{C39C526E-2195-CD4D-69F7-ED94EEA137AD}"/>
                  </a:ext>
                </a:extLst>
              </p:cNvPr>
              <p:cNvSpPr/>
              <p:nvPr/>
            </p:nvSpPr>
            <p:spPr>
              <a:xfrm>
                <a:off x="4435029" y="3711900"/>
                <a:ext cx="30821" cy="27813"/>
              </a:xfrm>
              <a:custGeom>
                <a:avLst/>
                <a:gdLst>
                  <a:gd name="connsiteX0" fmla="*/ 31099 w 30821"/>
                  <a:gd name="connsiteY0" fmla="*/ 14067 h 27813"/>
                  <a:gd name="connsiteX1" fmla="*/ 15688 w 30821"/>
                  <a:gd name="connsiteY1" fmla="*/ 27974 h 27813"/>
                  <a:gd name="connsiteX2" fmla="*/ 277 w 30821"/>
                  <a:gd name="connsiteY2" fmla="*/ 14067 h 27813"/>
                  <a:gd name="connsiteX3" fmla="*/ 15688 w 30821"/>
                  <a:gd name="connsiteY3" fmla="*/ 161 h 27813"/>
                  <a:gd name="connsiteX4" fmla="*/ 31099 w 30821"/>
                  <a:gd name="connsiteY4" fmla="*/ 14067 h 27813"/>
                  <a:gd name="connsiteX5" fmla="*/ 31099 w 30821"/>
                  <a:gd name="connsiteY5" fmla="*/ 1406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99" y="14067"/>
                    </a:moveTo>
                    <a:cubicBezTo>
                      <a:pt x="31099" y="21782"/>
                      <a:pt x="24238" y="27974"/>
                      <a:pt x="15688" y="27974"/>
                    </a:cubicBezTo>
                    <a:cubicBezTo>
                      <a:pt x="7138" y="27974"/>
                      <a:pt x="277" y="21782"/>
                      <a:pt x="277" y="14067"/>
                    </a:cubicBezTo>
                    <a:cubicBezTo>
                      <a:pt x="277" y="6352"/>
                      <a:pt x="7138" y="161"/>
                      <a:pt x="15688" y="161"/>
                    </a:cubicBezTo>
                    <a:cubicBezTo>
                      <a:pt x="24238" y="161"/>
                      <a:pt x="31099" y="6352"/>
                      <a:pt x="31099" y="14067"/>
                    </a:cubicBezTo>
                    <a:lnTo>
                      <a:pt x="31099" y="1406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0" name="Freeform: Shape 39">
                <a:extLst>
                  <a:ext uri="{FF2B5EF4-FFF2-40B4-BE49-F238E27FC236}">
                    <a16:creationId xmlns:a16="http://schemas.microsoft.com/office/drawing/2014/main" id="{36E9A62C-6024-64FA-93B5-F03ED3A79750}"/>
                  </a:ext>
                </a:extLst>
              </p:cNvPr>
              <p:cNvSpPr/>
              <p:nvPr/>
            </p:nvSpPr>
            <p:spPr>
              <a:xfrm>
                <a:off x="4466695" y="3711900"/>
                <a:ext cx="30821" cy="27813"/>
              </a:xfrm>
              <a:custGeom>
                <a:avLst/>
                <a:gdLst>
                  <a:gd name="connsiteX0" fmla="*/ 31102 w 30821"/>
                  <a:gd name="connsiteY0" fmla="*/ 14067 h 27813"/>
                  <a:gd name="connsiteX1" fmla="*/ 15691 w 30821"/>
                  <a:gd name="connsiteY1" fmla="*/ 27974 h 27813"/>
                  <a:gd name="connsiteX2" fmla="*/ 280 w 30821"/>
                  <a:gd name="connsiteY2" fmla="*/ 14067 h 27813"/>
                  <a:gd name="connsiteX3" fmla="*/ 15691 w 30821"/>
                  <a:gd name="connsiteY3" fmla="*/ 161 h 27813"/>
                  <a:gd name="connsiteX4" fmla="*/ 31102 w 30821"/>
                  <a:gd name="connsiteY4" fmla="*/ 14067 h 27813"/>
                  <a:gd name="connsiteX5" fmla="*/ 31102 w 30821"/>
                  <a:gd name="connsiteY5" fmla="*/ 1406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02" y="14067"/>
                    </a:moveTo>
                    <a:cubicBezTo>
                      <a:pt x="31102" y="21782"/>
                      <a:pt x="24241" y="27974"/>
                      <a:pt x="15691" y="27974"/>
                    </a:cubicBezTo>
                    <a:cubicBezTo>
                      <a:pt x="7141" y="27974"/>
                      <a:pt x="280" y="21782"/>
                      <a:pt x="280" y="14067"/>
                    </a:cubicBezTo>
                    <a:cubicBezTo>
                      <a:pt x="280" y="6352"/>
                      <a:pt x="7141" y="161"/>
                      <a:pt x="15691" y="161"/>
                    </a:cubicBezTo>
                    <a:cubicBezTo>
                      <a:pt x="24241" y="161"/>
                      <a:pt x="31102" y="6352"/>
                      <a:pt x="31102" y="14067"/>
                    </a:cubicBezTo>
                    <a:lnTo>
                      <a:pt x="31102" y="1406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1" name="Freeform: Shape 40">
                <a:extLst>
                  <a:ext uri="{FF2B5EF4-FFF2-40B4-BE49-F238E27FC236}">
                    <a16:creationId xmlns:a16="http://schemas.microsoft.com/office/drawing/2014/main" id="{0FE44318-625B-257F-2B79-F3B884910410}"/>
                  </a:ext>
                </a:extLst>
              </p:cNvPr>
              <p:cNvSpPr/>
              <p:nvPr/>
            </p:nvSpPr>
            <p:spPr>
              <a:xfrm>
                <a:off x="4498361" y="3711900"/>
                <a:ext cx="30821" cy="27813"/>
              </a:xfrm>
              <a:custGeom>
                <a:avLst/>
                <a:gdLst>
                  <a:gd name="connsiteX0" fmla="*/ 31105 w 30821"/>
                  <a:gd name="connsiteY0" fmla="*/ 14067 h 27813"/>
                  <a:gd name="connsiteX1" fmla="*/ 15694 w 30821"/>
                  <a:gd name="connsiteY1" fmla="*/ 27974 h 27813"/>
                  <a:gd name="connsiteX2" fmla="*/ 283 w 30821"/>
                  <a:gd name="connsiteY2" fmla="*/ 14067 h 27813"/>
                  <a:gd name="connsiteX3" fmla="*/ 15694 w 30821"/>
                  <a:gd name="connsiteY3" fmla="*/ 161 h 27813"/>
                  <a:gd name="connsiteX4" fmla="*/ 31105 w 30821"/>
                  <a:gd name="connsiteY4" fmla="*/ 14067 h 27813"/>
                  <a:gd name="connsiteX5" fmla="*/ 31105 w 30821"/>
                  <a:gd name="connsiteY5" fmla="*/ 1406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05" y="14067"/>
                    </a:moveTo>
                    <a:cubicBezTo>
                      <a:pt x="31105" y="21782"/>
                      <a:pt x="24244" y="27974"/>
                      <a:pt x="15694" y="27974"/>
                    </a:cubicBezTo>
                    <a:cubicBezTo>
                      <a:pt x="7144" y="27974"/>
                      <a:pt x="283" y="21782"/>
                      <a:pt x="283" y="14067"/>
                    </a:cubicBezTo>
                    <a:cubicBezTo>
                      <a:pt x="283" y="6352"/>
                      <a:pt x="7144" y="161"/>
                      <a:pt x="15694" y="161"/>
                    </a:cubicBezTo>
                    <a:cubicBezTo>
                      <a:pt x="24244" y="161"/>
                      <a:pt x="31105" y="6352"/>
                      <a:pt x="31105" y="14067"/>
                    </a:cubicBezTo>
                    <a:lnTo>
                      <a:pt x="31105" y="1406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2" name="Freeform: Shape 41">
                <a:extLst>
                  <a:ext uri="{FF2B5EF4-FFF2-40B4-BE49-F238E27FC236}">
                    <a16:creationId xmlns:a16="http://schemas.microsoft.com/office/drawing/2014/main" id="{3095DF51-A7E1-07A9-9F5E-FC7E04C995DE}"/>
                  </a:ext>
                </a:extLst>
              </p:cNvPr>
              <p:cNvSpPr/>
              <p:nvPr/>
            </p:nvSpPr>
            <p:spPr>
              <a:xfrm>
                <a:off x="4530027" y="3711900"/>
                <a:ext cx="30821" cy="27813"/>
              </a:xfrm>
              <a:custGeom>
                <a:avLst/>
                <a:gdLst>
                  <a:gd name="connsiteX0" fmla="*/ 31108 w 30821"/>
                  <a:gd name="connsiteY0" fmla="*/ 14067 h 27813"/>
                  <a:gd name="connsiteX1" fmla="*/ 15697 w 30821"/>
                  <a:gd name="connsiteY1" fmla="*/ 27974 h 27813"/>
                  <a:gd name="connsiteX2" fmla="*/ 286 w 30821"/>
                  <a:gd name="connsiteY2" fmla="*/ 14067 h 27813"/>
                  <a:gd name="connsiteX3" fmla="*/ 15697 w 30821"/>
                  <a:gd name="connsiteY3" fmla="*/ 161 h 27813"/>
                  <a:gd name="connsiteX4" fmla="*/ 31108 w 30821"/>
                  <a:gd name="connsiteY4" fmla="*/ 14067 h 27813"/>
                  <a:gd name="connsiteX5" fmla="*/ 31108 w 30821"/>
                  <a:gd name="connsiteY5" fmla="*/ 1406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08" y="14067"/>
                    </a:moveTo>
                    <a:cubicBezTo>
                      <a:pt x="31108" y="21782"/>
                      <a:pt x="24247" y="27974"/>
                      <a:pt x="15697" y="27974"/>
                    </a:cubicBezTo>
                    <a:cubicBezTo>
                      <a:pt x="7147" y="27974"/>
                      <a:pt x="286" y="21782"/>
                      <a:pt x="286" y="14067"/>
                    </a:cubicBezTo>
                    <a:cubicBezTo>
                      <a:pt x="286" y="6352"/>
                      <a:pt x="7147" y="161"/>
                      <a:pt x="15697" y="161"/>
                    </a:cubicBezTo>
                    <a:cubicBezTo>
                      <a:pt x="24247" y="161"/>
                      <a:pt x="31108" y="6352"/>
                      <a:pt x="31108" y="14067"/>
                    </a:cubicBezTo>
                    <a:lnTo>
                      <a:pt x="31108" y="1406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3" name="Freeform: Shape 42">
                <a:extLst>
                  <a:ext uri="{FF2B5EF4-FFF2-40B4-BE49-F238E27FC236}">
                    <a16:creationId xmlns:a16="http://schemas.microsoft.com/office/drawing/2014/main" id="{B2EFB682-7F42-01EC-93E9-E88815540F7E}"/>
                  </a:ext>
                </a:extLst>
              </p:cNvPr>
              <p:cNvSpPr/>
              <p:nvPr/>
            </p:nvSpPr>
            <p:spPr>
              <a:xfrm>
                <a:off x="4561693" y="3730950"/>
                <a:ext cx="30821" cy="27813"/>
              </a:xfrm>
              <a:custGeom>
                <a:avLst/>
                <a:gdLst>
                  <a:gd name="connsiteX0" fmla="*/ 31111 w 30821"/>
                  <a:gd name="connsiteY0" fmla="*/ 14069 h 27813"/>
                  <a:gd name="connsiteX1" fmla="*/ 15700 w 30821"/>
                  <a:gd name="connsiteY1" fmla="*/ 27976 h 27813"/>
                  <a:gd name="connsiteX2" fmla="*/ 289 w 30821"/>
                  <a:gd name="connsiteY2" fmla="*/ 14069 h 27813"/>
                  <a:gd name="connsiteX3" fmla="*/ 15700 w 30821"/>
                  <a:gd name="connsiteY3" fmla="*/ 163 h 27813"/>
                  <a:gd name="connsiteX4" fmla="*/ 31111 w 30821"/>
                  <a:gd name="connsiteY4" fmla="*/ 14069 h 27813"/>
                  <a:gd name="connsiteX5" fmla="*/ 31111 w 30821"/>
                  <a:gd name="connsiteY5" fmla="*/ 1406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11" y="14069"/>
                    </a:moveTo>
                    <a:cubicBezTo>
                      <a:pt x="31111" y="21784"/>
                      <a:pt x="24250" y="27976"/>
                      <a:pt x="15700" y="27976"/>
                    </a:cubicBezTo>
                    <a:cubicBezTo>
                      <a:pt x="7150" y="27976"/>
                      <a:pt x="289" y="21784"/>
                      <a:pt x="289" y="14069"/>
                    </a:cubicBezTo>
                    <a:cubicBezTo>
                      <a:pt x="289" y="6354"/>
                      <a:pt x="7150" y="163"/>
                      <a:pt x="15700" y="163"/>
                    </a:cubicBezTo>
                    <a:cubicBezTo>
                      <a:pt x="24250" y="163"/>
                      <a:pt x="31111" y="6354"/>
                      <a:pt x="31111" y="14069"/>
                    </a:cubicBezTo>
                    <a:lnTo>
                      <a:pt x="31111" y="14069"/>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4" name="Freeform: Shape 43">
                <a:extLst>
                  <a:ext uri="{FF2B5EF4-FFF2-40B4-BE49-F238E27FC236}">
                    <a16:creationId xmlns:a16="http://schemas.microsoft.com/office/drawing/2014/main" id="{9FBE1B7F-0818-0546-2F33-156D5A0E4E10}"/>
                  </a:ext>
                </a:extLst>
              </p:cNvPr>
              <p:cNvSpPr/>
              <p:nvPr/>
            </p:nvSpPr>
            <p:spPr>
              <a:xfrm>
                <a:off x="4603914" y="3740475"/>
                <a:ext cx="30821" cy="27813"/>
              </a:xfrm>
              <a:custGeom>
                <a:avLst/>
                <a:gdLst>
                  <a:gd name="connsiteX0" fmla="*/ 31115 w 30821"/>
                  <a:gd name="connsiteY0" fmla="*/ 14070 h 27813"/>
                  <a:gd name="connsiteX1" fmla="*/ 15704 w 30821"/>
                  <a:gd name="connsiteY1" fmla="*/ 27977 h 27813"/>
                  <a:gd name="connsiteX2" fmla="*/ 293 w 30821"/>
                  <a:gd name="connsiteY2" fmla="*/ 14070 h 27813"/>
                  <a:gd name="connsiteX3" fmla="*/ 15704 w 30821"/>
                  <a:gd name="connsiteY3" fmla="*/ 164 h 27813"/>
                  <a:gd name="connsiteX4" fmla="*/ 31115 w 30821"/>
                  <a:gd name="connsiteY4" fmla="*/ 14070 h 27813"/>
                  <a:gd name="connsiteX5" fmla="*/ 31115 w 30821"/>
                  <a:gd name="connsiteY5" fmla="*/ 1407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15" y="14070"/>
                    </a:moveTo>
                    <a:cubicBezTo>
                      <a:pt x="31115" y="21785"/>
                      <a:pt x="24254" y="27977"/>
                      <a:pt x="15704" y="27977"/>
                    </a:cubicBezTo>
                    <a:cubicBezTo>
                      <a:pt x="7154" y="27977"/>
                      <a:pt x="293" y="21785"/>
                      <a:pt x="293" y="14070"/>
                    </a:cubicBezTo>
                    <a:cubicBezTo>
                      <a:pt x="293" y="6355"/>
                      <a:pt x="7154" y="164"/>
                      <a:pt x="15704" y="164"/>
                    </a:cubicBezTo>
                    <a:cubicBezTo>
                      <a:pt x="24254" y="164"/>
                      <a:pt x="31115" y="6355"/>
                      <a:pt x="31115" y="14070"/>
                    </a:cubicBezTo>
                    <a:lnTo>
                      <a:pt x="31115" y="1407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5" name="Freeform: Shape 44">
                <a:extLst>
                  <a:ext uri="{FF2B5EF4-FFF2-40B4-BE49-F238E27FC236}">
                    <a16:creationId xmlns:a16="http://schemas.microsoft.com/office/drawing/2014/main" id="{88D95B1A-14EF-2E26-DEC4-71F12A27B930}"/>
                  </a:ext>
                </a:extLst>
              </p:cNvPr>
              <p:cNvSpPr/>
              <p:nvPr/>
            </p:nvSpPr>
            <p:spPr>
              <a:xfrm>
                <a:off x="4635579" y="3750000"/>
                <a:ext cx="30821" cy="27813"/>
              </a:xfrm>
              <a:custGeom>
                <a:avLst/>
                <a:gdLst>
                  <a:gd name="connsiteX0" fmla="*/ 31118 w 30821"/>
                  <a:gd name="connsiteY0" fmla="*/ 14071 h 27813"/>
                  <a:gd name="connsiteX1" fmla="*/ 15707 w 30821"/>
                  <a:gd name="connsiteY1" fmla="*/ 27978 h 27813"/>
                  <a:gd name="connsiteX2" fmla="*/ 296 w 30821"/>
                  <a:gd name="connsiteY2" fmla="*/ 14071 h 27813"/>
                  <a:gd name="connsiteX3" fmla="*/ 15707 w 30821"/>
                  <a:gd name="connsiteY3" fmla="*/ 165 h 27813"/>
                  <a:gd name="connsiteX4" fmla="*/ 31118 w 30821"/>
                  <a:gd name="connsiteY4" fmla="*/ 14071 h 27813"/>
                  <a:gd name="connsiteX5" fmla="*/ 31118 w 30821"/>
                  <a:gd name="connsiteY5" fmla="*/ 1407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18" y="14071"/>
                    </a:moveTo>
                    <a:cubicBezTo>
                      <a:pt x="31118" y="21786"/>
                      <a:pt x="24257" y="27978"/>
                      <a:pt x="15707" y="27978"/>
                    </a:cubicBezTo>
                    <a:cubicBezTo>
                      <a:pt x="7157" y="27978"/>
                      <a:pt x="296" y="21786"/>
                      <a:pt x="296" y="14071"/>
                    </a:cubicBezTo>
                    <a:cubicBezTo>
                      <a:pt x="296" y="6356"/>
                      <a:pt x="7157" y="165"/>
                      <a:pt x="15707" y="165"/>
                    </a:cubicBezTo>
                    <a:cubicBezTo>
                      <a:pt x="24257" y="165"/>
                      <a:pt x="31118" y="6356"/>
                      <a:pt x="31118" y="14071"/>
                    </a:cubicBezTo>
                    <a:lnTo>
                      <a:pt x="31118" y="14071"/>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6" name="Freeform: Shape 45">
                <a:extLst>
                  <a:ext uri="{FF2B5EF4-FFF2-40B4-BE49-F238E27FC236}">
                    <a16:creationId xmlns:a16="http://schemas.microsoft.com/office/drawing/2014/main" id="{A6CFD4F2-AE0A-C827-7AE8-E2FFA497A7FE}"/>
                  </a:ext>
                </a:extLst>
              </p:cNvPr>
              <p:cNvSpPr/>
              <p:nvPr/>
            </p:nvSpPr>
            <p:spPr>
              <a:xfrm>
                <a:off x="4667245" y="3759525"/>
                <a:ext cx="30821" cy="27813"/>
              </a:xfrm>
              <a:custGeom>
                <a:avLst/>
                <a:gdLst>
                  <a:gd name="connsiteX0" fmla="*/ 31121 w 30821"/>
                  <a:gd name="connsiteY0" fmla="*/ 14072 h 27813"/>
                  <a:gd name="connsiteX1" fmla="*/ 15710 w 30821"/>
                  <a:gd name="connsiteY1" fmla="*/ 27979 h 27813"/>
                  <a:gd name="connsiteX2" fmla="*/ 299 w 30821"/>
                  <a:gd name="connsiteY2" fmla="*/ 14072 h 27813"/>
                  <a:gd name="connsiteX3" fmla="*/ 15710 w 30821"/>
                  <a:gd name="connsiteY3" fmla="*/ 166 h 27813"/>
                  <a:gd name="connsiteX4" fmla="*/ 31121 w 30821"/>
                  <a:gd name="connsiteY4" fmla="*/ 14072 h 27813"/>
                  <a:gd name="connsiteX5" fmla="*/ 31121 w 30821"/>
                  <a:gd name="connsiteY5" fmla="*/ 1407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21" y="14072"/>
                    </a:moveTo>
                    <a:cubicBezTo>
                      <a:pt x="31121" y="21787"/>
                      <a:pt x="24260" y="27979"/>
                      <a:pt x="15710" y="27979"/>
                    </a:cubicBezTo>
                    <a:cubicBezTo>
                      <a:pt x="7160" y="27979"/>
                      <a:pt x="299" y="21787"/>
                      <a:pt x="299" y="14072"/>
                    </a:cubicBezTo>
                    <a:cubicBezTo>
                      <a:pt x="299" y="6357"/>
                      <a:pt x="7160" y="166"/>
                      <a:pt x="15710" y="166"/>
                    </a:cubicBezTo>
                    <a:cubicBezTo>
                      <a:pt x="24260" y="166"/>
                      <a:pt x="31121" y="6357"/>
                      <a:pt x="31121" y="14072"/>
                    </a:cubicBezTo>
                    <a:lnTo>
                      <a:pt x="31121" y="14072"/>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7" name="Freeform: Shape 46">
                <a:extLst>
                  <a:ext uri="{FF2B5EF4-FFF2-40B4-BE49-F238E27FC236}">
                    <a16:creationId xmlns:a16="http://schemas.microsoft.com/office/drawing/2014/main" id="{5E12E6CF-EAE1-560C-FD35-334E47F13230}"/>
                  </a:ext>
                </a:extLst>
              </p:cNvPr>
              <p:cNvSpPr/>
              <p:nvPr/>
            </p:nvSpPr>
            <p:spPr>
              <a:xfrm>
                <a:off x="4698911" y="3759525"/>
                <a:ext cx="30821" cy="27813"/>
              </a:xfrm>
              <a:custGeom>
                <a:avLst/>
                <a:gdLst>
                  <a:gd name="connsiteX0" fmla="*/ 31124 w 30821"/>
                  <a:gd name="connsiteY0" fmla="*/ 14072 h 27813"/>
                  <a:gd name="connsiteX1" fmla="*/ 15713 w 30821"/>
                  <a:gd name="connsiteY1" fmla="*/ 27979 h 27813"/>
                  <a:gd name="connsiteX2" fmla="*/ 302 w 30821"/>
                  <a:gd name="connsiteY2" fmla="*/ 14072 h 27813"/>
                  <a:gd name="connsiteX3" fmla="*/ 15713 w 30821"/>
                  <a:gd name="connsiteY3" fmla="*/ 166 h 27813"/>
                  <a:gd name="connsiteX4" fmla="*/ 31124 w 30821"/>
                  <a:gd name="connsiteY4" fmla="*/ 14072 h 27813"/>
                  <a:gd name="connsiteX5" fmla="*/ 31124 w 30821"/>
                  <a:gd name="connsiteY5" fmla="*/ 1407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24" y="14072"/>
                    </a:moveTo>
                    <a:cubicBezTo>
                      <a:pt x="31124" y="21787"/>
                      <a:pt x="24263" y="27979"/>
                      <a:pt x="15713" y="27979"/>
                    </a:cubicBezTo>
                    <a:cubicBezTo>
                      <a:pt x="7163" y="27979"/>
                      <a:pt x="302" y="21787"/>
                      <a:pt x="302" y="14072"/>
                    </a:cubicBezTo>
                    <a:cubicBezTo>
                      <a:pt x="302" y="6357"/>
                      <a:pt x="7163" y="166"/>
                      <a:pt x="15713" y="166"/>
                    </a:cubicBezTo>
                    <a:cubicBezTo>
                      <a:pt x="24263" y="166"/>
                      <a:pt x="31124" y="6357"/>
                      <a:pt x="31124" y="14072"/>
                    </a:cubicBezTo>
                    <a:lnTo>
                      <a:pt x="31124" y="14072"/>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8" name="Freeform: Shape 47">
                <a:extLst>
                  <a:ext uri="{FF2B5EF4-FFF2-40B4-BE49-F238E27FC236}">
                    <a16:creationId xmlns:a16="http://schemas.microsoft.com/office/drawing/2014/main" id="{459E18D2-DE41-26A8-5D1A-ADF7AF2C4709}"/>
                  </a:ext>
                </a:extLst>
              </p:cNvPr>
              <p:cNvSpPr/>
              <p:nvPr/>
            </p:nvSpPr>
            <p:spPr>
              <a:xfrm>
                <a:off x="4730577" y="3759525"/>
                <a:ext cx="30821" cy="27813"/>
              </a:xfrm>
              <a:custGeom>
                <a:avLst/>
                <a:gdLst>
                  <a:gd name="connsiteX0" fmla="*/ 31127 w 30821"/>
                  <a:gd name="connsiteY0" fmla="*/ 14072 h 27813"/>
                  <a:gd name="connsiteX1" fmla="*/ 15716 w 30821"/>
                  <a:gd name="connsiteY1" fmla="*/ 27979 h 27813"/>
                  <a:gd name="connsiteX2" fmla="*/ 305 w 30821"/>
                  <a:gd name="connsiteY2" fmla="*/ 14072 h 27813"/>
                  <a:gd name="connsiteX3" fmla="*/ 15716 w 30821"/>
                  <a:gd name="connsiteY3" fmla="*/ 166 h 27813"/>
                  <a:gd name="connsiteX4" fmla="*/ 31127 w 30821"/>
                  <a:gd name="connsiteY4" fmla="*/ 14072 h 27813"/>
                  <a:gd name="connsiteX5" fmla="*/ 31127 w 30821"/>
                  <a:gd name="connsiteY5" fmla="*/ 1407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27" y="14072"/>
                    </a:moveTo>
                    <a:cubicBezTo>
                      <a:pt x="31127" y="21787"/>
                      <a:pt x="24266" y="27979"/>
                      <a:pt x="15716" y="27979"/>
                    </a:cubicBezTo>
                    <a:cubicBezTo>
                      <a:pt x="7166" y="27979"/>
                      <a:pt x="305" y="21787"/>
                      <a:pt x="305" y="14072"/>
                    </a:cubicBezTo>
                    <a:cubicBezTo>
                      <a:pt x="305" y="6357"/>
                      <a:pt x="7166" y="166"/>
                      <a:pt x="15716" y="166"/>
                    </a:cubicBezTo>
                    <a:cubicBezTo>
                      <a:pt x="24266" y="166"/>
                      <a:pt x="31127" y="6357"/>
                      <a:pt x="31127" y="14072"/>
                    </a:cubicBezTo>
                    <a:lnTo>
                      <a:pt x="31127" y="14072"/>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9" name="Freeform: Shape 48">
                <a:extLst>
                  <a:ext uri="{FF2B5EF4-FFF2-40B4-BE49-F238E27FC236}">
                    <a16:creationId xmlns:a16="http://schemas.microsoft.com/office/drawing/2014/main" id="{F0C8C828-71B5-7215-E14C-08DC4C12259C}"/>
                  </a:ext>
                </a:extLst>
              </p:cNvPr>
              <p:cNvSpPr/>
              <p:nvPr/>
            </p:nvSpPr>
            <p:spPr>
              <a:xfrm>
                <a:off x="4762242" y="3759525"/>
                <a:ext cx="30821" cy="27813"/>
              </a:xfrm>
              <a:custGeom>
                <a:avLst/>
                <a:gdLst>
                  <a:gd name="connsiteX0" fmla="*/ 31130 w 30821"/>
                  <a:gd name="connsiteY0" fmla="*/ 14072 h 27813"/>
                  <a:gd name="connsiteX1" fmla="*/ 15719 w 30821"/>
                  <a:gd name="connsiteY1" fmla="*/ 27979 h 27813"/>
                  <a:gd name="connsiteX2" fmla="*/ 308 w 30821"/>
                  <a:gd name="connsiteY2" fmla="*/ 14072 h 27813"/>
                  <a:gd name="connsiteX3" fmla="*/ 15719 w 30821"/>
                  <a:gd name="connsiteY3" fmla="*/ 166 h 27813"/>
                  <a:gd name="connsiteX4" fmla="*/ 31130 w 30821"/>
                  <a:gd name="connsiteY4" fmla="*/ 14072 h 27813"/>
                  <a:gd name="connsiteX5" fmla="*/ 31130 w 30821"/>
                  <a:gd name="connsiteY5" fmla="*/ 1407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30" y="14072"/>
                    </a:moveTo>
                    <a:cubicBezTo>
                      <a:pt x="31130" y="21787"/>
                      <a:pt x="24269" y="27979"/>
                      <a:pt x="15719" y="27979"/>
                    </a:cubicBezTo>
                    <a:cubicBezTo>
                      <a:pt x="7169" y="27979"/>
                      <a:pt x="308" y="21787"/>
                      <a:pt x="308" y="14072"/>
                    </a:cubicBezTo>
                    <a:cubicBezTo>
                      <a:pt x="308" y="6357"/>
                      <a:pt x="7169" y="166"/>
                      <a:pt x="15719" y="166"/>
                    </a:cubicBezTo>
                    <a:cubicBezTo>
                      <a:pt x="24269" y="166"/>
                      <a:pt x="31130" y="6357"/>
                      <a:pt x="31130" y="14072"/>
                    </a:cubicBezTo>
                    <a:lnTo>
                      <a:pt x="31130" y="14072"/>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0" name="Freeform: Shape 49">
                <a:extLst>
                  <a:ext uri="{FF2B5EF4-FFF2-40B4-BE49-F238E27FC236}">
                    <a16:creationId xmlns:a16="http://schemas.microsoft.com/office/drawing/2014/main" id="{92326C9B-609C-3E7C-F450-72FC383FA252}"/>
                  </a:ext>
                </a:extLst>
              </p:cNvPr>
              <p:cNvSpPr/>
              <p:nvPr/>
            </p:nvSpPr>
            <p:spPr>
              <a:xfrm>
                <a:off x="4793908" y="3759525"/>
                <a:ext cx="30821" cy="27813"/>
              </a:xfrm>
              <a:custGeom>
                <a:avLst/>
                <a:gdLst>
                  <a:gd name="connsiteX0" fmla="*/ 31133 w 30821"/>
                  <a:gd name="connsiteY0" fmla="*/ 14072 h 27813"/>
                  <a:gd name="connsiteX1" fmla="*/ 15722 w 30821"/>
                  <a:gd name="connsiteY1" fmla="*/ 27979 h 27813"/>
                  <a:gd name="connsiteX2" fmla="*/ 311 w 30821"/>
                  <a:gd name="connsiteY2" fmla="*/ 14072 h 27813"/>
                  <a:gd name="connsiteX3" fmla="*/ 15722 w 30821"/>
                  <a:gd name="connsiteY3" fmla="*/ 166 h 27813"/>
                  <a:gd name="connsiteX4" fmla="*/ 31133 w 30821"/>
                  <a:gd name="connsiteY4" fmla="*/ 14072 h 27813"/>
                  <a:gd name="connsiteX5" fmla="*/ 31133 w 30821"/>
                  <a:gd name="connsiteY5" fmla="*/ 1407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33" y="14072"/>
                    </a:moveTo>
                    <a:cubicBezTo>
                      <a:pt x="31133" y="21787"/>
                      <a:pt x="24272" y="27979"/>
                      <a:pt x="15722" y="27979"/>
                    </a:cubicBezTo>
                    <a:cubicBezTo>
                      <a:pt x="7172" y="27979"/>
                      <a:pt x="311" y="21787"/>
                      <a:pt x="311" y="14072"/>
                    </a:cubicBezTo>
                    <a:cubicBezTo>
                      <a:pt x="311" y="6357"/>
                      <a:pt x="7172" y="166"/>
                      <a:pt x="15722" y="166"/>
                    </a:cubicBezTo>
                    <a:cubicBezTo>
                      <a:pt x="24272" y="166"/>
                      <a:pt x="31133" y="6357"/>
                      <a:pt x="31133" y="14072"/>
                    </a:cubicBezTo>
                    <a:lnTo>
                      <a:pt x="31133" y="14072"/>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1" name="Freeform: Shape 50">
                <a:extLst>
                  <a:ext uri="{FF2B5EF4-FFF2-40B4-BE49-F238E27FC236}">
                    <a16:creationId xmlns:a16="http://schemas.microsoft.com/office/drawing/2014/main" id="{BB786EF7-E38C-6078-5612-322401C94413}"/>
                  </a:ext>
                </a:extLst>
              </p:cNvPr>
              <p:cNvSpPr/>
              <p:nvPr/>
            </p:nvSpPr>
            <p:spPr>
              <a:xfrm>
                <a:off x="4825574" y="3763907"/>
                <a:ext cx="30821" cy="27813"/>
              </a:xfrm>
              <a:custGeom>
                <a:avLst/>
                <a:gdLst>
                  <a:gd name="connsiteX0" fmla="*/ 31136 w 30821"/>
                  <a:gd name="connsiteY0" fmla="*/ 14073 h 27813"/>
                  <a:gd name="connsiteX1" fmla="*/ 15725 w 30821"/>
                  <a:gd name="connsiteY1" fmla="*/ 27979 h 27813"/>
                  <a:gd name="connsiteX2" fmla="*/ 314 w 30821"/>
                  <a:gd name="connsiteY2" fmla="*/ 14073 h 27813"/>
                  <a:gd name="connsiteX3" fmla="*/ 15725 w 30821"/>
                  <a:gd name="connsiteY3" fmla="*/ 166 h 27813"/>
                  <a:gd name="connsiteX4" fmla="*/ 31136 w 30821"/>
                  <a:gd name="connsiteY4" fmla="*/ 14073 h 27813"/>
                  <a:gd name="connsiteX5" fmla="*/ 31136 w 30821"/>
                  <a:gd name="connsiteY5" fmla="*/ 1407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36" y="14073"/>
                    </a:moveTo>
                    <a:cubicBezTo>
                      <a:pt x="31136" y="21788"/>
                      <a:pt x="24275" y="27979"/>
                      <a:pt x="15725" y="27979"/>
                    </a:cubicBezTo>
                    <a:cubicBezTo>
                      <a:pt x="7175" y="27979"/>
                      <a:pt x="314" y="21788"/>
                      <a:pt x="314" y="14073"/>
                    </a:cubicBezTo>
                    <a:cubicBezTo>
                      <a:pt x="314" y="6357"/>
                      <a:pt x="7175" y="166"/>
                      <a:pt x="15725" y="166"/>
                    </a:cubicBezTo>
                    <a:cubicBezTo>
                      <a:pt x="24275" y="166"/>
                      <a:pt x="31136" y="6357"/>
                      <a:pt x="31136" y="14073"/>
                    </a:cubicBezTo>
                    <a:lnTo>
                      <a:pt x="31136" y="14073"/>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2" name="Freeform: Shape 51">
                <a:extLst>
                  <a:ext uri="{FF2B5EF4-FFF2-40B4-BE49-F238E27FC236}">
                    <a16:creationId xmlns:a16="http://schemas.microsoft.com/office/drawing/2014/main" id="{4EFEC563-38BA-2BBB-6FBF-D7EA0233E7A9}"/>
                  </a:ext>
                </a:extLst>
              </p:cNvPr>
              <p:cNvSpPr/>
              <p:nvPr/>
            </p:nvSpPr>
            <p:spPr>
              <a:xfrm>
                <a:off x="4857240" y="3768669"/>
                <a:ext cx="30821" cy="27813"/>
              </a:xfrm>
              <a:custGeom>
                <a:avLst/>
                <a:gdLst>
                  <a:gd name="connsiteX0" fmla="*/ 31139 w 30821"/>
                  <a:gd name="connsiteY0" fmla="*/ 14073 h 27813"/>
                  <a:gd name="connsiteX1" fmla="*/ 15728 w 30821"/>
                  <a:gd name="connsiteY1" fmla="*/ 27980 h 27813"/>
                  <a:gd name="connsiteX2" fmla="*/ 317 w 30821"/>
                  <a:gd name="connsiteY2" fmla="*/ 14073 h 27813"/>
                  <a:gd name="connsiteX3" fmla="*/ 15728 w 30821"/>
                  <a:gd name="connsiteY3" fmla="*/ 167 h 27813"/>
                  <a:gd name="connsiteX4" fmla="*/ 31139 w 30821"/>
                  <a:gd name="connsiteY4" fmla="*/ 14073 h 27813"/>
                  <a:gd name="connsiteX5" fmla="*/ 31139 w 30821"/>
                  <a:gd name="connsiteY5" fmla="*/ 1407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39" y="14073"/>
                    </a:moveTo>
                    <a:cubicBezTo>
                      <a:pt x="31139" y="21788"/>
                      <a:pt x="24278" y="27980"/>
                      <a:pt x="15728" y="27980"/>
                    </a:cubicBezTo>
                    <a:cubicBezTo>
                      <a:pt x="7178" y="27980"/>
                      <a:pt x="317" y="21788"/>
                      <a:pt x="317" y="14073"/>
                    </a:cubicBezTo>
                    <a:cubicBezTo>
                      <a:pt x="317" y="6358"/>
                      <a:pt x="7178" y="167"/>
                      <a:pt x="15728" y="167"/>
                    </a:cubicBezTo>
                    <a:cubicBezTo>
                      <a:pt x="24278" y="167"/>
                      <a:pt x="31139" y="6358"/>
                      <a:pt x="31139" y="14073"/>
                    </a:cubicBezTo>
                    <a:lnTo>
                      <a:pt x="31139" y="14073"/>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3" name="Freeform: Shape 52">
                <a:extLst>
                  <a:ext uri="{FF2B5EF4-FFF2-40B4-BE49-F238E27FC236}">
                    <a16:creationId xmlns:a16="http://schemas.microsoft.com/office/drawing/2014/main" id="{6B08F0A1-F731-1AE2-D273-9FC5B961ABC7}"/>
                  </a:ext>
                </a:extLst>
              </p:cNvPr>
              <p:cNvSpPr/>
              <p:nvPr/>
            </p:nvSpPr>
            <p:spPr>
              <a:xfrm>
                <a:off x="4888906" y="3778575"/>
                <a:ext cx="30821" cy="27813"/>
              </a:xfrm>
              <a:custGeom>
                <a:avLst/>
                <a:gdLst>
                  <a:gd name="connsiteX0" fmla="*/ 31142 w 30821"/>
                  <a:gd name="connsiteY0" fmla="*/ 14074 h 27813"/>
                  <a:gd name="connsiteX1" fmla="*/ 15731 w 30821"/>
                  <a:gd name="connsiteY1" fmla="*/ 27981 h 27813"/>
                  <a:gd name="connsiteX2" fmla="*/ 320 w 30821"/>
                  <a:gd name="connsiteY2" fmla="*/ 14074 h 27813"/>
                  <a:gd name="connsiteX3" fmla="*/ 15731 w 30821"/>
                  <a:gd name="connsiteY3" fmla="*/ 168 h 27813"/>
                  <a:gd name="connsiteX4" fmla="*/ 31142 w 30821"/>
                  <a:gd name="connsiteY4" fmla="*/ 14074 h 27813"/>
                  <a:gd name="connsiteX5" fmla="*/ 31142 w 30821"/>
                  <a:gd name="connsiteY5" fmla="*/ 1407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42" y="14074"/>
                    </a:moveTo>
                    <a:cubicBezTo>
                      <a:pt x="31142" y="21789"/>
                      <a:pt x="24281" y="27981"/>
                      <a:pt x="15731" y="27981"/>
                    </a:cubicBezTo>
                    <a:cubicBezTo>
                      <a:pt x="7181" y="27981"/>
                      <a:pt x="320" y="21789"/>
                      <a:pt x="320" y="14074"/>
                    </a:cubicBezTo>
                    <a:cubicBezTo>
                      <a:pt x="320" y="6359"/>
                      <a:pt x="7181" y="168"/>
                      <a:pt x="15731" y="168"/>
                    </a:cubicBezTo>
                    <a:cubicBezTo>
                      <a:pt x="24281" y="168"/>
                      <a:pt x="31142" y="6359"/>
                      <a:pt x="31142" y="14074"/>
                    </a:cubicBezTo>
                    <a:lnTo>
                      <a:pt x="31142" y="14074"/>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4" name="Freeform: Shape 53">
                <a:extLst>
                  <a:ext uri="{FF2B5EF4-FFF2-40B4-BE49-F238E27FC236}">
                    <a16:creationId xmlns:a16="http://schemas.microsoft.com/office/drawing/2014/main" id="{8399ACE2-E89F-6C0A-D909-E663AF959A02}"/>
                  </a:ext>
                </a:extLst>
              </p:cNvPr>
              <p:cNvSpPr/>
              <p:nvPr/>
            </p:nvSpPr>
            <p:spPr>
              <a:xfrm>
                <a:off x="4920571" y="3788100"/>
                <a:ext cx="30821" cy="27813"/>
              </a:xfrm>
              <a:custGeom>
                <a:avLst/>
                <a:gdLst>
                  <a:gd name="connsiteX0" fmla="*/ 31145 w 30821"/>
                  <a:gd name="connsiteY0" fmla="*/ 14075 h 27813"/>
                  <a:gd name="connsiteX1" fmla="*/ 15734 w 30821"/>
                  <a:gd name="connsiteY1" fmla="*/ 27982 h 27813"/>
                  <a:gd name="connsiteX2" fmla="*/ 323 w 30821"/>
                  <a:gd name="connsiteY2" fmla="*/ 14075 h 27813"/>
                  <a:gd name="connsiteX3" fmla="*/ 15734 w 30821"/>
                  <a:gd name="connsiteY3" fmla="*/ 169 h 27813"/>
                  <a:gd name="connsiteX4" fmla="*/ 31145 w 30821"/>
                  <a:gd name="connsiteY4" fmla="*/ 14075 h 27813"/>
                  <a:gd name="connsiteX5" fmla="*/ 31145 w 30821"/>
                  <a:gd name="connsiteY5" fmla="*/ 14075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45" y="14075"/>
                    </a:moveTo>
                    <a:cubicBezTo>
                      <a:pt x="31145" y="21790"/>
                      <a:pt x="24284" y="27982"/>
                      <a:pt x="15734" y="27982"/>
                    </a:cubicBezTo>
                    <a:cubicBezTo>
                      <a:pt x="7184" y="27982"/>
                      <a:pt x="323" y="21790"/>
                      <a:pt x="323" y="14075"/>
                    </a:cubicBezTo>
                    <a:cubicBezTo>
                      <a:pt x="323" y="6360"/>
                      <a:pt x="7184" y="169"/>
                      <a:pt x="15734" y="169"/>
                    </a:cubicBezTo>
                    <a:cubicBezTo>
                      <a:pt x="24284" y="169"/>
                      <a:pt x="31145" y="6360"/>
                      <a:pt x="31145" y="14075"/>
                    </a:cubicBezTo>
                    <a:lnTo>
                      <a:pt x="31145" y="14075"/>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5" name="Freeform: Shape 54">
                <a:extLst>
                  <a:ext uri="{FF2B5EF4-FFF2-40B4-BE49-F238E27FC236}">
                    <a16:creationId xmlns:a16="http://schemas.microsoft.com/office/drawing/2014/main" id="{A0D9F438-79E2-699A-1D4F-CCCB8D6A664A}"/>
                  </a:ext>
                </a:extLst>
              </p:cNvPr>
              <p:cNvSpPr/>
              <p:nvPr/>
            </p:nvSpPr>
            <p:spPr>
              <a:xfrm>
                <a:off x="4941787" y="3797625"/>
                <a:ext cx="30821" cy="27813"/>
              </a:xfrm>
              <a:custGeom>
                <a:avLst/>
                <a:gdLst>
                  <a:gd name="connsiteX0" fmla="*/ 31147 w 30821"/>
                  <a:gd name="connsiteY0" fmla="*/ 14076 h 27813"/>
                  <a:gd name="connsiteX1" fmla="*/ 15736 w 30821"/>
                  <a:gd name="connsiteY1" fmla="*/ 27983 h 27813"/>
                  <a:gd name="connsiteX2" fmla="*/ 325 w 30821"/>
                  <a:gd name="connsiteY2" fmla="*/ 14076 h 27813"/>
                  <a:gd name="connsiteX3" fmla="*/ 15736 w 30821"/>
                  <a:gd name="connsiteY3" fmla="*/ 170 h 27813"/>
                  <a:gd name="connsiteX4" fmla="*/ 31147 w 30821"/>
                  <a:gd name="connsiteY4" fmla="*/ 14076 h 27813"/>
                  <a:gd name="connsiteX5" fmla="*/ 31147 w 30821"/>
                  <a:gd name="connsiteY5" fmla="*/ 14076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47" y="14076"/>
                    </a:moveTo>
                    <a:cubicBezTo>
                      <a:pt x="31147" y="21791"/>
                      <a:pt x="24286" y="27983"/>
                      <a:pt x="15736" y="27983"/>
                    </a:cubicBezTo>
                    <a:cubicBezTo>
                      <a:pt x="7186" y="27983"/>
                      <a:pt x="325" y="21791"/>
                      <a:pt x="325" y="14076"/>
                    </a:cubicBezTo>
                    <a:cubicBezTo>
                      <a:pt x="325" y="6361"/>
                      <a:pt x="7186" y="170"/>
                      <a:pt x="15736" y="170"/>
                    </a:cubicBezTo>
                    <a:cubicBezTo>
                      <a:pt x="24286" y="170"/>
                      <a:pt x="31147" y="6361"/>
                      <a:pt x="31147" y="14076"/>
                    </a:cubicBezTo>
                    <a:lnTo>
                      <a:pt x="31147" y="14076"/>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6" name="Freeform: Shape 55">
                <a:extLst>
                  <a:ext uri="{FF2B5EF4-FFF2-40B4-BE49-F238E27FC236}">
                    <a16:creationId xmlns:a16="http://schemas.microsoft.com/office/drawing/2014/main" id="{86A4FB7A-1998-D01C-F787-FE398AA28DD6}"/>
                  </a:ext>
                </a:extLst>
              </p:cNvPr>
              <p:cNvSpPr/>
              <p:nvPr/>
            </p:nvSpPr>
            <p:spPr>
              <a:xfrm>
                <a:off x="4973453" y="3807150"/>
                <a:ext cx="30821" cy="27813"/>
              </a:xfrm>
              <a:custGeom>
                <a:avLst/>
                <a:gdLst>
                  <a:gd name="connsiteX0" fmla="*/ 31150 w 30821"/>
                  <a:gd name="connsiteY0" fmla="*/ 14077 h 27813"/>
                  <a:gd name="connsiteX1" fmla="*/ 15739 w 30821"/>
                  <a:gd name="connsiteY1" fmla="*/ 27984 h 27813"/>
                  <a:gd name="connsiteX2" fmla="*/ 328 w 30821"/>
                  <a:gd name="connsiteY2" fmla="*/ 14077 h 27813"/>
                  <a:gd name="connsiteX3" fmla="*/ 15739 w 30821"/>
                  <a:gd name="connsiteY3" fmla="*/ 171 h 27813"/>
                  <a:gd name="connsiteX4" fmla="*/ 31150 w 30821"/>
                  <a:gd name="connsiteY4" fmla="*/ 14077 h 27813"/>
                  <a:gd name="connsiteX5" fmla="*/ 31150 w 30821"/>
                  <a:gd name="connsiteY5" fmla="*/ 1407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50" y="14077"/>
                    </a:moveTo>
                    <a:cubicBezTo>
                      <a:pt x="31150" y="21792"/>
                      <a:pt x="24289" y="27984"/>
                      <a:pt x="15739" y="27984"/>
                    </a:cubicBezTo>
                    <a:cubicBezTo>
                      <a:pt x="7189" y="27984"/>
                      <a:pt x="328" y="21792"/>
                      <a:pt x="328" y="14077"/>
                    </a:cubicBezTo>
                    <a:cubicBezTo>
                      <a:pt x="328" y="6362"/>
                      <a:pt x="7189" y="171"/>
                      <a:pt x="15739" y="171"/>
                    </a:cubicBezTo>
                    <a:cubicBezTo>
                      <a:pt x="24289" y="171"/>
                      <a:pt x="31150" y="6362"/>
                      <a:pt x="31150" y="14077"/>
                    </a:cubicBezTo>
                    <a:lnTo>
                      <a:pt x="31150" y="1407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7" name="Freeform: Shape 56">
                <a:extLst>
                  <a:ext uri="{FF2B5EF4-FFF2-40B4-BE49-F238E27FC236}">
                    <a16:creationId xmlns:a16="http://schemas.microsoft.com/office/drawing/2014/main" id="{D14D678A-8653-2F25-B140-5AED49057412}"/>
                  </a:ext>
                </a:extLst>
              </p:cNvPr>
              <p:cNvSpPr/>
              <p:nvPr/>
            </p:nvSpPr>
            <p:spPr>
              <a:xfrm>
                <a:off x="5009658" y="3813056"/>
                <a:ext cx="30821" cy="27813"/>
              </a:xfrm>
              <a:custGeom>
                <a:avLst/>
                <a:gdLst>
                  <a:gd name="connsiteX0" fmla="*/ 31153 w 30821"/>
                  <a:gd name="connsiteY0" fmla="*/ 14078 h 27813"/>
                  <a:gd name="connsiteX1" fmla="*/ 15743 w 30821"/>
                  <a:gd name="connsiteY1" fmla="*/ 27984 h 27813"/>
                  <a:gd name="connsiteX2" fmla="*/ 332 w 30821"/>
                  <a:gd name="connsiteY2" fmla="*/ 14078 h 27813"/>
                  <a:gd name="connsiteX3" fmla="*/ 15743 w 30821"/>
                  <a:gd name="connsiteY3" fmla="*/ 171 h 27813"/>
                  <a:gd name="connsiteX4" fmla="*/ 31153 w 30821"/>
                  <a:gd name="connsiteY4" fmla="*/ 14078 h 27813"/>
                  <a:gd name="connsiteX5" fmla="*/ 31153 w 30821"/>
                  <a:gd name="connsiteY5" fmla="*/ 140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53" y="14078"/>
                    </a:moveTo>
                    <a:cubicBezTo>
                      <a:pt x="31153" y="21793"/>
                      <a:pt x="24292" y="27984"/>
                      <a:pt x="15743" y="27984"/>
                    </a:cubicBezTo>
                    <a:cubicBezTo>
                      <a:pt x="7193" y="27984"/>
                      <a:pt x="332" y="21793"/>
                      <a:pt x="332" y="14078"/>
                    </a:cubicBezTo>
                    <a:cubicBezTo>
                      <a:pt x="332" y="6362"/>
                      <a:pt x="7193" y="171"/>
                      <a:pt x="15743" y="171"/>
                    </a:cubicBezTo>
                    <a:cubicBezTo>
                      <a:pt x="24292" y="171"/>
                      <a:pt x="31153" y="6362"/>
                      <a:pt x="31153" y="14078"/>
                    </a:cubicBezTo>
                    <a:lnTo>
                      <a:pt x="31153" y="1407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8" name="Freeform: Shape 57">
                <a:extLst>
                  <a:ext uri="{FF2B5EF4-FFF2-40B4-BE49-F238E27FC236}">
                    <a16:creationId xmlns:a16="http://schemas.microsoft.com/office/drawing/2014/main" id="{CD414C50-C410-9D06-62D0-F6FFF9280D5F}"/>
                  </a:ext>
                </a:extLst>
              </p:cNvPr>
              <p:cNvSpPr/>
              <p:nvPr/>
            </p:nvSpPr>
            <p:spPr>
              <a:xfrm>
                <a:off x="5041323" y="3813056"/>
                <a:ext cx="30821" cy="27813"/>
              </a:xfrm>
              <a:custGeom>
                <a:avLst/>
                <a:gdLst>
                  <a:gd name="connsiteX0" fmla="*/ 31156 w 30821"/>
                  <a:gd name="connsiteY0" fmla="*/ 14078 h 27813"/>
                  <a:gd name="connsiteX1" fmla="*/ 15746 w 30821"/>
                  <a:gd name="connsiteY1" fmla="*/ 27984 h 27813"/>
                  <a:gd name="connsiteX2" fmla="*/ 335 w 30821"/>
                  <a:gd name="connsiteY2" fmla="*/ 14078 h 27813"/>
                  <a:gd name="connsiteX3" fmla="*/ 15746 w 30821"/>
                  <a:gd name="connsiteY3" fmla="*/ 171 h 27813"/>
                  <a:gd name="connsiteX4" fmla="*/ 31156 w 30821"/>
                  <a:gd name="connsiteY4" fmla="*/ 14078 h 27813"/>
                  <a:gd name="connsiteX5" fmla="*/ 31156 w 30821"/>
                  <a:gd name="connsiteY5" fmla="*/ 140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56" y="14078"/>
                    </a:moveTo>
                    <a:cubicBezTo>
                      <a:pt x="31156" y="21793"/>
                      <a:pt x="24295" y="27984"/>
                      <a:pt x="15746" y="27984"/>
                    </a:cubicBezTo>
                    <a:cubicBezTo>
                      <a:pt x="7196" y="27984"/>
                      <a:pt x="335" y="21793"/>
                      <a:pt x="335" y="14078"/>
                    </a:cubicBezTo>
                    <a:cubicBezTo>
                      <a:pt x="335" y="6362"/>
                      <a:pt x="7196" y="171"/>
                      <a:pt x="15746" y="171"/>
                    </a:cubicBezTo>
                    <a:cubicBezTo>
                      <a:pt x="24295" y="171"/>
                      <a:pt x="31156" y="6362"/>
                      <a:pt x="31156" y="14078"/>
                    </a:cubicBezTo>
                    <a:lnTo>
                      <a:pt x="31156" y="1407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9" name="Freeform: Shape 58">
                <a:extLst>
                  <a:ext uri="{FF2B5EF4-FFF2-40B4-BE49-F238E27FC236}">
                    <a16:creationId xmlns:a16="http://schemas.microsoft.com/office/drawing/2014/main" id="{134FADA0-C2B7-77AE-01B2-CD6C8145B1DD}"/>
                  </a:ext>
                </a:extLst>
              </p:cNvPr>
              <p:cNvSpPr/>
              <p:nvPr/>
            </p:nvSpPr>
            <p:spPr>
              <a:xfrm>
                <a:off x="5067712" y="3813056"/>
                <a:ext cx="30821" cy="27813"/>
              </a:xfrm>
              <a:custGeom>
                <a:avLst/>
                <a:gdLst>
                  <a:gd name="connsiteX0" fmla="*/ 31159 w 30821"/>
                  <a:gd name="connsiteY0" fmla="*/ 14078 h 27813"/>
                  <a:gd name="connsiteX1" fmla="*/ 15748 w 30821"/>
                  <a:gd name="connsiteY1" fmla="*/ 27984 h 27813"/>
                  <a:gd name="connsiteX2" fmla="*/ 337 w 30821"/>
                  <a:gd name="connsiteY2" fmla="*/ 14078 h 27813"/>
                  <a:gd name="connsiteX3" fmla="*/ 15748 w 30821"/>
                  <a:gd name="connsiteY3" fmla="*/ 171 h 27813"/>
                  <a:gd name="connsiteX4" fmla="*/ 31159 w 30821"/>
                  <a:gd name="connsiteY4" fmla="*/ 14078 h 27813"/>
                  <a:gd name="connsiteX5" fmla="*/ 31159 w 30821"/>
                  <a:gd name="connsiteY5" fmla="*/ 140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59" y="14078"/>
                    </a:moveTo>
                    <a:cubicBezTo>
                      <a:pt x="31159" y="21793"/>
                      <a:pt x="24298" y="27984"/>
                      <a:pt x="15748" y="27984"/>
                    </a:cubicBezTo>
                    <a:cubicBezTo>
                      <a:pt x="7198" y="27984"/>
                      <a:pt x="337" y="21793"/>
                      <a:pt x="337" y="14078"/>
                    </a:cubicBezTo>
                    <a:cubicBezTo>
                      <a:pt x="337" y="6362"/>
                      <a:pt x="7198" y="171"/>
                      <a:pt x="15748" y="171"/>
                    </a:cubicBezTo>
                    <a:cubicBezTo>
                      <a:pt x="24298" y="171"/>
                      <a:pt x="31159" y="6362"/>
                      <a:pt x="31159" y="14078"/>
                    </a:cubicBezTo>
                    <a:lnTo>
                      <a:pt x="31159" y="1407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0" name="Freeform: Shape 59">
                <a:extLst>
                  <a:ext uri="{FF2B5EF4-FFF2-40B4-BE49-F238E27FC236}">
                    <a16:creationId xmlns:a16="http://schemas.microsoft.com/office/drawing/2014/main" id="{6C3292D2-45B8-82B2-BAA1-D2D879BF4667}"/>
                  </a:ext>
                </a:extLst>
              </p:cNvPr>
              <p:cNvSpPr/>
              <p:nvPr/>
            </p:nvSpPr>
            <p:spPr>
              <a:xfrm>
                <a:off x="5112149" y="3813056"/>
                <a:ext cx="30821" cy="27813"/>
              </a:xfrm>
              <a:custGeom>
                <a:avLst/>
                <a:gdLst>
                  <a:gd name="connsiteX0" fmla="*/ 31163 w 30821"/>
                  <a:gd name="connsiteY0" fmla="*/ 14078 h 27813"/>
                  <a:gd name="connsiteX1" fmla="*/ 15752 w 30821"/>
                  <a:gd name="connsiteY1" fmla="*/ 27984 h 27813"/>
                  <a:gd name="connsiteX2" fmla="*/ 342 w 30821"/>
                  <a:gd name="connsiteY2" fmla="*/ 14078 h 27813"/>
                  <a:gd name="connsiteX3" fmla="*/ 15752 w 30821"/>
                  <a:gd name="connsiteY3" fmla="*/ 171 h 27813"/>
                  <a:gd name="connsiteX4" fmla="*/ 31163 w 30821"/>
                  <a:gd name="connsiteY4" fmla="*/ 14078 h 27813"/>
                  <a:gd name="connsiteX5" fmla="*/ 31163 w 30821"/>
                  <a:gd name="connsiteY5" fmla="*/ 140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63" y="14078"/>
                    </a:moveTo>
                    <a:cubicBezTo>
                      <a:pt x="31163" y="21793"/>
                      <a:pt x="24302" y="27984"/>
                      <a:pt x="15752" y="27984"/>
                    </a:cubicBezTo>
                    <a:cubicBezTo>
                      <a:pt x="7203" y="27984"/>
                      <a:pt x="342" y="21793"/>
                      <a:pt x="342" y="14078"/>
                    </a:cubicBezTo>
                    <a:cubicBezTo>
                      <a:pt x="342" y="6362"/>
                      <a:pt x="7203" y="171"/>
                      <a:pt x="15752" y="171"/>
                    </a:cubicBezTo>
                    <a:cubicBezTo>
                      <a:pt x="24302" y="171"/>
                      <a:pt x="31163" y="6362"/>
                      <a:pt x="31163" y="14078"/>
                    </a:cubicBezTo>
                    <a:lnTo>
                      <a:pt x="31163" y="1407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1" name="Freeform: Shape 60">
                <a:extLst>
                  <a:ext uri="{FF2B5EF4-FFF2-40B4-BE49-F238E27FC236}">
                    <a16:creationId xmlns:a16="http://schemas.microsoft.com/office/drawing/2014/main" id="{55CB7A74-B5EC-5038-073C-623EF277B13B}"/>
                  </a:ext>
                </a:extLst>
              </p:cNvPr>
              <p:cNvSpPr/>
              <p:nvPr/>
            </p:nvSpPr>
            <p:spPr>
              <a:xfrm>
                <a:off x="5143815" y="3813056"/>
                <a:ext cx="30821" cy="27813"/>
              </a:xfrm>
              <a:custGeom>
                <a:avLst/>
                <a:gdLst>
                  <a:gd name="connsiteX0" fmla="*/ 31166 w 30821"/>
                  <a:gd name="connsiteY0" fmla="*/ 14078 h 27813"/>
                  <a:gd name="connsiteX1" fmla="*/ 15755 w 30821"/>
                  <a:gd name="connsiteY1" fmla="*/ 27984 h 27813"/>
                  <a:gd name="connsiteX2" fmla="*/ 345 w 30821"/>
                  <a:gd name="connsiteY2" fmla="*/ 14078 h 27813"/>
                  <a:gd name="connsiteX3" fmla="*/ 15755 w 30821"/>
                  <a:gd name="connsiteY3" fmla="*/ 171 h 27813"/>
                  <a:gd name="connsiteX4" fmla="*/ 31166 w 30821"/>
                  <a:gd name="connsiteY4" fmla="*/ 14078 h 27813"/>
                  <a:gd name="connsiteX5" fmla="*/ 31166 w 30821"/>
                  <a:gd name="connsiteY5" fmla="*/ 140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66" y="14078"/>
                    </a:moveTo>
                    <a:cubicBezTo>
                      <a:pt x="31166" y="21793"/>
                      <a:pt x="24305" y="27984"/>
                      <a:pt x="15755" y="27984"/>
                    </a:cubicBezTo>
                    <a:cubicBezTo>
                      <a:pt x="7206" y="27984"/>
                      <a:pt x="345" y="21793"/>
                      <a:pt x="345" y="14078"/>
                    </a:cubicBezTo>
                    <a:cubicBezTo>
                      <a:pt x="345" y="6362"/>
                      <a:pt x="7206" y="171"/>
                      <a:pt x="15755" y="171"/>
                    </a:cubicBezTo>
                    <a:cubicBezTo>
                      <a:pt x="24305" y="171"/>
                      <a:pt x="31166" y="6362"/>
                      <a:pt x="31166" y="14078"/>
                    </a:cubicBezTo>
                    <a:lnTo>
                      <a:pt x="31166" y="1407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2" name="Freeform: Shape 61">
                <a:extLst>
                  <a:ext uri="{FF2B5EF4-FFF2-40B4-BE49-F238E27FC236}">
                    <a16:creationId xmlns:a16="http://schemas.microsoft.com/office/drawing/2014/main" id="{66FB8D2E-6BE1-C6A2-EC73-D553B805B46C}"/>
                  </a:ext>
                </a:extLst>
              </p:cNvPr>
              <p:cNvSpPr/>
              <p:nvPr/>
            </p:nvSpPr>
            <p:spPr>
              <a:xfrm>
                <a:off x="5175481" y="3813056"/>
                <a:ext cx="30821" cy="27813"/>
              </a:xfrm>
              <a:custGeom>
                <a:avLst/>
                <a:gdLst>
                  <a:gd name="connsiteX0" fmla="*/ 31169 w 30821"/>
                  <a:gd name="connsiteY0" fmla="*/ 14078 h 27813"/>
                  <a:gd name="connsiteX1" fmla="*/ 15758 w 30821"/>
                  <a:gd name="connsiteY1" fmla="*/ 27984 h 27813"/>
                  <a:gd name="connsiteX2" fmla="*/ 348 w 30821"/>
                  <a:gd name="connsiteY2" fmla="*/ 14078 h 27813"/>
                  <a:gd name="connsiteX3" fmla="*/ 15758 w 30821"/>
                  <a:gd name="connsiteY3" fmla="*/ 171 h 27813"/>
                  <a:gd name="connsiteX4" fmla="*/ 31169 w 30821"/>
                  <a:gd name="connsiteY4" fmla="*/ 14078 h 27813"/>
                  <a:gd name="connsiteX5" fmla="*/ 31169 w 30821"/>
                  <a:gd name="connsiteY5" fmla="*/ 140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69" y="14078"/>
                    </a:moveTo>
                    <a:cubicBezTo>
                      <a:pt x="31169" y="21793"/>
                      <a:pt x="24308" y="27984"/>
                      <a:pt x="15758" y="27984"/>
                    </a:cubicBezTo>
                    <a:cubicBezTo>
                      <a:pt x="7209" y="27984"/>
                      <a:pt x="348" y="21793"/>
                      <a:pt x="348" y="14078"/>
                    </a:cubicBezTo>
                    <a:cubicBezTo>
                      <a:pt x="348" y="6362"/>
                      <a:pt x="7209" y="171"/>
                      <a:pt x="15758" y="171"/>
                    </a:cubicBezTo>
                    <a:cubicBezTo>
                      <a:pt x="24308" y="171"/>
                      <a:pt x="31169" y="6362"/>
                      <a:pt x="31169" y="14078"/>
                    </a:cubicBezTo>
                    <a:lnTo>
                      <a:pt x="31169" y="1407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3" name="Freeform: Shape 62">
                <a:extLst>
                  <a:ext uri="{FF2B5EF4-FFF2-40B4-BE49-F238E27FC236}">
                    <a16:creationId xmlns:a16="http://schemas.microsoft.com/office/drawing/2014/main" id="{D6C1A3EA-7522-180D-522B-9C72F01B476F}"/>
                  </a:ext>
                </a:extLst>
              </p:cNvPr>
              <p:cNvSpPr/>
              <p:nvPr/>
            </p:nvSpPr>
            <p:spPr>
              <a:xfrm>
                <a:off x="5207147" y="3813056"/>
                <a:ext cx="30821" cy="27813"/>
              </a:xfrm>
              <a:custGeom>
                <a:avLst/>
                <a:gdLst>
                  <a:gd name="connsiteX0" fmla="*/ 31172 w 30821"/>
                  <a:gd name="connsiteY0" fmla="*/ 14078 h 27813"/>
                  <a:gd name="connsiteX1" fmla="*/ 15761 w 30821"/>
                  <a:gd name="connsiteY1" fmla="*/ 27984 h 27813"/>
                  <a:gd name="connsiteX2" fmla="*/ 351 w 30821"/>
                  <a:gd name="connsiteY2" fmla="*/ 14078 h 27813"/>
                  <a:gd name="connsiteX3" fmla="*/ 15761 w 30821"/>
                  <a:gd name="connsiteY3" fmla="*/ 171 h 27813"/>
                  <a:gd name="connsiteX4" fmla="*/ 31172 w 30821"/>
                  <a:gd name="connsiteY4" fmla="*/ 14078 h 27813"/>
                  <a:gd name="connsiteX5" fmla="*/ 31172 w 30821"/>
                  <a:gd name="connsiteY5" fmla="*/ 140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72" y="14078"/>
                    </a:moveTo>
                    <a:cubicBezTo>
                      <a:pt x="31172" y="21793"/>
                      <a:pt x="24311" y="27984"/>
                      <a:pt x="15761" y="27984"/>
                    </a:cubicBezTo>
                    <a:cubicBezTo>
                      <a:pt x="7212" y="27984"/>
                      <a:pt x="351" y="21793"/>
                      <a:pt x="351" y="14078"/>
                    </a:cubicBezTo>
                    <a:cubicBezTo>
                      <a:pt x="351" y="6362"/>
                      <a:pt x="7212" y="171"/>
                      <a:pt x="15761" y="171"/>
                    </a:cubicBezTo>
                    <a:cubicBezTo>
                      <a:pt x="24311" y="171"/>
                      <a:pt x="31172" y="6362"/>
                      <a:pt x="31172" y="14078"/>
                    </a:cubicBezTo>
                    <a:lnTo>
                      <a:pt x="31172" y="1407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4" name="Freeform: Shape 63">
                <a:extLst>
                  <a:ext uri="{FF2B5EF4-FFF2-40B4-BE49-F238E27FC236}">
                    <a16:creationId xmlns:a16="http://schemas.microsoft.com/office/drawing/2014/main" id="{4C13C4CB-7D27-80EC-77E4-9FA3D25E0452}"/>
                  </a:ext>
                </a:extLst>
              </p:cNvPr>
              <p:cNvSpPr/>
              <p:nvPr/>
            </p:nvSpPr>
            <p:spPr>
              <a:xfrm>
                <a:off x="5259923" y="3813056"/>
                <a:ext cx="30821" cy="27813"/>
              </a:xfrm>
              <a:custGeom>
                <a:avLst/>
                <a:gdLst>
                  <a:gd name="connsiteX0" fmla="*/ 31177 w 30821"/>
                  <a:gd name="connsiteY0" fmla="*/ 14078 h 27813"/>
                  <a:gd name="connsiteX1" fmla="*/ 15766 w 30821"/>
                  <a:gd name="connsiteY1" fmla="*/ 27984 h 27813"/>
                  <a:gd name="connsiteX2" fmla="*/ 356 w 30821"/>
                  <a:gd name="connsiteY2" fmla="*/ 14078 h 27813"/>
                  <a:gd name="connsiteX3" fmla="*/ 15766 w 30821"/>
                  <a:gd name="connsiteY3" fmla="*/ 171 h 27813"/>
                  <a:gd name="connsiteX4" fmla="*/ 31177 w 30821"/>
                  <a:gd name="connsiteY4" fmla="*/ 14078 h 27813"/>
                  <a:gd name="connsiteX5" fmla="*/ 31177 w 30821"/>
                  <a:gd name="connsiteY5" fmla="*/ 140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77" y="14078"/>
                    </a:moveTo>
                    <a:cubicBezTo>
                      <a:pt x="31177" y="21793"/>
                      <a:pt x="24316" y="27984"/>
                      <a:pt x="15766" y="27984"/>
                    </a:cubicBezTo>
                    <a:cubicBezTo>
                      <a:pt x="7217" y="27984"/>
                      <a:pt x="356" y="21793"/>
                      <a:pt x="356" y="14078"/>
                    </a:cubicBezTo>
                    <a:cubicBezTo>
                      <a:pt x="356" y="6362"/>
                      <a:pt x="7217" y="171"/>
                      <a:pt x="15766" y="171"/>
                    </a:cubicBezTo>
                    <a:cubicBezTo>
                      <a:pt x="24316" y="171"/>
                      <a:pt x="31177" y="6362"/>
                      <a:pt x="31177" y="14078"/>
                    </a:cubicBezTo>
                    <a:lnTo>
                      <a:pt x="31177" y="1407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5" name="Freeform: Shape 64">
                <a:extLst>
                  <a:ext uri="{FF2B5EF4-FFF2-40B4-BE49-F238E27FC236}">
                    <a16:creationId xmlns:a16="http://schemas.microsoft.com/office/drawing/2014/main" id="{733F1543-A18D-0D7F-D9BD-8FB5882D1C08}"/>
                  </a:ext>
                </a:extLst>
              </p:cNvPr>
              <p:cNvSpPr/>
              <p:nvPr/>
            </p:nvSpPr>
            <p:spPr>
              <a:xfrm>
                <a:off x="5291589" y="3813056"/>
                <a:ext cx="30821" cy="27813"/>
              </a:xfrm>
              <a:custGeom>
                <a:avLst/>
                <a:gdLst>
                  <a:gd name="connsiteX0" fmla="*/ 31180 w 30821"/>
                  <a:gd name="connsiteY0" fmla="*/ 14078 h 27813"/>
                  <a:gd name="connsiteX1" fmla="*/ 15769 w 30821"/>
                  <a:gd name="connsiteY1" fmla="*/ 27984 h 27813"/>
                  <a:gd name="connsiteX2" fmla="*/ 359 w 30821"/>
                  <a:gd name="connsiteY2" fmla="*/ 14078 h 27813"/>
                  <a:gd name="connsiteX3" fmla="*/ 15769 w 30821"/>
                  <a:gd name="connsiteY3" fmla="*/ 171 h 27813"/>
                  <a:gd name="connsiteX4" fmla="*/ 31180 w 30821"/>
                  <a:gd name="connsiteY4" fmla="*/ 14078 h 27813"/>
                  <a:gd name="connsiteX5" fmla="*/ 31180 w 30821"/>
                  <a:gd name="connsiteY5" fmla="*/ 140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80" y="14078"/>
                    </a:moveTo>
                    <a:cubicBezTo>
                      <a:pt x="31180" y="21793"/>
                      <a:pt x="24319" y="27984"/>
                      <a:pt x="15769" y="27984"/>
                    </a:cubicBezTo>
                    <a:cubicBezTo>
                      <a:pt x="7220" y="27984"/>
                      <a:pt x="359" y="21793"/>
                      <a:pt x="359" y="14078"/>
                    </a:cubicBezTo>
                    <a:cubicBezTo>
                      <a:pt x="359" y="6362"/>
                      <a:pt x="7220" y="171"/>
                      <a:pt x="15769" y="171"/>
                    </a:cubicBezTo>
                    <a:cubicBezTo>
                      <a:pt x="24319" y="171"/>
                      <a:pt x="31180" y="6362"/>
                      <a:pt x="31180" y="14078"/>
                    </a:cubicBezTo>
                    <a:lnTo>
                      <a:pt x="31180" y="1407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6" name="Freeform: Shape 65">
                <a:extLst>
                  <a:ext uri="{FF2B5EF4-FFF2-40B4-BE49-F238E27FC236}">
                    <a16:creationId xmlns:a16="http://schemas.microsoft.com/office/drawing/2014/main" id="{16A75030-0109-C2A8-3F7F-C0C8C4FE0239}"/>
                  </a:ext>
                </a:extLst>
              </p:cNvPr>
              <p:cNvSpPr/>
              <p:nvPr/>
            </p:nvSpPr>
            <p:spPr>
              <a:xfrm>
                <a:off x="5323254" y="3813056"/>
                <a:ext cx="30821" cy="27813"/>
              </a:xfrm>
              <a:custGeom>
                <a:avLst/>
                <a:gdLst>
                  <a:gd name="connsiteX0" fmla="*/ 31183 w 30821"/>
                  <a:gd name="connsiteY0" fmla="*/ 14078 h 27813"/>
                  <a:gd name="connsiteX1" fmla="*/ 15772 w 30821"/>
                  <a:gd name="connsiteY1" fmla="*/ 27984 h 27813"/>
                  <a:gd name="connsiteX2" fmla="*/ 362 w 30821"/>
                  <a:gd name="connsiteY2" fmla="*/ 14078 h 27813"/>
                  <a:gd name="connsiteX3" fmla="*/ 15772 w 30821"/>
                  <a:gd name="connsiteY3" fmla="*/ 171 h 27813"/>
                  <a:gd name="connsiteX4" fmla="*/ 31183 w 30821"/>
                  <a:gd name="connsiteY4" fmla="*/ 14078 h 27813"/>
                  <a:gd name="connsiteX5" fmla="*/ 31183 w 30821"/>
                  <a:gd name="connsiteY5" fmla="*/ 140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83" y="14078"/>
                    </a:moveTo>
                    <a:cubicBezTo>
                      <a:pt x="31183" y="21793"/>
                      <a:pt x="24322" y="27984"/>
                      <a:pt x="15772" y="27984"/>
                    </a:cubicBezTo>
                    <a:cubicBezTo>
                      <a:pt x="7223" y="27984"/>
                      <a:pt x="362" y="21793"/>
                      <a:pt x="362" y="14078"/>
                    </a:cubicBezTo>
                    <a:cubicBezTo>
                      <a:pt x="362" y="6362"/>
                      <a:pt x="7223" y="171"/>
                      <a:pt x="15772" y="171"/>
                    </a:cubicBezTo>
                    <a:cubicBezTo>
                      <a:pt x="24322" y="171"/>
                      <a:pt x="31183" y="6362"/>
                      <a:pt x="31183" y="14078"/>
                    </a:cubicBezTo>
                    <a:lnTo>
                      <a:pt x="31183" y="1407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7" name="Freeform: Shape 66">
                <a:extLst>
                  <a:ext uri="{FF2B5EF4-FFF2-40B4-BE49-F238E27FC236}">
                    <a16:creationId xmlns:a16="http://schemas.microsoft.com/office/drawing/2014/main" id="{FFBDFF98-99A4-B984-A5CD-2CE6AE2FF108}"/>
                  </a:ext>
                </a:extLst>
              </p:cNvPr>
              <p:cNvSpPr/>
              <p:nvPr/>
            </p:nvSpPr>
            <p:spPr>
              <a:xfrm>
                <a:off x="5365475" y="3813056"/>
                <a:ext cx="30821" cy="27813"/>
              </a:xfrm>
              <a:custGeom>
                <a:avLst/>
                <a:gdLst>
                  <a:gd name="connsiteX0" fmla="*/ 31187 w 30821"/>
                  <a:gd name="connsiteY0" fmla="*/ 14078 h 27813"/>
                  <a:gd name="connsiteX1" fmla="*/ 15776 w 30821"/>
                  <a:gd name="connsiteY1" fmla="*/ 27984 h 27813"/>
                  <a:gd name="connsiteX2" fmla="*/ 366 w 30821"/>
                  <a:gd name="connsiteY2" fmla="*/ 14078 h 27813"/>
                  <a:gd name="connsiteX3" fmla="*/ 15776 w 30821"/>
                  <a:gd name="connsiteY3" fmla="*/ 171 h 27813"/>
                  <a:gd name="connsiteX4" fmla="*/ 31187 w 30821"/>
                  <a:gd name="connsiteY4" fmla="*/ 14078 h 27813"/>
                  <a:gd name="connsiteX5" fmla="*/ 31187 w 30821"/>
                  <a:gd name="connsiteY5" fmla="*/ 140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87" y="14078"/>
                    </a:moveTo>
                    <a:cubicBezTo>
                      <a:pt x="31187" y="21793"/>
                      <a:pt x="24326" y="27984"/>
                      <a:pt x="15776" y="27984"/>
                    </a:cubicBezTo>
                    <a:cubicBezTo>
                      <a:pt x="7227" y="27984"/>
                      <a:pt x="366" y="21793"/>
                      <a:pt x="366" y="14078"/>
                    </a:cubicBezTo>
                    <a:cubicBezTo>
                      <a:pt x="366" y="6362"/>
                      <a:pt x="7227" y="171"/>
                      <a:pt x="15776" y="171"/>
                    </a:cubicBezTo>
                    <a:cubicBezTo>
                      <a:pt x="24326" y="171"/>
                      <a:pt x="31187" y="6362"/>
                      <a:pt x="31187" y="14078"/>
                    </a:cubicBezTo>
                    <a:lnTo>
                      <a:pt x="31187" y="1407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8" name="Freeform: Shape 67">
                <a:extLst>
                  <a:ext uri="{FF2B5EF4-FFF2-40B4-BE49-F238E27FC236}">
                    <a16:creationId xmlns:a16="http://schemas.microsoft.com/office/drawing/2014/main" id="{3340FAF9-2CE1-16BE-3207-B71B847297FB}"/>
                  </a:ext>
                </a:extLst>
              </p:cNvPr>
              <p:cNvSpPr/>
              <p:nvPr/>
            </p:nvSpPr>
            <p:spPr>
              <a:xfrm>
                <a:off x="5397141" y="3813056"/>
                <a:ext cx="30821" cy="27813"/>
              </a:xfrm>
              <a:custGeom>
                <a:avLst/>
                <a:gdLst>
                  <a:gd name="connsiteX0" fmla="*/ 31190 w 30821"/>
                  <a:gd name="connsiteY0" fmla="*/ 14078 h 27813"/>
                  <a:gd name="connsiteX1" fmla="*/ 15779 w 30821"/>
                  <a:gd name="connsiteY1" fmla="*/ 27984 h 27813"/>
                  <a:gd name="connsiteX2" fmla="*/ 369 w 30821"/>
                  <a:gd name="connsiteY2" fmla="*/ 14078 h 27813"/>
                  <a:gd name="connsiteX3" fmla="*/ 15779 w 30821"/>
                  <a:gd name="connsiteY3" fmla="*/ 171 h 27813"/>
                  <a:gd name="connsiteX4" fmla="*/ 31190 w 30821"/>
                  <a:gd name="connsiteY4" fmla="*/ 14078 h 27813"/>
                  <a:gd name="connsiteX5" fmla="*/ 31190 w 30821"/>
                  <a:gd name="connsiteY5" fmla="*/ 140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90" y="14078"/>
                    </a:moveTo>
                    <a:cubicBezTo>
                      <a:pt x="31190" y="21793"/>
                      <a:pt x="24329" y="27984"/>
                      <a:pt x="15779" y="27984"/>
                    </a:cubicBezTo>
                    <a:cubicBezTo>
                      <a:pt x="7230" y="27984"/>
                      <a:pt x="369" y="21793"/>
                      <a:pt x="369" y="14078"/>
                    </a:cubicBezTo>
                    <a:cubicBezTo>
                      <a:pt x="369" y="6362"/>
                      <a:pt x="7230" y="171"/>
                      <a:pt x="15779" y="171"/>
                    </a:cubicBezTo>
                    <a:cubicBezTo>
                      <a:pt x="24329" y="171"/>
                      <a:pt x="31190" y="6362"/>
                      <a:pt x="31190" y="14078"/>
                    </a:cubicBezTo>
                    <a:lnTo>
                      <a:pt x="31190" y="1407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9" name="Freeform: Shape 68">
                <a:extLst>
                  <a:ext uri="{FF2B5EF4-FFF2-40B4-BE49-F238E27FC236}">
                    <a16:creationId xmlns:a16="http://schemas.microsoft.com/office/drawing/2014/main" id="{D9EC8201-66DE-7BCE-C6AB-1B1E938B4598}"/>
                  </a:ext>
                </a:extLst>
              </p:cNvPr>
              <p:cNvSpPr/>
              <p:nvPr/>
            </p:nvSpPr>
            <p:spPr>
              <a:xfrm>
                <a:off x="5428807" y="3813056"/>
                <a:ext cx="30821" cy="27813"/>
              </a:xfrm>
              <a:custGeom>
                <a:avLst/>
                <a:gdLst>
                  <a:gd name="connsiteX0" fmla="*/ 31193 w 30821"/>
                  <a:gd name="connsiteY0" fmla="*/ 14078 h 27813"/>
                  <a:gd name="connsiteX1" fmla="*/ 15782 w 30821"/>
                  <a:gd name="connsiteY1" fmla="*/ 27984 h 27813"/>
                  <a:gd name="connsiteX2" fmla="*/ 372 w 30821"/>
                  <a:gd name="connsiteY2" fmla="*/ 14078 h 27813"/>
                  <a:gd name="connsiteX3" fmla="*/ 15782 w 30821"/>
                  <a:gd name="connsiteY3" fmla="*/ 171 h 27813"/>
                  <a:gd name="connsiteX4" fmla="*/ 31193 w 30821"/>
                  <a:gd name="connsiteY4" fmla="*/ 14078 h 27813"/>
                  <a:gd name="connsiteX5" fmla="*/ 31193 w 30821"/>
                  <a:gd name="connsiteY5" fmla="*/ 140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93" y="14078"/>
                    </a:moveTo>
                    <a:cubicBezTo>
                      <a:pt x="31193" y="21793"/>
                      <a:pt x="24332" y="27984"/>
                      <a:pt x="15782" y="27984"/>
                    </a:cubicBezTo>
                    <a:cubicBezTo>
                      <a:pt x="7233" y="27984"/>
                      <a:pt x="372" y="21793"/>
                      <a:pt x="372" y="14078"/>
                    </a:cubicBezTo>
                    <a:cubicBezTo>
                      <a:pt x="372" y="6362"/>
                      <a:pt x="7233" y="171"/>
                      <a:pt x="15782" y="171"/>
                    </a:cubicBezTo>
                    <a:cubicBezTo>
                      <a:pt x="24332" y="171"/>
                      <a:pt x="31193" y="6362"/>
                      <a:pt x="31193" y="14078"/>
                    </a:cubicBezTo>
                    <a:lnTo>
                      <a:pt x="31193" y="1407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0" name="Freeform: Shape 69">
                <a:extLst>
                  <a:ext uri="{FF2B5EF4-FFF2-40B4-BE49-F238E27FC236}">
                    <a16:creationId xmlns:a16="http://schemas.microsoft.com/office/drawing/2014/main" id="{00D2D0B2-4E6E-4A64-2D9D-3FE9C5537A61}"/>
                  </a:ext>
                </a:extLst>
              </p:cNvPr>
              <p:cNvSpPr/>
              <p:nvPr/>
            </p:nvSpPr>
            <p:spPr>
              <a:xfrm>
                <a:off x="5534360" y="3813056"/>
                <a:ext cx="30821" cy="27813"/>
              </a:xfrm>
              <a:custGeom>
                <a:avLst/>
                <a:gdLst>
                  <a:gd name="connsiteX0" fmla="*/ 31203 w 30821"/>
                  <a:gd name="connsiteY0" fmla="*/ 14078 h 27813"/>
                  <a:gd name="connsiteX1" fmla="*/ 15792 w 30821"/>
                  <a:gd name="connsiteY1" fmla="*/ 27984 h 27813"/>
                  <a:gd name="connsiteX2" fmla="*/ 382 w 30821"/>
                  <a:gd name="connsiteY2" fmla="*/ 14078 h 27813"/>
                  <a:gd name="connsiteX3" fmla="*/ 15792 w 30821"/>
                  <a:gd name="connsiteY3" fmla="*/ 171 h 27813"/>
                  <a:gd name="connsiteX4" fmla="*/ 31203 w 30821"/>
                  <a:gd name="connsiteY4" fmla="*/ 14078 h 27813"/>
                  <a:gd name="connsiteX5" fmla="*/ 31203 w 30821"/>
                  <a:gd name="connsiteY5" fmla="*/ 140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03" y="14078"/>
                    </a:moveTo>
                    <a:cubicBezTo>
                      <a:pt x="31203" y="21793"/>
                      <a:pt x="24342" y="27984"/>
                      <a:pt x="15792" y="27984"/>
                    </a:cubicBezTo>
                    <a:cubicBezTo>
                      <a:pt x="7243" y="27984"/>
                      <a:pt x="382" y="21793"/>
                      <a:pt x="382" y="14078"/>
                    </a:cubicBezTo>
                    <a:cubicBezTo>
                      <a:pt x="382" y="6362"/>
                      <a:pt x="7243" y="171"/>
                      <a:pt x="15792" y="171"/>
                    </a:cubicBezTo>
                    <a:cubicBezTo>
                      <a:pt x="24342" y="171"/>
                      <a:pt x="31203" y="6362"/>
                      <a:pt x="31203" y="14078"/>
                    </a:cubicBezTo>
                    <a:lnTo>
                      <a:pt x="31203" y="1407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1" name="Freeform: Shape 70">
                <a:extLst>
                  <a:ext uri="{FF2B5EF4-FFF2-40B4-BE49-F238E27FC236}">
                    <a16:creationId xmlns:a16="http://schemas.microsoft.com/office/drawing/2014/main" id="{673B2A0D-95A2-5F7D-8021-ED0BF7803EE0}"/>
                  </a:ext>
                </a:extLst>
              </p:cNvPr>
              <p:cNvSpPr/>
              <p:nvPr/>
            </p:nvSpPr>
            <p:spPr>
              <a:xfrm>
                <a:off x="5566025" y="3813056"/>
                <a:ext cx="30821" cy="27813"/>
              </a:xfrm>
              <a:custGeom>
                <a:avLst/>
                <a:gdLst>
                  <a:gd name="connsiteX0" fmla="*/ 31206 w 30821"/>
                  <a:gd name="connsiteY0" fmla="*/ 14078 h 27813"/>
                  <a:gd name="connsiteX1" fmla="*/ 15795 w 30821"/>
                  <a:gd name="connsiteY1" fmla="*/ 27984 h 27813"/>
                  <a:gd name="connsiteX2" fmla="*/ 385 w 30821"/>
                  <a:gd name="connsiteY2" fmla="*/ 14078 h 27813"/>
                  <a:gd name="connsiteX3" fmla="*/ 15795 w 30821"/>
                  <a:gd name="connsiteY3" fmla="*/ 171 h 27813"/>
                  <a:gd name="connsiteX4" fmla="*/ 31206 w 30821"/>
                  <a:gd name="connsiteY4" fmla="*/ 14078 h 27813"/>
                  <a:gd name="connsiteX5" fmla="*/ 31206 w 30821"/>
                  <a:gd name="connsiteY5" fmla="*/ 140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06" y="14078"/>
                    </a:moveTo>
                    <a:cubicBezTo>
                      <a:pt x="31206" y="21793"/>
                      <a:pt x="24345" y="27984"/>
                      <a:pt x="15795" y="27984"/>
                    </a:cubicBezTo>
                    <a:cubicBezTo>
                      <a:pt x="7246" y="27984"/>
                      <a:pt x="385" y="21793"/>
                      <a:pt x="385" y="14078"/>
                    </a:cubicBezTo>
                    <a:cubicBezTo>
                      <a:pt x="385" y="6362"/>
                      <a:pt x="7246" y="171"/>
                      <a:pt x="15795" y="171"/>
                    </a:cubicBezTo>
                    <a:cubicBezTo>
                      <a:pt x="24345" y="171"/>
                      <a:pt x="31206" y="6362"/>
                      <a:pt x="31206" y="14078"/>
                    </a:cubicBezTo>
                    <a:lnTo>
                      <a:pt x="31206" y="1407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2" name="Freeform: Shape 71">
                <a:extLst>
                  <a:ext uri="{FF2B5EF4-FFF2-40B4-BE49-F238E27FC236}">
                    <a16:creationId xmlns:a16="http://schemas.microsoft.com/office/drawing/2014/main" id="{55F31855-4D11-8F9D-7ACF-292AAB7E1F4F}"/>
                  </a:ext>
                </a:extLst>
              </p:cNvPr>
              <p:cNvSpPr/>
              <p:nvPr/>
            </p:nvSpPr>
            <p:spPr>
              <a:xfrm>
                <a:off x="5597691" y="3813056"/>
                <a:ext cx="30821" cy="27813"/>
              </a:xfrm>
              <a:custGeom>
                <a:avLst/>
                <a:gdLst>
                  <a:gd name="connsiteX0" fmla="*/ 31209 w 30821"/>
                  <a:gd name="connsiteY0" fmla="*/ 14078 h 27813"/>
                  <a:gd name="connsiteX1" fmla="*/ 15798 w 30821"/>
                  <a:gd name="connsiteY1" fmla="*/ 27984 h 27813"/>
                  <a:gd name="connsiteX2" fmla="*/ 388 w 30821"/>
                  <a:gd name="connsiteY2" fmla="*/ 14078 h 27813"/>
                  <a:gd name="connsiteX3" fmla="*/ 15798 w 30821"/>
                  <a:gd name="connsiteY3" fmla="*/ 171 h 27813"/>
                  <a:gd name="connsiteX4" fmla="*/ 31209 w 30821"/>
                  <a:gd name="connsiteY4" fmla="*/ 14078 h 27813"/>
                  <a:gd name="connsiteX5" fmla="*/ 31209 w 30821"/>
                  <a:gd name="connsiteY5" fmla="*/ 140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09" y="14078"/>
                    </a:moveTo>
                    <a:cubicBezTo>
                      <a:pt x="31209" y="21793"/>
                      <a:pt x="24348" y="27984"/>
                      <a:pt x="15798" y="27984"/>
                    </a:cubicBezTo>
                    <a:cubicBezTo>
                      <a:pt x="7249" y="27984"/>
                      <a:pt x="388" y="21793"/>
                      <a:pt x="388" y="14078"/>
                    </a:cubicBezTo>
                    <a:cubicBezTo>
                      <a:pt x="388" y="6362"/>
                      <a:pt x="7249" y="171"/>
                      <a:pt x="15798" y="171"/>
                    </a:cubicBezTo>
                    <a:cubicBezTo>
                      <a:pt x="24348" y="171"/>
                      <a:pt x="31209" y="6362"/>
                      <a:pt x="31209" y="14078"/>
                    </a:cubicBezTo>
                    <a:lnTo>
                      <a:pt x="31209" y="1407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grpSp>
      </p:grpSp>
      <p:grpSp>
        <p:nvGrpSpPr>
          <p:cNvPr id="223" name="Group 222">
            <a:extLst>
              <a:ext uri="{FF2B5EF4-FFF2-40B4-BE49-F238E27FC236}">
                <a16:creationId xmlns:a16="http://schemas.microsoft.com/office/drawing/2014/main" id="{23B2125D-3EE0-8CA1-26AE-9847C2A3AB05}"/>
              </a:ext>
            </a:extLst>
          </p:cNvPr>
          <p:cNvGrpSpPr/>
          <p:nvPr/>
        </p:nvGrpSpPr>
        <p:grpSpPr>
          <a:xfrm>
            <a:off x="6158757" y="2017309"/>
            <a:ext cx="5659469" cy="3926037"/>
            <a:chOff x="6209455" y="1977780"/>
            <a:chExt cx="5492226" cy="3038501"/>
          </a:xfrm>
        </p:grpSpPr>
        <p:grpSp>
          <p:nvGrpSpPr>
            <p:cNvPr id="224" name="Group 223">
              <a:extLst>
                <a:ext uri="{FF2B5EF4-FFF2-40B4-BE49-F238E27FC236}">
                  <a16:creationId xmlns:a16="http://schemas.microsoft.com/office/drawing/2014/main" id="{7623DD00-E5EF-C80F-267F-6DD85500A887}"/>
                </a:ext>
              </a:extLst>
            </p:cNvPr>
            <p:cNvGrpSpPr/>
            <p:nvPr/>
          </p:nvGrpSpPr>
          <p:grpSpPr>
            <a:xfrm>
              <a:off x="6983782" y="2123286"/>
              <a:ext cx="218484" cy="2335547"/>
              <a:chOff x="6826019" y="2537958"/>
              <a:chExt cx="197159" cy="2335547"/>
            </a:xfrm>
          </p:grpSpPr>
          <p:sp>
            <p:nvSpPr>
              <p:cNvPr id="505" name="TextBox 504">
                <a:extLst>
                  <a:ext uri="{FF2B5EF4-FFF2-40B4-BE49-F238E27FC236}">
                    <a16:creationId xmlns:a16="http://schemas.microsoft.com/office/drawing/2014/main" id="{D3645B2C-4AEF-10FF-3D5F-F69E065F45AF}"/>
                  </a:ext>
                </a:extLst>
              </p:cNvPr>
              <p:cNvSpPr txBox="1"/>
              <p:nvPr/>
            </p:nvSpPr>
            <p:spPr>
              <a:xfrm>
                <a:off x="6826019" y="2537958"/>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1,0</a:t>
                </a:r>
              </a:p>
            </p:txBody>
          </p:sp>
          <p:sp>
            <p:nvSpPr>
              <p:cNvPr id="506" name="TextBox 505">
                <a:extLst>
                  <a:ext uri="{FF2B5EF4-FFF2-40B4-BE49-F238E27FC236}">
                    <a16:creationId xmlns:a16="http://schemas.microsoft.com/office/drawing/2014/main" id="{26BBCB71-8CFA-B1DD-5871-DAA6652459A9}"/>
                  </a:ext>
                </a:extLst>
              </p:cNvPr>
              <p:cNvSpPr txBox="1"/>
              <p:nvPr/>
            </p:nvSpPr>
            <p:spPr>
              <a:xfrm>
                <a:off x="6826019" y="2760997"/>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9</a:t>
                </a:r>
              </a:p>
            </p:txBody>
          </p:sp>
          <p:sp>
            <p:nvSpPr>
              <p:cNvPr id="507" name="TextBox 506">
                <a:extLst>
                  <a:ext uri="{FF2B5EF4-FFF2-40B4-BE49-F238E27FC236}">
                    <a16:creationId xmlns:a16="http://schemas.microsoft.com/office/drawing/2014/main" id="{85D19B15-60FB-AC91-02BD-E18A580E7A77}"/>
                  </a:ext>
                </a:extLst>
              </p:cNvPr>
              <p:cNvSpPr txBox="1"/>
              <p:nvPr/>
            </p:nvSpPr>
            <p:spPr>
              <a:xfrm>
                <a:off x="6826019" y="2979273"/>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8</a:t>
                </a:r>
              </a:p>
            </p:txBody>
          </p:sp>
          <p:sp>
            <p:nvSpPr>
              <p:cNvPr id="508" name="TextBox 507">
                <a:extLst>
                  <a:ext uri="{FF2B5EF4-FFF2-40B4-BE49-F238E27FC236}">
                    <a16:creationId xmlns:a16="http://schemas.microsoft.com/office/drawing/2014/main" id="{E57B91D8-4CD1-0ACE-AAA0-01244D8EF20B}"/>
                  </a:ext>
                </a:extLst>
              </p:cNvPr>
              <p:cNvSpPr txBox="1"/>
              <p:nvPr/>
            </p:nvSpPr>
            <p:spPr>
              <a:xfrm>
                <a:off x="6826019" y="3197549"/>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7</a:t>
                </a:r>
              </a:p>
            </p:txBody>
          </p:sp>
          <p:sp>
            <p:nvSpPr>
              <p:cNvPr id="509" name="TextBox 508">
                <a:extLst>
                  <a:ext uri="{FF2B5EF4-FFF2-40B4-BE49-F238E27FC236}">
                    <a16:creationId xmlns:a16="http://schemas.microsoft.com/office/drawing/2014/main" id="{F6D32C9A-4897-2DDE-A894-64DDF15FD0AE}"/>
                  </a:ext>
                </a:extLst>
              </p:cNvPr>
              <p:cNvSpPr txBox="1"/>
              <p:nvPr/>
            </p:nvSpPr>
            <p:spPr>
              <a:xfrm>
                <a:off x="6826019" y="3411062"/>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6</a:t>
                </a:r>
              </a:p>
            </p:txBody>
          </p:sp>
          <p:sp>
            <p:nvSpPr>
              <p:cNvPr id="510" name="TextBox 509">
                <a:extLst>
                  <a:ext uri="{FF2B5EF4-FFF2-40B4-BE49-F238E27FC236}">
                    <a16:creationId xmlns:a16="http://schemas.microsoft.com/office/drawing/2014/main" id="{AD0B3144-8240-FD7D-FFCA-856817A2AA5A}"/>
                  </a:ext>
                </a:extLst>
              </p:cNvPr>
              <p:cNvSpPr txBox="1"/>
              <p:nvPr/>
            </p:nvSpPr>
            <p:spPr>
              <a:xfrm>
                <a:off x="6826019" y="3629338"/>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5</a:t>
                </a:r>
              </a:p>
            </p:txBody>
          </p:sp>
          <p:sp>
            <p:nvSpPr>
              <p:cNvPr id="511" name="TextBox 510">
                <a:extLst>
                  <a:ext uri="{FF2B5EF4-FFF2-40B4-BE49-F238E27FC236}">
                    <a16:creationId xmlns:a16="http://schemas.microsoft.com/office/drawing/2014/main" id="{188946E8-68BC-5211-D5D5-55725F8AB0E1}"/>
                  </a:ext>
                </a:extLst>
              </p:cNvPr>
              <p:cNvSpPr txBox="1"/>
              <p:nvPr/>
            </p:nvSpPr>
            <p:spPr>
              <a:xfrm>
                <a:off x="6826019" y="3852377"/>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4</a:t>
                </a:r>
              </a:p>
            </p:txBody>
          </p:sp>
          <p:sp>
            <p:nvSpPr>
              <p:cNvPr id="512" name="TextBox 511">
                <a:extLst>
                  <a:ext uri="{FF2B5EF4-FFF2-40B4-BE49-F238E27FC236}">
                    <a16:creationId xmlns:a16="http://schemas.microsoft.com/office/drawing/2014/main" id="{AE855FE5-98EB-C308-6A8A-6A09042B7F0D}"/>
                  </a:ext>
                </a:extLst>
              </p:cNvPr>
              <p:cNvSpPr txBox="1"/>
              <p:nvPr/>
            </p:nvSpPr>
            <p:spPr>
              <a:xfrm>
                <a:off x="6826019" y="4070653"/>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3</a:t>
                </a:r>
              </a:p>
            </p:txBody>
          </p:sp>
          <p:sp>
            <p:nvSpPr>
              <p:cNvPr id="513" name="TextBox 512">
                <a:extLst>
                  <a:ext uri="{FF2B5EF4-FFF2-40B4-BE49-F238E27FC236}">
                    <a16:creationId xmlns:a16="http://schemas.microsoft.com/office/drawing/2014/main" id="{EBF9182A-2CA3-6E29-2E7A-E25E4C1A81B2}"/>
                  </a:ext>
                </a:extLst>
              </p:cNvPr>
              <p:cNvSpPr txBox="1"/>
              <p:nvPr/>
            </p:nvSpPr>
            <p:spPr>
              <a:xfrm>
                <a:off x="6826019" y="4284166"/>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2</a:t>
                </a:r>
              </a:p>
            </p:txBody>
          </p:sp>
          <p:sp>
            <p:nvSpPr>
              <p:cNvPr id="514" name="TextBox 513">
                <a:extLst>
                  <a:ext uri="{FF2B5EF4-FFF2-40B4-BE49-F238E27FC236}">
                    <a16:creationId xmlns:a16="http://schemas.microsoft.com/office/drawing/2014/main" id="{61ED338F-18C5-DE7B-1E10-2D9BFEAA3A57}"/>
                  </a:ext>
                </a:extLst>
              </p:cNvPr>
              <p:cNvSpPr txBox="1"/>
              <p:nvPr/>
            </p:nvSpPr>
            <p:spPr>
              <a:xfrm>
                <a:off x="6826019" y="4502442"/>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1</a:t>
                </a:r>
              </a:p>
            </p:txBody>
          </p:sp>
          <p:sp>
            <p:nvSpPr>
              <p:cNvPr id="515" name="TextBox 514">
                <a:extLst>
                  <a:ext uri="{FF2B5EF4-FFF2-40B4-BE49-F238E27FC236}">
                    <a16:creationId xmlns:a16="http://schemas.microsoft.com/office/drawing/2014/main" id="{801454F2-A7DE-C53C-0C72-AA0F1640280B}"/>
                  </a:ext>
                </a:extLst>
              </p:cNvPr>
              <p:cNvSpPr txBox="1"/>
              <p:nvPr/>
            </p:nvSpPr>
            <p:spPr>
              <a:xfrm>
                <a:off x="6826019" y="4720714"/>
                <a:ext cx="197159" cy="152791"/>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0</a:t>
                </a:r>
              </a:p>
            </p:txBody>
          </p:sp>
        </p:grpSp>
        <p:grpSp>
          <p:nvGrpSpPr>
            <p:cNvPr id="225" name="Group 224">
              <a:extLst>
                <a:ext uri="{FF2B5EF4-FFF2-40B4-BE49-F238E27FC236}">
                  <a16:creationId xmlns:a16="http://schemas.microsoft.com/office/drawing/2014/main" id="{C6591CFC-9FBC-7330-FE06-1408C5E31F59}"/>
                </a:ext>
              </a:extLst>
            </p:cNvPr>
            <p:cNvGrpSpPr/>
            <p:nvPr/>
          </p:nvGrpSpPr>
          <p:grpSpPr>
            <a:xfrm>
              <a:off x="7201753" y="4419176"/>
              <a:ext cx="4476922" cy="151363"/>
              <a:chOff x="3193116" y="4990542"/>
              <a:chExt cx="4728951" cy="195351"/>
            </a:xfrm>
          </p:grpSpPr>
          <p:sp>
            <p:nvSpPr>
              <p:cNvPr id="480" name="TextBox 479">
                <a:extLst>
                  <a:ext uri="{FF2B5EF4-FFF2-40B4-BE49-F238E27FC236}">
                    <a16:creationId xmlns:a16="http://schemas.microsoft.com/office/drawing/2014/main" id="{184BDD58-3FAE-ACC4-DEF5-C6CCB647A556}"/>
                  </a:ext>
                </a:extLst>
              </p:cNvPr>
              <p:cNvSpPr txBox="1"/>
              <p:nvPr/>
            </p:nvSpPr>
            <p:spPr>
              <a:xfrm>
                <a:off x="3193116"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0</a:t>
                </a:r>
              </a:p>
            </p:txBody>
          </p:sp>
          <p:sp>
            <p:nvSpPr>
              <p:cNvPr id="481" name="TextBox 480">
                <a:extLst>
                  <a:ext uri="{FF2B5EF4-FFF2-40B4-BE49-F238E27FC236}">
                    <a16:creationId xmlns:a16="http://schemas.microsoft.com/office/drawing/2014/main" id="{89F10652-A5C7-8AB2-7450-607F3F43E067}"/>
                  </a:ext>
                </a:extLst>
              </p:cNvPr>
              <p:cNvSpPr txBox="1"/>
              <p:nvPr/>
            </p:nvSpPr>
            <p:spPr>
              <a:xfrm>
                <a:off x="3381032"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2</a:t>
                </a:r>
              </a:p>
            </p:txBody>
          </p:sp>
          <p:sp>
            <p:nvSpPr>
              <p:cNvPr id="482" name="TextBox 481">
                <a:extLst>
                  <a:ext uri="{FF2B5EF4-FFF2-40B4-BE49-F238E27FC236}">
                    <a16:creationId xmlns:a16="http://schemas.microsoft.com/office/drawing/2014/main" id="{A57469FD-7E32-C5D5-3263-BFF2D7F48F42}"/>
                  </a:ext>
                </a:extLst>
              </p:cNvPr>
              <p:cNvSpPr txBox="1"/>
              <p:nvPr/>
            </p:nvSpPr>
            <p:spPr>
              <a:xfrm>
                <a:off x="3571291"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4</a:t>
                </a:r>
              </a:p>
            </p:txBody>
          </p:sp>
          <p:sp>
            <p:nvSpPr>
              <p:cNvPr id="483" name="TextBox 482">
                <a:extLst>
                  <a:ext uri="{FF2B5EF4-FFF2-40B4-BE49-F238E27FC236}">
                    <a16:creationId xmlns:a16="http://schemas.microsoft.com/office/drawing/2014/main" id="{D2EBCBB7-A84B-E43B-F15E-8A3C2E542314}"/>
                  </a:ext>
                </a:extLst>
              </p:cNvPr>
              <p:cNvSpPr txBox="1"/>
              <p:nvPr/>
            </p:nvSpPr>
            <p:spPr>
              <a:xfrm>
                <a:off x="376926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6</a:t>
                </a:r>
              </a:p>
            </p:txBody>
          </p:sp>
          <p:sp>
            <p:nvSpPr>
              <p:cNvPr id="484" name="TextBox 483">
                <a:extLst>
                  <a:ext uri="{FF2B5EF4-FFF2-40B4-BE49-F238E27FC236}">
                    <a16:creationId xmlns:a16="http://schemas.microsoft.com/office/drawing/2014/main" id="{CB3551BA-7C7D-9C8F-314E-98876837B931}"/>
                  </a:ext>
                </a:extLst>
              </p:cNvPr>
              <p:cNvSpPr txBox="1"/>
              <p:nvPr/>
            </p:nvSpPr>
            <p:spPr>
              <a:xfrm>
                <a:off x="394683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8</a:t>
                </a:r>
              </a:p>
            </p:txBody>
          </p:sp>
          <p:sp>
            <p:nvSpPr>
              <p:cNvPr id="485" name="TextBox 484">
                <a:extLst>
                  <a:ext uri="{FF2B5EF4-FFF2-40B4-BE49-F238E27FC236}">
                    <a16:creationId xmlns:a16="http://schemas.microsoft.com/office/drawing/2014/main" id="{51022FCF-2566-B909-E2C5-A5C73C6E4192}"/>
                  </a:ext>
                </a:extLst>
              </p:cNvPr>
              <p:cNvSpPr txBox="1"/>
              <p:nvPr/>
            </p:nvSpPr>
            <p:spPr>
              <a:xfrm>
                <a:off x="4139783"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10</a:t>
                </a:r>
              </a:p>
            </p:txBody>
          </p:sp>
          <p:sp>
            <p:nvSpPr>
              <p:cNvPr id="486" name="TextBox 485">
                <a:extLst>
                  <a:ext uri="{FF2B5EF4-FFF2-40B4-BE49-F238E27FC236}">
                    <a16:creationId xmlns:a16="http://schemas.microsoft.com/office/drawing/2014/main" id="{29227F36-E30A-C75E-1963-E6B395B4EF68}"/>
                  </a:ext>
                </a:extLst>
              </p:cNvPr>
              <p:cNvSpPr txBox="1"/>
              <p:nvPr/>
            </p:nvSpPr>
            <p:spPr>
              <a:xfrm>
                <a:off x="4335358"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12</a:t>
                </a:r>
              </a:p>
            </p:txBody>
          </p:sp>
          <p:sp>
            <p:nvSpPr>
              <p:cNvPr id="487" name="TextBox 486">
                <a:extLst>
                  <a:ext uri="{FF2B5EF4-FFF2-40B4-BE49-F238E27FC236}">
                    <a16:creationId xmlns:a16="http://schemas.microsoft.com/office/drawing/2014/main" id="{25D74950-CE92-F150-A5E0-96DD961E9E9A}"/>
                  </a:ext>
                </a:extLst>
              </p:cNvPr>
              <p:cNvSpPr txBox="1"/>
              <p:nvPr/>
            </p:nvSpPr>
            <p:spPr>
              <a:xfrm>
                <a:off x="451589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14</a:t>
                </a:r>
              </a:p>
            </p:txBody>
          </p:sp>
          <p:sp>
            <p:nvSpPr>
              <p:cNvPr id="488" name="TextBox 487">
                <a:extLst>
                  <a:ext uri="{FF2B5EF4-FFF2-40B4-BE49-F238E27FC236}">
                    <a16:creationId xmlns:a16="http://schemas.microsoft.com/office/drawing/2014/main" id="{81447202-0E87-D99A-D3A4-9B7587A4EB27}"/>
                  </a:ext>
                </a:extLst>
              </p:cNvPr>
              <p:cNvSpPr txBox="1"/>
              <p:nvPr/>
            </p:nvSpPr>
            <p:spPr>
              <a:xfrm>
                <a:off x="4716218"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16</a:t>
                </a:r>
              </a:p>
            </p:txBody>
          </p:sp>
          <p:sp>
            <p:nvSpPr>
              <p:cNvPr id="489" name="TextBox 488">
                <a:extLst>
                  <a:ext uri="{FF2B5EF4-FFF2-40B4-BE49-F238E27FC236}">
                    <a16:creationId xmlns:a16="http://schemas.microsoft.com/office/drawing/2014/main" id="{3AB5C523-CD02-0544-81D7-35C1017D85AF}"/>
                  </a:ext>
                </a:extLst>
              </p:cNvPr>
              <p:cNvSpPr txBox="1"/>
              <p:nvPr/>
            </p:nvSpPr>
            <p:spPr>
              <a:xfrm>
                <a:off x="491653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18</a:t>
                </a:r>
              </a:p>
            </p:txBody>
          </p:sp>
          <p:sp>
            <p:nvSpPr>
              <p:cNvPr id="490" name="TextBox 489">
                <a:extLst>
                  <a:ext uri="{FF2B5EF4-FFF2-40B4-BE49-F238E27FC236}">
                    <a16:creationId xmlns:a16="http://schemas.microsoft.com/office/drawing/2014/main" id="{AC70A74A-A7FD-9236-66A0-799FF12292A0}"/>
                  </a:ext>
                </a:extLst>
              </p:cNvPr>
              <p:cNvSpPr txBox="1"/>
              <p:nvPr/>
            </p:nvSpPr>
            <p:spPr>
              <a:xfrm>
                <a:off x="529236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22</a:t>
                </a:r>
              </a:p>
            </p:txBody>
          </p:sp>
          <p:sp>
            <p:nvSpPr>
              <p:cNvPr id="491" name="TextBox 490">
                <a:extLst>
                  <a:ext uri="{FF2B5EF4-FFF2-40B4-BE49-F238E27FC236}">
                    <a16:creationId xmlns:a16="http://schemas.microsoft.com/office/drawing/2014/main" id="{BD1FD7B1-220A-984E-9B22-118317C4DA72}"/>
                  </a:ext>
                </a:extLst>
              </p:cNvPr>
              <p:cNvSpPr txBox="1"/>
              <p:nvPr/>
            </p:nvSpPr>
            <p:spPr>
              <a:xfrm>
                <a:off x="5106798"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20</a:t>
                </a:r>
              </a:p>
            </p:txBody>
          </p:sp>
          <p:sp>
            <p:nvSpPr>
              <p:cNvPr id="492" name="TextBox 491">
                <a:extLst>
                  <a:ext uri="{FF2B5EF4-FFF2-40B4-BE49-F238E27FC236}">
                    <a16:creationId xmlns:a16="http://schemas.microsoft.com/office/drawing/2014/main" id="{51EF8832-E169-8115-E1F3-7FEA2F10CA3B}"/>
                  </a:ext>
                </a:extLst>
              </p:cNvPr>
              <p:cNvSpPr txBox="1"/>
              <p:nvPr/>
            </p:nvSpPr>
            <p:spPr>
              <a:xfrm>
                <a:off x="6056438"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30</a:t>
                </a:r>
              </a:p>
            </p:txBody>
          </p:sp>
          <p:sp>
            <p:nvSpPr>
              <p:cNvPr id="493" name="TextBox 492">
                <a:extLst>
                  <a:ext uri="{FF2B5EF4-FFF2-40B4-BE49-F238E27FC236}">
                    <a16:creationId xmlns:a16="http://schemas.microsoft.com/office/drawing/2014/main" id="{E3C988CE-23E1-EC39-10B0-E07B859401DA}"/>
                  </a:ext>
                </a:extLst>
              </p:cNvPr>
              <p:cNvSpPr txBox="1"/>
              <p:nvPr/>
            </p:nvSpPr>
            <p:spPr>
              <a:xfrm>
                <a:off x="6246692"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32</a:t>
                </a:r>
              </a:p>
            </p:txBody>
          </p:sp>
          <p:sp>
            <p:nvSpPr>
              <p:cNvPr id="494" name="TextBox 493">
                <a:extLst>
                  <a:ext uri="{FF2B5EF4-FFF2-40B4-BE49-F238E27FC236}">
                    <a16:creationId xmlns:a16="http://schemas.microsoft.com/office/drawing/2014/main" id="{2249DAD1-7D5A-DD10-BDD0-43705E77D1EB}"/>
                  </a:ext>
                </a:extLst>
              </p:cNvPr>
              <p:cNvSpPr txBox="1"/>
              <p:nvPr/>
            </p:nvSpPr>
            <p:spPr>
              <a:xfrm>
                <a:off x="643729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34</a:t>
                </a:r>
              </a:p>
            </p:txBody>
          </p:sp>
          <p:sp>
            <p:nvSpPr>
              <p:cNvPr id="495" name="TextBox 494">
                <a:extLst>
                  <a:ext uri="{FF2B5EF4-FFF2-40B4-BE49-F238E27FC236}">
                    <a16:creationId xmlns:a16="http://schemas.microsoft.com/office/drawing/2014/main" id="{FDEAB181-548F-7796-9BD9-FEF95FD5053E}"/>
                  </a:ext>
                </a:extLst>
              </p:cNvPr>
              <p:cNvSpPr txBox="1"/>
              <p:nvPr/>
            </p:nvSpPr>
            <p:spPr>
              <a:xfrm>
                <a:off x="663258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36</a:t>
                </a:r>
              </a:p>
            </p:txBody>
          </p:sp>
          <p:sp>
            <p:nvSpPr>
              <p:cNvPr id="496" name="TextBox 495">
                <a:extLst>
                  <a:ext uri="{FF2B5EF4-FFF2-40B4-BE49-F238E27FC236}">
                    <a16:creationId xmlns:a16="http://schemas.microsoft.com/office/drawing/2014/main" id="{18EF7CB3-47CE-BF4F-B17A-E821BB61FB43}"/>
                  </a:ext>
                </a:extLst>
              </p:cNvPr>
              <p:cNvSpPr txBox="1"/>
              <p:nvPr/>
            </p:nvSpPr>
            <p:spPr>
              <a:xfrm>
                <a:off x="682787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38</a:t>
                </a:r>
              </a:p>
            </p:txBody>
          </p:sp>
          <p:sp>
            <p:nvSpPr>
              <p:cNvPr id="497" name="TextBox 496">
                <a:extLst>
                  <a:ext uri="{FF2B5EF4-FFF2-40B4-BE49-F238E27FC236}">
                    <a16:creationId xmlns:a16="http://schemas.microsoft.com/office/drawing/2014/main" id="{43CD7424-ED81-AEA3-779D-0494835DEB0C}"/>
                  </a:ext>
                </a:extLst>
              </p:cNvPr>
              <p:cNvSpPr txBox="1"/>
              <p:nvPr/>
            </p:nvSpPr>
            <p:spPr>
              <a:xfrm>
                <a:off x="720638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42</a:t>
                </a:r>
              </a:p>
            </p:txBody>
          </p:sp>
          <p:sp>
            <p:nvSpPr>
              <p:cNvPr id="498" name="TextBox 497">
                <a:extLst>
                  <a:ext uri="{FF2B5EF4-FFF2-40B4-BE49-F238E27FC236}">
                    <a16:creationId xmlns:a16="http://schemas.microsoft.com/office/drawing/2014/main" id="{BB97722E-4A95-B741-8FD9-FAD7D8602DBF}"/>
                  </a:ext>
                </a:extLst>
              </p:cNvPr>
              <p:cNvSpPr txBox="1"/>
              <p:nvPr/>
            </p:nvSpPr>
            <p:spPr>
              <a:xfrm>
                <a:off x="7013448"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40</a:t>
                </a:r>
              </a:p>
            </p:txBody>
          </p:sp>
          <p:sp>
            <p:nvSpPr>
              <p:cNvPr id="499" name="TextBox 498">
                <a:extLst>
                  <a:ext uri="{FF2B5EF4-FFF2-40B4-BE49-F238E27FC236}">
                    <a16:creationId xmlns:a16="http://schemas.microsoft.com/office/drawing/2014/main" id="{FD43BDB0-C672-033D-A350-250923F91C38}"/>
                  </a:ext>
                </a:extLst>
              </p:cNvPr>
              <p:cNvSpPr txBox="1"/>
              <p:nvPr/>
            </p:nvSpPr>
            <p:spPr>
              <a:xfrm>
                <a:off x="548262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24</a:t>
                </a:r>
              </a:p>
            </p:txBody>
          </p:sp>
          <p:sp>
            <p:nvSpPr>
              <p:cNvPr id="500" name="TextBox 499">
                <a:extLst>
                  <a:ext uri="{FF2B5EF4-FFF2-40B4-BE49-F238E27FC236}">
                    <a16:creationId xmlns:a16="http://schemas.microsoft.com/office/drawing/2014/main" id="{25A32CAF-C4E5-946B-94AE-60FB757907E2}"/>
                  </a:ext>
                </a:extLst>
              </p:cNvPr>
              <p:cNvSpPr txBox="1"/>
              <p:nvPr/>
            </p:nvSpPr>
            <p:spPr>
              <a:xfrm>
                <a:off x="5673230"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26</a:t>
                </a:r>
              </a:p>
            </p:txBody>
          </p:sp>
          <p:sp>
            <p:nvSpPr>
              <p:cNvPr id="501" name="TextBox 500">
                <a:extLst>
                  <a:ext uri="{FF2B5EF4-FFF2-40B4-BE49-F238E27FC236}">
                    <a16:creationId xmlns:a16="http://schemas.microsoft.com/office/drawing/2014/main" id="{F58CBD5F-A5B9-3261-5A19-BC880586E8D1}"/>
                  </a:ext>
                </a:extLst>
              </p:cNvPr>
              <p:cNvSpPr txBox="1"/>
              <p:nvPr/>
            </p:nvSpPr>
            <p:spPr>
              <a:xfrm>
                <a:off x="5861146"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28</a:t>
                </a:r>
              </a:p>
            </p:txBody>
          </p:sp>
          <p:sp>
            <p:nvSpPr>
              <p:cNvPr id="502" name="TextBox 501">
                <a:extLst>
                  <a:ext uri="{FF2B5EF4-FFF2-40B4-BE49-F238E27FC236}">
                    <a16:creationId xmlns:a16="http://schemas.microsoft.com/office/drawing/2014/main" id="{C1BF4063-30D3-5542-EF7D-4DEF90E84890}"/>
                  </a:ext>
                </a:extLst>
              </p:cNvPr>
              <p:cNvSpPr txBox="1"/>
              <p:nvPr/>
            </p:nvSpPr>
            <p:spPr>
              <a:xfrm>
                <a:off x="7389273"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44</a:t>
                </a:r>
              </a:p>
            </p:txBody>
          </p:sp>
          <p:sp>
            <p:nvSpPr>
              <p:cNvPr id="503" name="TextBox 502">
                <a:extLst>
                  <a:ext uri="{FF2B5EF4-FFF2-40B4-BE49-F238E27FC236}">
                    <a16:creationId xmlns:a16="http://schemas.microsoft.com/office/drawing/2014/main" id="{271C8578-E07B-97FD-1093-020AD5748FCB}"/>
                  </a:ext>
                </a:extLst>
              </p:cNvPr>
              <p:cNvSpPr txBox="1"/>
              <p:nvPr/>
            </p:nvSpPr>
            <p:spPr>
              <a:xfrm>
                <a:off x="7587753"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46</a:t>
                </a:r>
              </a:p>
            </p:txBody>
          </p:sp>
          <p:sp>
            <p:nvSpPr>
              <p:cNvPr id="504" name="TextBox 503">
                <a:extLst>
                  <a:ext uri="{FF2B5EF4-FFF2-40B4-BE49-F238E27FC236}">
                    <a16:creationId xmlns:a16="http://schemas.microsoft.com/office/drawing/2014/main" id="{EDA19696-C292-BF90-3F3F-49670B62D52C}"/>
                  </a:ext>
                </a:extLst>
              </p:cNvPr>
              <p:cNvSpPr txBox="1"/>
              <p:nvPr/>
            </p:nvSpPr>
            <p:spPr>
              <a:xfrm>
                <a:off x="778113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3F4444"/>
                    </a:solidFill>
                    <a:effectLst/>
                    <a:uLnTx/>
                    <a:uFillTx/>
                    <a:latin typeface="Calibri"/>
                    <a:ea typeface="+mn-ea"/>
                    <a:cs typeface="+mn-cs"/>
                  </a:rPr>
                  <a:t>48</a:t>
                </a:r>
              </a:p>
            </p:txBody>
          </p:sp>
        </p:grpSp>
        <p:sp>
          <p:nvSpPr>
            <p:cNvPr id="226" name="TextBox 225">
              <a:extLst>
                <a:ext uri="{FF2B5EF4-FFF2-40B4-BE49-F238E27FC236}">
                  <a16:creationId xmlns:a16="http://schemas.microsoft.com/office/drawing/2014/main" id="{99DF304A-BCC6-26ED-B55E-DBABF20E4D8A}"/>
                </a:ext>
              </a:extLst>
            </p:cNvPr>
            <p:cNvSpPr txBox="1"/>
            <p:nvPr/>
          </p:nvSpPr>
          <p:spPr>
            <a:xfrm>
              <a:off x="7666536" y="4594582"/>
              <a:ext cx="3550727" cy="14292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3F4444"/>
                  </a:solidFill>
                  <a:effectLst/>
                  <a:uLnTx/>
                  <a:uFillTx/>
                  <a:latin typeface="Calibri"/>
                  <a:ea typeface="+mn-ea"/>
                  <a:cs typeface="+mn-cs"/>
                </a:rPr>
                <a:t>Время с момента рандомизации (месяцы)</a:t>
              </a:r>
            </a:p>
          </p:txBody>
        </p:sp>
        <p:sp>
          <p:nvSpPr>
            <p:cNvPr id="227" name="TextBox 226">
              <a:extLst>
                <a:ext uri="{FF2B5EF4-FFF2-40B4-BE49-F238E27FC236}">
                  <a16:creationId xmlns:a16="http://schemas.microsoft.com/office/drawing/2014/main" id="{247869BD-B7C1-83E4-04F5-417FEBCE5EDB}"/>
                </a:ext>
              </a:extLst>
            </p:cNvPr>
            <p:cNvSpPr txBox="1"/>
            <p:nvPr/>
          </p:nvSpPr>
          <p:spPr>
            <a:xfrm rot="16200000">
              <a:off x="5575290" y="2957128"/>
              <a:ext cx="2496323" cy="53762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3F4444"/>
                  </a:solidFill>
                  <a:effectLst/>
                  <a:uLnTx/>
                  <a:uFillTx/>
                  <a:latin typeface="Calibri"/>
                  <a:ea typeface="+mn-ea"/>
                  <a:cs typeface="+mn-cs"/>
                </a:rPr>
                <a:t>Вероятность выживаемости без второго прогрессирования заболевания </a:t>
              </a:r>
              <a:br>
                <a:rPr kumimoji="0" lang="ru-RU" sz="1200" b="1" i="0" u="none" strike="noStrike" kern="1200" cap="none" spc="0" normalizeH="0" baseline="0" noProof="0" dirty="0">
                  <a:ln>
                    <a:noFill/>
                  </a:ln>
                  <a:solidFill>
                    <a:srgbClr val="3F4444"/>
                  </a:solidFill>
                  <a:effectLst/>
                  <a:uLnTx/>
                  <a:uFillTx/>
                  <a:latin typeface="Calibri"/>
                  <a:ea typeface="+mn-ea"/>
                  <a:cs typeface="+mn-cs"/>
                </a:rPr>
              </a:br>
              <a:endParaRPr kumimoji="0" lang="ru-RU" sz="1200" b="1" i="0" u="none" strike="noStrike" kern="1200" cap="none" spc="0" normalizeH="0" baseline="0" noProof="0" dirty="0">
                <a:ln>
                  <a:noFill/>
                </a:ln>
                <a:solidFill>
                  <a:srgbClr val="3F4444"/>
                </a:solidFill>
                <a:effectLst/>
                <a:uLnTx/>
                <a:uFillTx/>
                <a:latin typeface="Calibri"/>
                <a:ea typeface="+mn-ea"/>
                <a:cs typeface="+mn-cs"/>
              </a:endParaRPr>
            </a:p>
          </p:txBody>
        </p:sp>
        <p:grpSp>
          <p:nvGrpSpPr>
            <p:cNvPr id="228" name="Group 227">
              <a:extLst>
                <a:ext uri="{FF2B5EF4-FFF2-40B4-BE49-F238E27FC236}">
                  <a16:creationId xmlns:a16="http://schemas.microsoft.com/office/drawing/2014/main" id="{EE5CC5BB-E12C-B03D-71AB-BDFEEE377A4D}"/>
                </a:ext>
              </a:extLst>
            </p:cNvPr>
            <p:cNvGrpSpPr/>
            <p:nvPr/>
          </p:nvGrpSpPr>
          <p:grpSpPr>
            <a:xfrm>
              <a:off x="6209455" y="4845975"/>
              <a:ext cx="5492226" cy="170306"/>
              <a:chOff x="534953" y="4934364"/>
              <a:chExt cx="4956150" cy="170306"/>
            </a:xfrm>
          </p:grpSpPr>
          <p:sp>
            <p:nvSpPr>
              <p:cNvPr id="453" name="TextBox 452">
                <a:extLst>
                  <a:ext uri="{FF2B5EF4-FFF2-40B4-BE49-F238E27FC236}">
                    <a16:creationId xmlns:a16="http://schemas.microsoft.com/office/drawing/2014/main" id="{291206FC-6426-067B-3E96-C4C5EC4F05FF}"/>
                  </a:ext>
                </a:extLst>
              </p:cNvPr>
              <p:cNvSpPr txBox="1"/>
              <p:nvPr/>
            </p:nvSpPr>
            <p:spPr>
              <a:xfrm>
                <a:off x="534953" y="4937930"/>
                <a:ext cx="1031244" cy="1667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1" i="0" u="none" strike="noStrike" kern="1200" cap="none" spc="0" normalizeH="0" baseline="0" noProof="0" dirty="0">
                    <a:ln>
                      <a:noFill/>
                    </a:ln>
                    <a:solidFill>
                      <a:srgbClr val="830051"/>
                    </a:solidFill>
                    <a:effectLst/>
                    <a:uLnTx/>
                    <a:uFillTx/>
                    <a:latin typeface="Calibri"/>
                    <a:ea typeface="+mn-ea"/>
                    <a:cs typeface="+mn-cs"/>
                  </a:rPr>
                  <a:t>Олапариб + абиратерон</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1" i="0" u="none" strike="noStrike" kern="1200" cap="none" spc="0" normalizeH="0" baseline="0" noProof="0" dirty="0">
                    <a:ln>
                      <a:noFill/>
                    </a:ln>
                    <a:solidFill>
                      <a:schemeClr val="tx2"/>
                    </a:solidFill>
                    <a:effectLst/>
                    <a:uLnTx/>
                    <a:uFillTx/>
                    <a:latin typeface="Calibri"/>
                    <a:ea typeface="+mn-ea"/>
                    <a:cs typeface="+mn-cs"/>
                  </a:rPr>
                  <a:t>Плацебо + абиратерон</a:t>
                </a:r>
              </a:p>
            </p:txBody>
          </p:sp>
          <p:grpSp>
            <p:nvGrpSpPr>
              <p:cNvPr id="454" name="Group 453">
                <a:extLst>
                  <a:ext uri="{FF2B5EF4-FFF2-40B4-BE49-F238E27FC236}">
                    <a16:creationId xmlns:a16="http://schemas.microsoft.com/office/drawing/2014/main" id="{4F6A7A05-3AF4-B7A8-DDA3-42E23EE2995E}"/>
                  </a:ext>
                </a:extLst>
              </p:cNvPr>
              <p:cNvGrpSpPr/>
              <p:nvPr/>
            </p:nvGrpSpPr>
            <p:grpSpPr>
              <a:xfrm>
                <a:off x="1414507" y="4934364"/>
                <a:ext cx="4076596" cy="166740"/>
                <a:chOff x="3172902" y="5496057"/>
                <a:chExt cx="4765083" cy="166740"/>
              </a:xfrm>
            </p:grpSpPr>
            <p:sp>
              <p:nvSpPr>
                <p:cNvPr id="455" name="TextBox 454">
                  <a:extLst>
                    <a:ext uri="{FF2B5EF4-FFF2-40B4-BE49-F238E27FC236}">
                      <a16:creationId xmlns:a16="http://schemas.microsoft.com/office/drawing/2014/main" id="{F8DCB2ED-06BD-DD68-4DE9-67D15B85FF40}"/>
                    </a:ext>
                  </a:extLst>
                </p:cNvPr>
                <p:cNvSpPr txBox="1"/>
                <p:nvPr/>
              </p:nvSpPr>
              <p:spPr>
                <a:xfrm>
                  <a:off x="7177271"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1</a:t>
                  </a:r>
                </a:p>
              </p:txBody>
            </p:sp>
            <p:sp>
              <p:nvSpPr>
                <p:cNvPr id="456" name="TextBox 455">
                  <a:extLst>
                    <a:ext uri="{FF2B5EF4-FFF2-40B4-BE49-F238E27FC236}">
                      <a16:creationId xmlns:a16="http://schemas.microsoft.com/office/drawing/2014/main" id="{EA99369B-D5ED-DA73-B5CA-86F6823A9954}"/>
                    </a:ext>
                  </a:extLst>
                </p:cNvPr>
                <p:cNvSpPr txBox="1"/>
                <p:nvPr/>
              </p:nvSpPr>
              <p:spPr>
                <a:xfrm>
                  <a:off x="6986107"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43</a:t>
                  </a:r>
                </a:p>
              </p:txBody>
            </p:sp>
            <p:sp>
              <p:nvSpPr>
                <p:cNvPr id="457" name="TextBox 456">
                  <a:extLst>
                    <a:ext uri="{FF2B5EF4-FFF2-40B4-BE49-F238E27FC236}">
                      <a16:creationId xmlns:a16="http://schemas.microsoft.com/office/drawing/2014/main" id="{22F78D26-EB10-109D-DC90-3780DCA7D377}"/>
                    </a:ext>
                  </a:extLst>
                </p:cNvPr>
                <p:cNvSpPr txBox="1"/>
                <p:nvPr/>
              </p:nvSpPr>
              <p:spPr>
                <a:xfrm>
                  <a:off x="6804993"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7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62</a:t>
                  </a:r>
                </a:p>
              </p:txBody>
            </p:sp>
            <p:sp>
              <p:nvSpPr>
                <p:cNvPr id="458" name="TextBox 457">
                  <a:extLst>
                    <a:ext uri="{FF2B5EF4-FFF2-40B4-BE49-F238E27FC236}">
                      <a16:creationId xmlns:a16="http://schemas.microsoft.com/office/drawing/2014/main" id="{EFDE9959-4379-82CC-124C-25CCDF66AFE8}"/>
                    </a:ext>
                  </a:extLst>
                </p:cNvPr>
                <p:cNvSpPr txBox="1"/>
                <p:nvPr/>
              </p:nvSpPr>
              <p:spPr>
                <a:xfrm>
                  <a:off x="6603782"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91</a:t>
                  </a:r>
                </a:p>
              </p:txBody>
            </p:sp>
            <p:sp>
              <p:nvSpPr>
                <p:cNvPr id="459" name="TextBox 458">
                  <a:extLst>
                    <a:ext uri="{FF2B5EF4-FFF2-40B4-BE49-F238E27FC236}">
                      <a16:creationId xmlns:a16="http://schemas.microsoft.com/office/drawing/2014/main" id="{E4F2496E-3A19-386D-86D2-CB7F4E883840}"/>
                    </a:ext>
                  </a:extLst>
                </p:cNvPr>
                <p:cNvSpPr txBox="1"/>
                <p:nvPr/>
              </p:nvSpPr>
              <p:spPr>
                <a:xfrm>
                  <a:off x="6412619"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5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16</a:t>
                  </a:r>
                </a:p>
              </p:txBody>
            </p:sp>
            <p:sp>
              <p:nvSpPr>
                <p:cNvPr id="460" name="TextBox 459">
                  <a:extLst>
                    <a:ext uri="{FF2B5EF4-FFF2-40B4-BE49-F238E27FC236}">
                      <a16:creationId xmlns:a16="http://schemas.microsoft.com/office/drawing/2014/main" id="{6F3A6ADF-E81E-E98F-484D-9E80508B3A87}"/>
                    </a:ext>
                  </a:extLst>
                </p:cNvPr>
                <p:cNvSpPr txBox="1"/>
                <p:nvPr/>
              </p:nvSpPr>
              <p:spPr>
                <a:xfrm>
                  <a:off x="6221456"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7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52</a:t>
                  </a:r>
                </a:p>
              </p:txBody>
            </p:sp>
            <p:sp>
              <p:nvSpPr>
                <p:cNvPr id="461" name="TextBox 460">
                  <a:extLst>
                    <a:ext uri="{FF2B5EF4-FFF2-40B4-BE49-F238E27FC236}">
                      <a16:creationId xmlns:a16="http://schemas.microsoft.com/office/drawing/2014/main" id="{083455DB-8F3B-A124-E11C-6AC59C2DD0DE}"/>
                    </a:ext>
                  </a:extLst>
                </p:cNvPr>
                <p:cNvSpPr txBox="1"/>
                <p:nvPr/>
              </p:nvSpPr>
              <p:spPr>
                <a:xfrm>
                  <a:off x="6030293"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9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59</a:t>
                  </a:r>
                </a:p>
              </p:txBody>
            </p:sp>
            <p:sp>
              <p:nvSpPr>
                <p:cNvPr id="462" name="TextBox 461">
                  <a:extLst>
                    <a:ext uri="{FF2B5EF4-FFF2-40B4-BE49-F238E27FC236}">
                      <a16:creationId xmlns:a16="http://schemas.microsoft.com/office/drawing/2014/main" id="{7575304A-E9C8-DA11-0B1C-AC533AB3FC31}"/>
                    </a:ext>
                  </a:extLst>
                </p:cNvPr>
                <p:cNvSpPr txBox="1"/>
                <p:nvPr/>
              </p:nvSpPr>
              <p:spPr>
                <a:xfrm>
                  <a:off x="5834106"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9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64</a:t>
                  </a:r>
                </a:p>
              </p:txBody>
            </p:sp>
            <p:sp>
              <p:nvSpPr>
                <p:cNvPr id="463" name="TextBox 462">
                  <a:extLst>
                    <a:ext uri="{FF2B5EF4-FFF2-40B4-BE49-F238E27FC236}">
                      <a16:creationId xmlns:a16="http://schemas.microsoft.com/office/drawing/2014/main" id="{1992A50B-F2B7-75F5-1813-6D04F63FAE53}"/>
                    </a:ext>
                  </a:extLst>
                </p:cNvPr>
                <p:cNvSpPr txBox="1"/>
                <p:nvPr/>
              </p:nvSpPr>
              <p:spPr>
                <a:xfrm>
                  <a:off x="5647967"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70</a:t>
                  </a:r>
                </a:p>
              </p:txBody>
            </p:sp>
            <p:sp>
              <p:nvSpPr>
                <p:cNvPr id="464" name="TextBox 463">
                  <a:extLst>
                    <a:ext uri="{FF2B5EF4-FFF2-40B4-BE49-F238E27FC236}">
                      <a16:creationId xmlns:a16="http://schemas.microsoft.com/office/drawing/2014/main" id="{1BBBBDEA-AA05-29D5-E01F-76B223B89E3C}"/>
                    </a:ext>
                  </a:extLst>
                </p:cNvPr>
                <p:cNvSpPr txBox="1"/>
                <p:nvPr/>
              </p:nvSpPr>
              <p:spPr>
                <a:xfrm>
                  <a:off x="5456804"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182</a:t>
                  </a:r>
                </a:p>
              </p:txBody>
            </p:sp>
            <p:sp>
              <p:nvSpPr>
                <p:cNvPr id="465" name="TextBox 464">
                  <a:extLst>
                    <a:ext uri="{FF2B5EF4-FFF2-40B4-BE49-F238E27FC236}">
                      <a16:creationId xmlns:a16="http://schemas.microsoft.com/office/drawing/2014/main" id="{379892EF-28E7-57F4-DE0F-CFFAEAC17B62}"/>
                    </a:ext>
                  </a:extLst>
                </p:cNvPr>
                <p:cNvSpPr txBox="1"/>
                <p:nvPr/>
              </p:nvSpPr>
              <p:spPr>
                <a:xfrm>
                  <a:off x="5265641"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06</a:t>
                  </a:r>
                </a:p>
              </p:txBody>
            </p:sp>
            <p:sp>
              <p:nvSpPr>
                <p:cNvPr id="466" name="TextBox 465">
                  <a:extLst>
                    <a:ext uri="{FF2B5EF4-FFF2-40B4-BE49-F238E27FC236}">
                      <a16:creationId xmlns:a16="http://schemas.microsoft.com/office/drawing/2014/main" id="{6EA81550-1FE9-5F23-C3FC-8FECBEE25AC2}"/>
                    </a:ext>
                  </a:extLst>
                </p:cNvPr>
                <p:cNvSpPr txBox="1"/>
                <p:nvPr/>
              </p:nvSpPr>
              <p:spPr>
                <a:xfrm>
                  <a:off x="5079502"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17</a:t>
                  </a:r>
                </a:p>
              </p:txBody>
            </p:sp>
            <p:sp>
              <p:nvSpPr>
                <p:cNvPr id="467" name="TextBox 466">
                  <a:extLst>
                    <a:ext uri="{FF2B5EF4-FFF2-40B4-BE49-F238E27FC236}">
                      <a16:creationId xmlns:a16="http://schemas.microsoft.com/office/drawing/2014/main" id="{A03DDA20-F31E-2F0F-270E-6BD4889C4A6C}"/>
                    </a:ext>
                  </a:extLst>
                </p:cNvPr>
                <p:cNvSpPr txBox="1"/>
                <p:nvPr/>
              </p:nvSpPr>
              <p:spPr>
                <a:xfrm>
                  <a:off x="4888339"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34</a:t>
                  </a:r>
                </a:p>
              </p:txBody>
            </p:sp>
            <p:sp>
              <p:nvSpPr>
                <p:cNvPr id="468" name="TextBox 467">
                  <a:extLst>
                    <a:ext uri="{FF2B5EF4-FFF2-40B4-BE49-F238E27FC236}">
                      <a16:creationId xmlns:a16="http://schemas.microsoft.com/office/drawing/2014/main" id="{E62C2D62-A8CA-C262-E4BF-5C0CFDEE456F}"/>
                    </a:ext>
                  </a:extLst>
                </p:cNvPr>
                <p:cNvSpPr txBox="1"/>
                <p:nvPr/>
              </p:nvSpPr>
              <p:spPr>
                <a:xfrm>
                  <a:off x="4687128"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6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48</a:t>
                  </a:r>
                </a:p>
              </p:txBody>
            </p:sp>
            <p:sp>
              <p:nvSpPr>
                <p:cNvPr id="469" name="TextBox 468">
                  <a:extLst>
                    <a:ext uri="{FF2B5EF4-FFF2-40B4-BE49-F238E27FC236}">
                      <a16:creationId xmlns:a16="http://schemas.microsoft.com/office/drawing/2014/main" id="{D143E4EA-8B28-950D-320B-DCCF51B0DD81}"/>
                    </a:ext>
                  </a:extLst>
                </p:cNvPr>
                <p:cNvSpPr txBox="1"/>
                <p:nvPr/>
              </p:nvSpPr>
              <p:spPr>
                <a:xfrm>
                  <a:off x="4495965"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6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68</a:t>
                  </a:r>
                </a:p>
              </p:txBody>
            </p:sp>
            <p:sp>
              <p:nvSpPr>
                <p:cNvPr id="470" name="TextBox 469">
                  <a:extLst>
                    <a:ext uri="{FF2B5EF4-FFF2-40B4-BE49-F238E27FC236}">
                      <a16:creationId xmlns:a16="http://schemas.microsoft.com/office/drawing/2014/main" id="{1B404951-57B2-45E0-3884-730C2FBB6319}"/>
                    </a:ext>
                  </a:extLst>
                </p:cNvPr>
                <p:cNvSpPr txBox="1"/>
                <p:nvPr/>
              </p:nvSpPr>
              <p:spPr>
                <a:xfrm>
                  <a:off x="4314850"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92</a:t>
                  </a:r>
                </a:p>
              </p:txBody>
            </p:sp>
            <p:sp>
              <p:nvSpPr>
                <p:cNvPr id="471" name="TextBox 470">
                  <a:extLst>
                    <a:ext uri="{FF2B5EF4-FFF2-40B4-BE49-F238E27FC236}">
                      <a16:creationId xmlns:a16="http://schemas.microsoft.com/office/drawing/2014/main" id="{9048EF7D-C3AA-8243-9FD6-2A35A0FA10DA}"/>
                    </a:ext>
                  </a:extLst>
                </p:cNvPr>
                <p:cNvSpPr txBox="1"/>
                <p:nvPr/>
              </p:nvSpPr>
              <p:spPr>
                <a:xfrm>
                  <a:off x="4118663"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0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15</a:t>
                  </a:r>
                </a:p>
              </p:txBody>
            </p:sp>
            <p:sp>
              <p:nvSpPr>
                <p:cNvPr id="472" name="TextBox 471">
                  <a:extLst>
                    <a:ext uri="{FF2B5EF4-FFF2-40B4-BE49-F238E27FC236}">
                      <a16:creationId xmlns:a16="http://schemas.microsoft.com/office/drawing/2014/main" id="{0A202DC6-C25B-2561-5F61-F8B59B85CEF8}"/>
                    </a:ext>
                  </a:extLst>
                </p:cNvPr>
                <p:cNvSpPr txBox="1"/>
                <p:nvPr/>
              </p:nvSpPr>
              <p:spPr>
                <a:xfrm>
                  <a:off x="3927502"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38</a:t>
                  </a:r>
                </a:p>
              </p:txBody>
            </p:sp>
            <p:sp>
              <p:nvSpPr>
                <p:cNvPr id="473" name="TextBox 472">
                  <a:extLst>
                    <a:ext uri="{FF2B5EF4-FFF2-40B4-BE49-F238E27FC236}">
                      <a16:creationId xmlns:a16="http://schemas.microsoft.com/office/drawing/2014/main" id="{F0D8B145-5187-3ACF-365F-102C3D9BD503}"/>
                    </a:ext>
                  </a:extLst>
                </p:cNvPr>
                <p:cNvSpPr txBox="1"/>
                <p:nvPr/>
              </p:nvSpPr>
              <p:spPr>
                <a:xfrm>
                  <a:off x="3746388"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4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51</a:t>
                  </a:r>
                </a:p>
              </p:txBody>
            </p:sp>
            <p:sp>
              <p:nvSpPr>
                <p:cNvPr id="474" name="TextBox 473">
                  <a:extLst>
                    <a:ext uri="{FF2B5EF4-FFF2-40B4-BE49-F238E27FC236}">
                      <a16:creationId xmlns:a16="http://schemas.microsoft.com/office/drawing/2014/main" id="{E45E3D34-3C6C-EDE7-2779-6312F9D3EA5B}"/>
                    </a:ext>
                  </a:extLst>
                </p:cNvPr>
                <p:cNvSpPr txBox="1"/>
                <p:nvPr/>
              </p:nvSpPr>
              <p:spPr>
                <a:xfrm>
                  <a:off x="3550202"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6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67</a:t>
                  </a:r>
                </a:p>
              </p:txBody>
            </p:sp>
            <p:sp>
              <p:nvSpPr>
                <p:cNvPr id="475" name="TextBox 474">
                  <a:extLst>
                    <a:ext uri="{FF2B5EF4-FFF2-40B4-BE49-F238E27FC236}">
                      <a16:creationId xmlns:a16="http://schemas.microsoft.com/office/drawing/2014/main" id="{50C6D1E2-43CE-F4DE-8D94-74327332CB0C}"/>
                    </a:ext>
                  </a:extLst>
                </p:cNvPr>
                <p:cNvSpPr txBox="1"/>
                <p:nvPr/>
              </p:nvSpPr>
              <p:spPr>
                <a:xfrm>
                  <a:off x="3359040"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8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80</a:t>
                  </a:r>
                </a:p>
              </p:txBody>
            </p:sp>
            <p:sp>
              <p:nvSpPr>
                <p:cNvPr id="476" name="TextBox 475">
                  <a:extLst>
                    <a:ext uri="{FF2B5EF4-FFF2-40B4-BE49-F238E27FC236}">
                      <a16:creationId xmlns:a16="http://schemas.microsoft.com/office/drawing/2014/main" id="{373810C3-21C7-F67C-4B30-D918B32416B6}"/>
                    </a:ext>
                  </a:extLst>
                </p:cNvPr>
                <p:cNvSpPr txBox="1"/>
                <p:nvPr/>
              </p:nvSpPr>
              <p:spPr>
                <a:xfrm>
                  <a:off x="3172902"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397</a:t>
                  </a:r>
                </a:p>
              </p:txBody>
            </p:sp>
            <p:sp>
              <p:nvSpPr>
                <p:cNvPr id="477" name="TextBox 476">
                  <a:extLst>
                    <a:ext uri="{FF2B5EF4-FFF2-40B4-BE49-F238E27FC236}">
                      <a16:creationId xmlns:a16="http://schemas.microsoft.com/office/drawing/2014/main" id="{B02DBB86-2CED-6D79-21E3-D2DC47E43BD4}"/>
                    </a:ext>
                  </a:extLst>
                </p:cNvPr>
                <p:cNvSpPr txBox="1"/>
                <p:nvPr/>
              </p:nvSpPr>
              <p:spPr>
                <a:xfrm>
                  <a:off x="7363410"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7</a:t>
                  </a:r>
                </a:p>
              </p:txBody>
            </p:sp>
            <p:sp>
              <p:nvSpPr>
                <p:cNvPr id="478" name="TextBox 477">
                  <a:extLst>
                    <a:ext uri="{FF2B5EF4-FFF2-40B4-BE49-F238E27FC236}">
                      <a16:creationId xmlns:a16="http://schemas.microsoft.com/office/drawing/2014/main" id="{CAF07C8B-B89C-A696-7A11-90A1651A68B8}"/>
                    </a:ext>
                  </a:extLst>
                </p:cNvPr>
                <p:cNvSpPr txBox="1"/>
                <p:nvPr/>
              </p:nvSpPr>
              <p:spPr>
                <a:xfrm>
                  <a:off x="7554573"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0</a:t>
                  </a:r>
                </a:p>
              </p:txBody>
            </p:sp>
            <p:sp>
              <p:nvSpPr>
                <p:cNvPr id="479" name="TextBox 478">
                  <a:extLst>
                    <a:ext uri="{FF2B5EF4-FFF2-40B4-BE49-F238E27FC236}">
                      <a16:creationId xmlns:a16="http://schemas.microsoft.com/office/drawing/2014/main" id="{5EFEFB97-729C-2695-922B-938551EA9E97}"/>
                    </a:ext>
                  </a:extLst>
                </p:cNvPr>
                <p:cNvSpPr txBox="1"/>
                <p:nvPr/>
              </p:nvSpPr>
              <p:spPr>
                <a:xfrm>
                  <a:off x="7755776" y="5496057"/>
                  <a:ext cx="182209" cy="1667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F4444"/>
                      </a:solidFill>
                      <a:effectLst/>
                      <a:uLnTx/>
                      <a:uFillTx/>
                      <a:latin typeface="Calibri"/>
                      <a:ea typeface="+mn-ea"/>
                      <a:cs typeface="+mn-cs"/>
                    </a:rPr>
                    <a:t>0</a:t>
                  </a:r>
                </a:p>
              </p:txBody>
            </p:sp>
          </p:grpSp>
        </p:grpSp>
        <p:sp>
          <p:nvSpPr>
            <p:cNvPr id="229" name="TextBox 228">
              <a:extLst>
                <a:ext uri="{FF2B5EF4-FFF2-40B4-BE49-F238E27FC236}">
                  <a16:creationId xmlns:a16="http://schemas.microsoft.com/office/drawing/2014/main" id="{20EE2073-EEF3-9214-79D4-ADF2B071A1BB}"/>
                </a:ext>
              </a:extLst>
            </p:cNvPr>
            <p:cNvSpPr txBox="1"/>
            <p:nvPr/>
          </p:nvSpPr>
          <p:spPr>
            <a:xfrm>
              <a:off x="6209455" y="4745046"/>
              <a:ext cx="1601615" cy="8337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1" i="0" u="none" strike="noStrike" kern="1200" cap="none" spc="0" normalizeH="0" baseline="0" noProof="0" dirty="0">
                  <a:ln>
                    <a:noFill/>
                  </a:ln>
                  <a:solidFill>
                    <a:srgbClr val="3F4444"/>
                  </a:solidFill>
                  <a:effectLst/>
                  <a:uLnTx/>
                  <a:uFillTx/>
                  <a:latin typeface="Calibri"/>
                  <a:ea typeface="+mn-ea"/>
                  <a:cs typeface="+mn-cs"/>
                </a:rPr>
                <a:t>Кол-во пациентов, подверженных риску</a:t>
              </a:r>
            </a:p>
          </p:txBody>
        </p:sp>
        <p:grpSp>
          <p:nvGrpSpPr>
            <p:cNvPr id="230" name="Graphic 60">
              <a:extLst>
                <a:ext uri="{FF2B5EF4-FFF2-40B4-BE49-F238E27FC236}">
                  <a16:creationId xmlns:a16="http://schemas.microsoft.com/office/drawing/2014/main" id="{470953A6-B568-300C-466E-2F112719EDF2}"/>
                </a:ext>
              </a:extLst>
            </p:cNvPr>
            <p:cNvGrpSpPr/>
            <p:nvPr/>
          </p:nvGrpSpPr>
          <p:grpSpPr>
            <a:xfrm>
              <a:off x="7214702" y="2196758"/>
              <a:ext cx="4394893" cy="2231707"/>
              <a:chOff x="7214702" y="2196758"/>
              <a:chExt cx="4394893" cy="2231707"/>
            </a:xfrm>
            <a:noFill/>
          </p:grpSpPr>
          <p:sp>
            <p:nvSpPr>
              <p:cNvPr id="416" name="Freeform: Shape 415">
                <a:extLst>
                  <a:ext uri="{FF2B5EF4-FFF2-40B4-BE49-F238E27FC236}">
                    <a16:creationId xmlns:a16="http://schemas.microsoft.com/office/drawing/2014/main" id="{DC09E95A-5BC6-19EC-7565-44206538888C}"/>
                  </a:ext>
                </a:extLst>
              </p:cNvPr>
              <p:cNvSpPr/>
              <p:nvPr/>
            </p:nvSpPr>
            <p:spPr>
              <a:xfrm>
                <a:off x="7217446" y="3287466"/>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grpSp>
            <p:nvGrpSpPr>
              <p:cNvPr id="417" name="Graphic 60">
                <a:extLst>
                  <a:ext uri="{FF2B5EF4-FFF2-40B4-BE49-F238E27FC236}">
                    <a16:creationId xmlns:a16="http://schemas.microsoft.com/office/drawing/2014/main" id="{CF4997EC-35CD-7F1D-ECAD-F3A35A7F866E}"/>
                  </a:ext>
                </a:extLst>
              </p:cNvPr>
              <p:cNvGrpSpPr/>
              <p:nvPr/>
            </p:nvGrpSpPr>
            <p:grpSpPr>
              <a:xfrm>
                <a:off x="7214702" y="2196758"/>
                <a:ext cx="4394893" cy="2231707"/>
                <a:chOff x="7214702" y="2196758"/>
                <a:chExt cx="4394893" cy="2231707"/>
              </a:xfrm>
              <a:noFill/>
            </p:grpSpPr>
            <p:sp>
              <p:nvSpPr>
                <p:cNvPr id="418" name="Freeform: Shape 417">
                  <a:extLst>
                    <a:ext uri="{FF2B5EF4-FFF2-40B4-BE49-F238E27FC236}">
                      <a16:creationId xmlns:a16="http://schemas.microsoft.com/office/drawing/2014/main" id="{AFC7C1F6-F14F-571F-38A8-FB8EB13D9DE2}"/>
                    </a:ext>
                  </a:extLst>
                </p:cNvPr>
                <p:cNvSpPr/>
                <p:nvPr/>
              </p:nvSpPr>
              <p:spPr>
                <a:xfrm>
                  <a:off x="7214702" y="2196758"/>
                  <a:ext cx="4394893" cy="2231707"/>
                </a:xfrm>
                <a:custGeom>
                  <a:avLst/>
                  <a:gdLst>
                    <a:gd name="connsiteX0" fmla="*/ 0 w 4394893"/>
                    <a:gd name="connsiteY0" fmla="*/ 0 h 2231707"/>
                    <a:gd name="connsiteX1" fmla="*/ 52987 w 4394893"/>
                    <a:gd name="connsiteY1" fmla="*/ 0 h 2231707"/>
                    <a:gd name="connsiteX2" fmla="*/ 52987 w 4394893"/>
                    <a:gd name="connsiteY2" fmla="*/ 2181606 h 2231707"/>
                    <a:gd name="connsiteX3" fmla="*/ 4394893 w 4394893"/>
                    <a:gd name="connsiteY3" fmla="*/ 2181606 h 2231707"/>
                    <a:gd name="connsiteX4" fmla="*/ 4394893 w 4394893"/>
                    <a:gd name="connsiteY4" fmla="*/ 2231708 h 2231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4893" h="2231707">
                      <a:moveTo>
                        <a:pt x="0" y="0"/>
                      </a:moveTo>
                      <a:lnTo>
                        <a:pt x="52987" y="0"/>
                      </a:lnTo>
                      <a:lnTo>
                        <a:pt x="52987" y="2181606"/>
                      </a:lnTo>
                      <a:lnTo>
                        <a:pt x="4394893" y="2181606"/>
                      </a:lnTo>
                      <a:lnTo>
                        <a:pt x="4394893" y="2231708"/>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19" name="Freeform: Shape 418">
                  <a:extLst>
                    <a:ext uri="{FF2B5EF4-FFF2-40B4-BE49-F238E27FC236}">
                      <a16:creationId xmlns:a16="http://schemas.microsoft.com/office/drawing/2014/main" id="{B5E9C447-6A9E-830C-906B-E30BE77FF6EE}"/>
                    </a:ext>
                  </a:extLst>
                </p:cNvPr>
                <p:cNvSpPr/>
                <p:nvPr/>
              </p:nvSpPr>
              <p:spPr>
                <a:xfrm>
                  <a:off x="7217446" y="2413833"/>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20" name="Freeform: Shape 419">
                  <a:extLst>
                    <a:ext uri="{FF2B5EF4-FFF2-40B4-BE49-F238E27FC236}">
                      <a16:creationId xmlns:a16="http://schemas.microsoft.com/office/drawing/2014/main" id="{76C3E748-0F14-68CD-F73B-2FB244BF36AB}"/>
                    </a:ext>
                  </a:extLst>
                </p:cNvPr>
                <p:cNvSpPr/>
                <p:nvPr/>
              </p:nvSpPr>
              <p:spPr>
                <a:xfrm>
                  <a:off x="7217446" y="2632242"/>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21" name="Freeform: Shape 420">
                  <a:extLst>
                    <a:ext uri="{FF2B5EF4-FFF2-40B4-BE49-F238E27FC236}">
                      <a16:creationId xmlns:a16="http://schemas.microsoft.com/office/drawing/2014/main" id="{23FDF262-CFDB-C86C-1582-E23B325D571B}"/>
                    </a:ext>
                  </a:extLst>
                </p:cNvPr>
                <p:cNvSpPr/>
                <p:nvPr/>
              </p:nvSpPr>
              <p:spPr>
                <a:xfrm>
                  <a:off x="7217446" y="2850650"/>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22" name="Freeform: Shape 421">
                  <a:extLst>
                    <a:ext uri="{FF2B5EF4-FFF2-40B4-BE49-F238E27FC236}">
                      <a16:creationId xmlns:a16="http://schemas.microsoft.com/office/drawing/2014/main" id="{B0C4AE5B-9884-0E9A-66F5-EF85B8A3826B}"/>
                    </a:ext>
                  </a:extLst>
                </p:cNvPr>
                <p:cNvSpPr/>
                <p:nvPr/>
              </p:nvSpPr>
              <p:spPr>
                <a:xfrm>
                  <a:off x="7217446" y="3069058"/>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23" name="Freeform: Shape 422">
                  <a:extLst>
                    <a:ext uri="{FF2B5EF4-FFF2-40B4-BE49-F238E27FC236}">
                      <a16:creationId xmlns:a16="http://schemas.microsoft.com/office/drawing/2014/main" id="{57F05509-0D5C-4A97-614F-6D96BD96BE3F}"/>
                    </a:ext>
                  </a:extLst>
                </p:cNvPr>
                <p:cNvSpPr/>
                <p:nvPr/>
              </p:nvSpPr>
              <p:spPr>
                <a:xfrm>
                  <a:off x="7217446" y="3505875"/>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24" name="Freeform: Shape 423">
                  <a:extLst>
                    <a:ext uri="{FF2B5EF4-FFF2-40B4-BE49-F238E27FC236}">
                      <a16:creationId xmlns:a16="http://schemas.microsoft.com/office/drawing/2014/main" id="{2C83E574-38F3-0252-F3AA-702EB1B3EF0F}"/>
                    </a:ext>
                  </a:extLst>
                </p:cNvPr>
                <p:cNvSpPr/>
                <p:nvPr/>
              </p:nvSpPr>
              <p:spPr>
                <a:xfrm>
                  <a:off x="7217446" y="3724283"/>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25" name="Freeform: Shape 424">
                  <a:extLst>
                    <a:ext uri="{FF2B5EF4-FFF2-40B4-BE49-F238E27FC236}">
                      <a16:creationId xmlns:a16="http://schemas.microsoft.com/office/drawing/2014/main" id="{21FAAA0C-C4B4-0AA5-F85C-918E4136569C}"/>
                    </a:ext>
                  </a:extLst>
                </p:cNvPr>
                <p:cNvSpPr/>
                <p:nvPr/>
              </p:nvSpPr>
              <p:spPr>
                <a:xfrm>
                  <a:off x="7217446" y="3942691"/>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26" name="Freeform: Shape 425">
                  <a:extLst>
                    <a:ext uri="{FF2B5EF4-FFF2-40B4-BE49-F238E27FC236}">
                      <a16:creationId xmlns:a16="http://schemas.microsoft.com/office/drawing/2014/main" id="{1E192F93-0EDE-2EED-80E3-A530F74AC489}"/>
                    </a:ext>
                  </a:extLst>
                </p:cNvPr>
                <p:cNvSpPr/>
                <p:nvPr/>
              </p:nvSpPr>
              <p:spPr>
                <a:xfrm>
                  <a:off x="7217446" y="4161099"/>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grpSp>
              <p:nvGrpSpPr>
                <p:cNvPr id="427" name="Graphic 60">
                  <a:extLst>
                    <a:ext uri="{FF2B5EF4-FFF2-40B4-BE49-F238E27FC236}">
                      <a16:creationId xmlns:a16="http://schemas.microsoft.com/office/drawing/2014/main" id="{8E604208-02CD-7852-CF91-F824B2FA2ACB}"/>
                    </a:ext>
                  </a:extLst>
                </p:cNvPr>
                <p:cNvGrpSpPr/>
                <p:nvPr/>
              </p:nvGrpSpPr>
              <p:grpSpPr>
                <a:xfrm>
                  <a:off x="7267583" y="4380841"/>
                  <a:ext cx="4154761" cy="47625"/>
                  <a:chOff x="7267583" y="4380841"/>
                  <a:chExt cx="4154761" cy="47625"/>
                </a:xfrm>
              </p:grpSpPr>
              <p:sp>
                <p:nvSpPr>
                  <p:cNvPr id="429" name="Freeform: Shape 428">
                    <a:extLst>
                      <a:ext uri="{FF2B5EF4-FFF2-40B4-BE49-F238E27FC236}">
                        <a16:creationId xmlns:a16="http://schemas.microsoft.com/office/drawing/2014/main" id="{8EB99365-7BE7-5B4E-BA47-924AD83DD889}"/>
                      </a:ext>
                    </a:extLst>
                  </p:cNvPr>
                  <p:cNvSpPr/>
                  <p:nvPr/>
                </p:nvSpPr>
                <p:spPr>
                  <a:xfrm>
                    <a:off x="7267583"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30" name="Freeform: Shape 429">
                    <a:extLst>
                      <a:ext uri="{FF2B5EF4-FFF2-40B4-BE49-F238E27FC236}">
                        <a16:creationId xmlns:a16="http://schemas.microsoft.com/office/drawing/2014/main" id="{1C8DD26C-758F-15D6-4B13-AD191641EC7F}"/>
                      </a:ext>
                    </a:extLst>
                  </p:cNvPr>
                  <p:cNvSpPr/>
                  <p:nvPr/>
                </p:nvSpPr>
                <p:spPr>
                  <a:xfrm>
                    <a:off x="7444595"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31" name="Freeform: Shape 430">
                    <a:extLst>
                      <a:ext uri="{FF2B5EF4-FFF2-40B4-BE49-F238E27FC236}">
                        <a16:creationId xmlns:a16="http://schemas.microsoft.com/office/drawing/2014/main" id="{9CF65DB7-D3B5-C40C-64D6-C66FFE5CE035}"/>
                      </a:ext>
                    </a:extLst>
                  </p:cNvPr>
                  <p:cNvSpPr/>
                  <p:nvPr/>
                </p:nvSpPr>
                <p:spPr>
                  <a:xfrm>
                    <a:off x="7626462"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32" name="Freeform: Shape 431">
                    <a:extLst>
                      <a:ext uri="{FF2B5EF4-FFF2-40B4-BE49-F238E27FC236}">
                        <a16:creationId xmlns:a16="http://schemas.microsoft.com/office/drawing/2014/main" id="{67A61393-DAB1-EF6D-9E8A-19BBE61DAC6B}"/>
                      </a:ext>
                    </a:extLst>
                  </p:cNvPr>
                  <p:cNvSpPr/>
                  <p:nvPr/>
                </p:nvSpPr>
                <p:spPr>
                  <a:xfrm>
                    <a:off x="7808435"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33" name="Freeform: Shape 432">
                    <a:extLst>
                      <a:ext uri="{FF2B5EF4-FFF2-40B4-BE49-F238E27FC236}">
                        <a16:creationId xmlns:a16="http://schemas.microsoft.com/office/drawing/2014/main" id="{20541416-8178-F315-7948-1695E35A8555}"/>
                      </a:ext>
                    </a:extLst>
                  </p:cNvPr>
                  <p:cNvSpPr/>
                  <p:nvPr/>
                </p:nvSpPr>
                <p:spPr>
                  <a:xfrm>
                    <a:off x="7981330"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34" name="Freeform: Shape 433">
                    <a:extLst>
                      <a:ext uri="{FF2B5EF4-FFF2-40B4-BE49-F238E27FC236}">
                        <a16:creationId xmlns:a16="http://schemas.microsoft.com/office/drawing/2014/main" id="{E1A37D4A-534E-A6DB-11B4-FC4558E21395}"/>
                      </a:ext>
                    </a:extLst>
                  </p:cNvPr>
                  <p:cNvSpPr/>
                  <p:nvPr/>
                </p:nvSpPr>
                <p:spPr>
                  <a:xfrm>
                    <a:off x="8163197"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35" name="Freeform: Shape 434">
                    <a:extLst>
                      <a:ext uri="{FF2B5EF4-FFF2-40B4-BE49-F238E27FC236}">
                        <a16:creationId xmlns:a16="http://schemas.microsoft.com/office/drawing/2014/main" id="{B7911E4C-3661-4E16-25A2-82118E159D86}"/>
                      </a:ext>
                    </a:extLst>
                  </p:cNvPr>
                  <p:cNvSpPr/>
                  <p:nvPr/>
                </p:nvSpPr>
                <p:spPr>
                  <a:xfrm>
                    <a:off x="8349286"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36" name="Freeform: Shape 435">
                    <a:extLst>
                      <a:ext uri="{FF2B5EF4-FFF2-40B4-BE49-F238E27FC236}">
                        <a16:creationId xmlns:a16="http://schemas.microsoft.com/office/drawing/2014/main" id="{40DB6B81-153C-AAAE-1D9E-C89D11B19BEE}"/>
                      </a:ext>
                    </a:extLst>
                  </p:cNvPr>
                  <p:cNvSpPr/>
                  <p:nvPr/>
                </p:nvSpPr>
                <p:spPr>
                  <a:xfrm>
                    <a:off x="8522181"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37" name="Freeform: Shape 436">
                    <a:extLst>
                      <a:ext uri="{FF2B5EF4-FFF2-40B4-BE49-F238E27FC236}">
                        <a16:creationId xmlns:a16="http://schemas.microsoft.com/office/drawing/2014/main" id="{0B0AF5B8-D389-43D8-D89A-47D3B98ED1CB}"/>
                      </a:ext>
                    </a:extLst>
                  </p:cNvPr>
                  <p:cNvSpPr/>
                  <p:nvPr/>
                </p:nvSpPr>
                <p:spPr>
                  <a:xfrm>
                    <a:off x="8704049"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38" name="Freeform: Shape 437">
                    <a:extLst>
                      <a:ext uri="{FF2B5EF4-FFF2-40B4-BE49-F238E27FC236}">
                        <a16:creationId xmlns:a16="http://schemas.microsoft.com/office/drawing/2014/main" id="{1A620A8E-9544-7F93-8B01-36E8930AD2A2}"/>
                      </a:ext>
                    </a:extLst>
                  </p:cNvPr>
                  <p:cNvSpPr/>
                  <p:nvPr/>
                </p:nvSpPr>
                <p:spPr>
                  <a:xfrm>
                    <a:off x="8895099"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39" name="Freeform: Shape 438">
                    <a:extLst>
                      <a:ext uri="{FF2B5EF4-FFF2-40B4-BE49-F238E27FC236}">
                        <a16:creationId xmlns:a16="http://schemas.microsoft.com/office/drawing/2014/main" id="{A65B6DAA-0F2B-60AB-7710-E201A83EDE50}"/>
                      </a:ext>
                    </a:extLst>
                  </p:cNvPr>
                  <p:cNvSpPr/>
                  <p:nvPr/>
                </p:nvSpPr>
                <p:spPr>
                  <a:xfrm>
                    <a:off x="9076966"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40" name="Freeform: Shape 439">
                    <a:extLst>
                      <a:ext uri="{FF2B5EF4-FFF2-40B4-BE49-F238E27FC236}">
                        <a16:creationId xmlns:a16="http://schemas.microsoft.com/office/drawing/2014/main" id="{5FA9FB5A-6E26-B0B6-6232-463C58A8B1D5}"/>
                      </a:ext>
                    </a:extLst>
                  </p:cNvPr>
                  <p:cNvSpPr/>
                  <p:nvPr/>
                </p:nvSpPr>
                <p:spPr>
                  <a:xfrm>
                    <a:off x="9253978"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41" name="Freeform: Shape 440">
                    <a:extLst>
                      <a:ext uri="{FF2B5EF4-FFF2-40B4-BE49-F238E27FC236}">
                        <a16:creationId xmlns:a16="http://schemas.microsoft.com/office/drawing/2014/main" id="{4CCCC79C-99F0-5C86-BB95-77F0D4ABB267}"/>
                      </a:ext>
                    </a:extLst>
                  </p:cNvPr>
                  <p:cNvSpPr/>
                  <p:nvPr/>
                </p:nvSpPr>
                <p:spPr>
                  <a:xfrm>
                    <a:off x="9435950"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42" name="Freeform: Shape 441">
                    <a:extLst>
                      <a:ext uri="{FF2B5EF4-FFF2-40B4-BE49-F238E27FC236}">
                        <a16:creationId xmlns:a16="http://schemas.microsoft.com/office/drawing/2014/main" id="{6E462AFD-D14D-4090-0D8E-F36527E0B60C}"/>
                      </a:ext>
                    </a:extLst>
                  </p:cNvPr>
                  <p:cNvSpPr/>
                  <p:nvPr/>
                </p:nvSpPr>
                <p:spPr>
                  <a:xfrm>
                    <a:off x="9617817"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43" name="Freeform: Shape 442">
                    <a:extLst>
                      <a:ext uri="{FF2B5EF4-FFF2-40B4-BE49-F238E27FC236}">
                        <a16:creationId xmlns:a16="http://schemas.microsoft.com/office/drawing/2014/main" id="{D5CE0CB6-0B4F-CAC9-1621-F400388E660D}"/>
                      </a:ext>
                    </a:extLst>
                  </p:cNvPr>
                  <p:cNvSpPr/>
                  <p:nvPr/>
                </p:nvSpPr>
                <p:spPr>
                  <a:xfrm>
                    <a:off x="9790712"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44" name="Freeform: Shape 443">
                    <a:extLst>
                      <a:ext uri="{FF2B5EF4-FFF2-40B4-BE49-F238E27FC236}">
                        <a16:creationId xmlns:a16="http://schemas.microsoft.com/office/drawing/2014/main" id="{2DCA2E64-E901-3F20-551B-60FB0AF8919F}"/>
                      </a:ext>
                    </a:extLst>
                  </p:cNvPr>
                  <p:cNvSpPr/>
                  <p:nvPr/>
                </p:nvSpPr>
                <p:spPr>
                  <a:xfrm>
                    <a:off x="9976802"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45" name="Freeform: Shape 444">
                    <a:extLst>
                      <a:ext uri="{FF2B5EF4-FFF2-40B4-BE49-F238E27FC236}">
                        <a16:creationId xmlns:a16="http://schemas.microsoft.com/office/drawing/2014/main" id="{602AE970-94F9-9A7D-3BBF-1309A535071A}"/>
                      </a:ext>
                    </a:extLst>
                  </p:cNvPr>
                  <p:cNvSpPr/>
                  <p:nvPr/>
                </p:nvSpPr>
                <p:spPr>
                  <a:xfrm>
                    <a:off x="10158774"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46" name="Freeform: Shape 445">
                    <a:extLst>
                      <a:ext uri="{FF2B5EF4-FFF2-40B4-BE49-F238E27FC236}">
                        <a16:creationId xmlns:a16="http://schemas.microsoft.com/office/drawing/2014/main" id="{B10542A2-B135-9BE6-6A86-EFF486F96BFD}"/>
                      </a:ext>
                    </a:extLst>
                  </p:cNvPr>
                  <p:cNvSpPr/>
                  <p:nvPr/>
                </p:nvSpPr>
                <p:spPr>
                  <a:xfrm>
                    <a:off x="11422344"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47" name="Freeform: Shape 446">
                    <a:extLst>
                      <a:ext uri="{FF2B5EF4-FFF2-40B4-BE49-F238E27FC236}">
                        <a16:creationId xmlns:a16="http://schemas.microsoft.com/office/drawing/2014/main" id="{08416445-B60E-0560-CE98-C6E500E26859}"/>
                      </a:ext>
                    </a:extLst>
                  </p:cNvPr>
                  <p:cNvSpPr/>
                  <p:nvPr/>
                </p:nvSpPr>
                <p:spPr>
                  <a:xfrm>
                    <a:off x="11240477"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48" name="Freeform: Shape 447">
                    <a:extLst>
                      <a:ext uri="{FF2B5EF4-FFF2-40B4-BE49-F238E27FC236}">
                        <a16:creationId xmlns:a16="http://schemas.microsoft.com/office/drawing/2014/main" id="{609E805E-81E3-B558-A977-29E8F2532401}"/>
                      </a:ext>
                    </a:extLst>
                  </p:cNvPr>
                  <p:cNvSpPr/>
                  <p:nvPr/>
                </p:nvSpPr>
                <p:spPr>
                  <a:xfrm>
                    <a:off x="11063466"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49" name="Freeform: Shape 448">
                    <a:extLst>
                      <a:ext uri="{FF2B5EF4-FFF2-40B4-BE49-F238E27FC236}">
                        <a16:creationId xmlns:a16="http://schemas.microsoft.com/office/drawing/2014/main" id="{6E04D52A-D4C6-20CC-237B-51457D248C42}"/>
                      </a:ext>
                    </a:extLst>
                  </p:cNvPr>
                  <p:cNvSpPr/>
                  <p:nvPr/>
                </p:nvSpPr>
                <p:spPr>
                  <a:xfrm>
                    <a:off x="10708703"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50" name="Freeform: Shape 449">
                    <a:extLst>
                      <a:ext uri="{FF2B5EF4-FFF2-40B4-BE49-F238E27FC236}">
                        <a16:creationId xmlns:a16="http://schemas.microsoft.com/office/drawing/2014/main" id="{7CAE2C81-B921-A39F-B757-F35373258702}"/>
                      </a:ext>
                    </a:extLst>
                  </p:cNvPr>
                  <p:cNvSpPr/>
                  <p:nvPr/>
                </p:nvSpPr>
                <p:spPr>
                  <a:xfrm>
                    <a:off x="10522614"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51" name="Freeform: Shape 450">
                    <a:extLst>
                      <a:ext uri="{FF2B5EF4-FFF2-40B4-BE49-F238E27FC236}">
                        <a16:creationId xmlns:a16="http://schemas.microsoft.com/office/drawing/2014/main" id="{07521857-B06D-489A-9A56-E88D2409E829}"/>
                      </a:ext>
                    </a:extLst>
                  </p:cNvPr>
                  <p:cNvSpPr/>
                  <p:nvPr/>
                </p:nvSpPr>
                <p:spPr>
                  <a:xfrm>
                    <a:off x="10340641"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52" name="Freeform: Shape 451">
                    <a:extLst>
                      <a:ext uri="{FF2B5EF4-FFF2-40B4-BE49-F238E27FC236}">
                        <a16:creationId xmlns:a16="http://schemas.microsoft.com/office/drawing/2014/main" id="{965CD37F-E077-59B3-29AC-30C29AC7D5B8}"/>
                      </a:ext>
                    </a:extLst>
                  </p:cNvPr>
                  <p:cNvSpPr/>
                  <p:nvPr/>
                </p:nvSpPr>
                <p:spPr>
                  <a:xfrm>
                    <a:off x="10881493" y="4380841"/>
                    <a:ext cx="10555" cy="47625"/>
                  </a:xfrm>
                  <a:custGeom>
                    <a:avLst/>
                    <a:gdLst>
                      <a:gd name="connsiteX0" fmla="*/ 0 w 10555"/>
                      <a:gd name="connsiteY0" fmla="*/ 47625 h 47625"/>
                      <a:gd name="connsiteX1" fmla="*/ 0 w 10555"/>
                      <a:gd name="connsiteY1" fmla="*/ 0 h 47625"/>
                    </a:gdLst>
                    <a:ahLst/>
                    <a:cxnLst>
                      <a:cxn ang="0">
                        <a:pos x="connsiteX0" y="connsiteY0"/>
                      </a:cxn>
                      <a:cxn ang="0">
                        <a:pos x="connsiteX1" y="connsiteY1"/>
                      </a:cxn>
                    </a:cxnLst>
                    <a:rect l="l" t="t" r="r" b="b"/>
                    <a:pathLst>
                      <a:path w="10555" h="47625">
                        <a:moveTo>
                          <a:pt x="0" y="47625"/>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grpSp>
            <p:sp>
              <p:nvSpPr>
                <p:cNvPr id="428" name="Freeform: Shape 427">
                  <a:extLst>
                    <a:ext uri="{FF2B5EF4-FFF2-40B4-BE49-F238E27FC236}">
                      <a16:creationId xmlns:a16="http://schemas.microsoft.com/office/drawing/2014/main" id="{ED959C24-BAF2-B539-8D5E-0EA72E91325A}"/>
                    </a:ext>
                  </a:extLst>
                </p:cNvPr>
                <p:cNvSpPr/>
                <p:nvPr/>
              </p:nvSpPr>
              <p:spPr>
                <a:xfrm>
                  <a:off x="7217446" y="4378174"/>
                  <a:ext cx="50243" cy="9525"/>
                </a:xfrm>
                <a:custGeom>
                  <a:avLst/>
                  <a:gdLst>
                    <a:gd name="connsiteX0" fmla="*/ 0 w 50243"/>
                    <a:gd name="connsiteY0" fmla="*/ 0 h 9525"/>
                    <a:gd name="connsiteX1" fmla="*/ 50243 w 50243"/>
                    <a:gd name="connsiteY1" fmla="*/ 0 h 9525"/>
                  </a:gdLst>
                  <a:ahLst/>
                  <a:cxnLst>
                    <a:cxn ang="0">
                      <a:pos x="connsiteX0" y="connsiteY0"/>
                    </a:cxn>
                    <a:cxn ang="0">
                      <a:pos x="connsiteX1" y="connsiteY1"/>
                    </a:cxn>
                  </a:cxnLst>
                  <a:rect l="l" t="t" r="r" b="b"/>
                  <a:pathLst>
                    <a:path w="50243" h="9525">
                      <a:moveTo>
                        <a:pt x="0" y="0"/>
                      </a:moveTo>
                      <a:lnTo>
                        <a:pt x="50243"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grpSp>
        </p:grpSp>
        <p:grpSp>
          <p:nvGrpSpPr>
            <p:cNvPr id="231" name="Graphic 60">
              <a:extLst>
                <a:ext uri="{FF2B5EF4-FFF2-40B4-BE49-F238E27FC236}">
                  <a16:creationId xmlns:a16="http://schemas.microsoft.com/office/drawing/2014/main" id="{79558E3A-77FB-58A5-2BF5-4C2B30553FC7}"/>
                </a:ext>
              </a:extLst>
            </p:cNvPr>
            <p:cNvGrpSpPr/>
            <p:nvPr/>
          </p:nvGrpSpPr>
          <p:grpSpPr>
            <a:xfrm>
              <a:off x="7267689" y="2182852"/>
              <a:ext cx="4276040" cy="797623"/>
              <a:chOff x="7267689" y="2182852"/>
              <a:chExt cx="4276040" cy="797623"/>
            </a:xfrm>
          </p:grpSpPr>
          <p:sp>
            <p:nvSpPr>
              <p:cNvPr id="330" name="Freeform: Shape 329">
                <a:extLst>
                  <a:ext uri="{FF2B5EF4-FFF2-40B4-BE49-F238E27FC236}">
                    <a16:creationId xmlns:a16="http://schemas.microsoft.com/office/drawing/2014/main" id="{7AC1E791-62F3-1B93-6471-49D24C0991EB}"/>
                  </a:ext>
                </a:extLst>
              </p:cNvPr>
              <p:cNvSpPr/>
              <p:nvPr/>
            </p:nvSpPr>
            <p:spPr>
              <a:xfrm>
                <a:off x="7267689" y="2196473"/>
                <a:ext cx="4247436" cy="768191"/>
              </a:xfrm>
              <a:custGeom>
                <a:avLst/>
                <a:gdLst>
                  <a:gd name="connsiteX0" fmla="*/ 4247437 w 4247436"/>
                  <a:gd name="connsiteY0" fmla="*/ 768191 h 768191"/>
                  <a:gd name="connsiteX1" fmla="*/ 3684630 w 4247436"/>
                  <a:gd name="connsiteY1" fmla="*/ 768191 h 768191"/>
                  <a:gd name="connsiteX2" fmla="*/ 3684630 w 4247436"/>
                  <a:gd name="connsiteY2" fmla="*/ 754285 h 768191"/>
                  <a:gd name="connsiteX3" fmla="*/ 3658347 w 4247436"/>
                  <a:gd name="connsiteY3" fmla="*/ 754285 h 768191"/>
                  <a:gd name="connsiteX4" fmla="*/ 3659086 w 4247436"/>
                  <a:gd name="connsiteY4" fmla="*/ 735616 h 768191"/>
                  <a:gd name="connsiteX5" fmla="*/ 3511946 w 4247436"/>
                  <a:gd name="connsiteY5" fmla="*/ 735616 h 768191"/>
                  <a:gd name="connsiteX6" fmla="*/ 3511946 w 4247436"/>
                  <a:gd name="connsiteY6" fmla="*/ 712280 h 768191"/>
                  <a:gd name="connsiteX7" fmla="*/ 3284586 w 4247436"/>
                  <a:gd name="connsiteY7" fmla="*/ 712280 h 768191"/>
                  <a:gd name="connsiteX8" fmla="*/ 3285324 w 4247436"/>
                  <a:gd name="connsiteY8" fmla="*/ 688848 h 768191"/>
                  <a:gd name="connsiteX9" fmla="*/ 3220515 w 4247436"/>
                  <a:gd name="connsiteY9" fmla="*/ 688848 h 768191"/>
                  <a:gd name="connsiteX10" fmla="*/ 3220093 w 4247436"/>
                  <a:gd name="connsiteY10" fmla="*/ 681419 h 768191"/>
                  <a:gd name="connsiteX11" fmla="*/ 3152117 w 4247436"/>
                  <a:gd name="connsiteY11" fmla="*/ 681419 h 768191"/>
                  <a:gd name="connsiteX12" fmla="*/ 3152117 w 4247436"/>
                  <a:gd name="connsiteY12" fmla="*/ 668750 h 768191"/>
                  <a:gd name="connsiteX13" fmla="*/ 2958850 w 4247436"/>
                  <a:gd name="connsiteY13" fmla="*/ 668750 h 768191"/>
                  <a:gd name="connsiteX14" fmla="*/ 2958850 w 4247436"/>
                  <a:gd name="connsiteY14" fmla="*/ 660178 h 768191"/>
                  <a:gd name="connsiteX15" fmla="*/ 2856570 w 4247436"/>
                  <a:gd name="connsiteY15" fmla="*/ 660178 h 768191"/>
                  <a:gd name="connsiteX16" fmla="*/ 2856570 w 4247436"/>
                  <a:gd name="connsiteY16" fmla="*/ 650653 h 768191"/>
                  <a:gd name="connsiteX17" fmla="*/ 2756190 w 4247436"/>
                  <a:gd name="connsiteY17" fmla="*/ 650653 h 768191"/>
                  <a:gd name="connsiteX18" fmla="*/ 2756611 w 4247436"/>
                  <a:gd name="connsiteY18" fmla="*/ 641128 h 768191"/>
                  <a:gd name="connsiteX19" fmla="*/ 2726846 w 4247436"/>
                  <a:gd name="connsiteY19" fmla="*/ 641128 h 768191"/>
                  <a:gd name="connsiteX20" fmla="*/ 2727374 w 4247436"/>
                  <a:gd name="connsiteY20" fmla="*/ 630746 h 768191"/>
                  <a:gd name="connsiteX21" fmla="*/ 2652431 w 4247436"/>
                  <a:gd name="connsiteY21" fmla="*/ 630746 h 768191"/>
                  <a:gd name="connsiteX22" fmla="*/ 2652853 w 4247436"/>
                  <a:gd name="connsiteY22" fmla="*/ 622459 h 768191"/>
                  <a:gd name="connsiteX23" fmla="*/ 2642298 w 4247436"/>
                  <a:gd name="connsiteY23" fmla="*/ 622459 h 768191"/>
                  <a:gd name="connsiteX24" fmla="*/ 2642298 w 4247436"/>
                  <a:gd name="connsiteY24" fmla="*/ 613315 h 768191"/>
                  <a:gd name="connsiteX25" fmla="*/ 2553845 w 4247436"/>
                  <a:gd name="connsiteY25" fmla="*/ 613315 h 768191"/>
                  <a:gd name="connsiteX26" fmla="*/ 2553845 w 4247436"/>
                  <a:gd name="connsiteY26" fmla="*/ 598646 h 768191"/>
                  <a:gd name="connsiteX27" fmla="*/ 2518802 w 4247436"/>
                  <a:gd name="connsiteY27" fmla="*/ 598646 h 768191"/>
                  <a:gd name="connsiteX28" fmla="*/ 2518802 w 4247436"/>
                  <a:gd name="connsiteY28" fmla="*/ 589598 h 768191"/>
                  <a:gd name="connsiteX29" fmla="*/ 2364484 w 4247436"/>
                  <a:gd name="connsiteY29" fmla="*/ 589598 h 768191"/>
                  <a:gd name="connsiteX30" fmla="*/ 2364484 w 4247436"/>
                  <a:gd name="connsiteY30" fmla="*/ 576929 h 768191"/>
                  <a:gd name="connsiteX31" fmla="*/ 2327646 w 4247436"/>
                  <a:gd name="connsiteY31" fmla="*/ 576929 h 768191"/>
                  <a:gd name="connsiteX32" fmla="*/ 2327646 w 4247436"/>
                  <a:gd name="connsiteY32" fmla="*/ 564261 h 768191"/>
                  <a:gd name="connsiteX33" fmla="*/ 2315402 w 4247436"/>
                  <a:gd name="connsiteY33" fmla="*/ 564261 h 768191"/>
                  <a:gd name="connsiteX34" fmla="*/ 2314663 w 4247436"/>
                  <a:gd name="connsiteY34" fmla="*/ 551021 h 768191"/>
                  <a:gd name="connsiteX35" fmla="*/ 2260303 w 4247436"/>
                  <a:gd name="connsiteY35" fmla="*/ 551021 h 768191"/>
                  <a:gd name="connsiteX36" fmla="*/ 2261042 w 4247436"/>
                  <a:gd name="connsiteY36" fmla="*/ 534257 h 768191"/>
                  <a:gd name="connsiteX37" fmla="*/ 2224204 w 4247436"/>
                  <a:gd name="connsiteY37" fmla="*/ 534257 h 768191"/>
                  <a:gd name="connsiteX38" fmla="*/ 2224204 w 4247436"/>
                  <a:gd name="connsiteY38" fmla="*/ 523208 h 768191"/>
                  <a:gd name="connsiteX39" fmla="*/ 2180400 w 4247436"/>
                  <a:gd name="connsiteY39" fmla="*/ 523208 h 768191"/>
                  <a:gd name="connsiteX40" fmla="*/ 2178711 w 4247436"/>
                  <a:gd name="connsiteY40" fmla="*/ 508635 h 768191"/>
                  <a:gd name="connsiteX41" fmla="*/ 2142823 w 4247436"/>
                  <a:gd name="connsiteY41" fmla="*/ 508635 h 768191"/>
                  <a:gd name="connsiteX42" fmla="*/ 2142823 w 4247436"/>
                  <a:gd name="connsiteY42" fmla="*/ 504254 h 768191"/>
                  <a:gd name="connsiteX43" fmla="*/ 2101552 w 4247436"/>
                  <a:gd name="connsiteY43" fmla="*/ 504254 h 768191"/>
                  <a:gd name="connsiteX44" fmla="*/ 2101552 w 4247436"/>
                  <a:gd name="connsiteY44" fmla="*/ 493205 h 768191"/>
                  <a:gd name="connsiteX45" fmla="*/ 1940268 w 4247436"/>
                  <a:gd name="connsiteY45" fmla="*/ 493205 h 768191"/>
                  <a:gd name="connsiteX46" fmla="*/ 1940268 w 4247436"/>
                  <a:gd name="connsiteY46" fmla="*/ 482156 h 768191"/>
                  <a:gd name="connsiteX47" fmla="*/ 1916624 w 4247436"/>
                  <a:gd name="connsiteY47" fmla="*/ 482156 h 768191"/>
                  <a:gd name="connsiteX48" fmla="*/ 1916624 w 4247436"/>
                  <a:gd name="connsiteY48" fmla="*/ 478155 h 768191"/>
                  <a:gd name="connsiteX49" fmla="*/ 1895619 w 4247436"/>
                  <a:gd name="connsiteY49" fmla="*/ 478155 h 768191"/>
                  <a:gd name="connsiteX50" fmla="*/ 1895619 w 4247436"/>
                  <a:gd name="connsiteY50" fmla="*/ 471107 h 768191"/>
                  <a:gd name="connsiteX51" fmla="*/ 1882425 w 4247436"/>
                  <a:gd name="connsiteY51" fmla="*/ 471107 h 768191"/>
                  <a:gd name="connsiteX52" fmla="*/ 1882425 w 4247436"/>
                  <a:gd name="connsiteY52" fmla="*/ 461582 h 768191"/>
                  <a:gd name="connsiteX53" fmla="*/ 1863109 w 4247436"/>
                  <a:gd name="connsiteY53" fmla="*/ 461582 h 768191"/>
                  <a:gd name="connsiteX54" fmla="*/ 1863109 w 4247436"/>
                  <a:gd name="connsiteY54" fmla="*/ 452057 h 768191"/>
                  <a:gd name="connsiteX55" fmla="*/ 1829754 w 4247436"/>
                  <a:gd name="connsiteY55" fmla="*/ 452057 h 768191"/>
                  <a:gd name="connsiteX56" fmla="*/ 1829754 w 4247436"/>
                  <a:gd name="connsiteY56" fmla="*/ 442532 h 768191"/>
                  <a:gd name="connsiteX57" fmla="*/ 1806955 w 4247436"/>
                  <a:gd name="connsiteY57" fmla="*/ 442532 h 768191"/>
                  <a:gd name="connsiteX58" fmla="*/ 1806533 w 4247436"/>
                  <a:gd name="connsiteY58" fmla="*/ 433578 h 768191"/>
                  <a:gd name="connsiteX59" fmla="*/ 1743412 w 4247436"/>
                  <a:gd name="connsiteY59" fmla="*/ 433578 h 768191"/>
                  <a:gd name="connsiteX60" fmla="*/ 1743834 w 4247436"/>
                  <a:gd name="connsiteY60" fmla="*/ 418719 h 768191"/>
                  <a:gd name="connsiteX61" fmla="*/ 1719241 w 4247436"/>
                  <a:gd name="connsiteY61" fmla="*/ 418719 h 768191"/>
                  <a:gd name="connsiteX62" fmla="*/ 1719241 w 4247436"/>
                  <a:gd name="connsiteY62" fmla="*/ 406051 h 768191"/>
                  <a:gd name="connsiteX63" fmla="*/ 1694647 w 4247436"/>
                  <a:gd name="connsiteY63" fmla="*/ 406051 h 768191"/>
                  <a:gd name="connsiteX64" fmla="*/ 1694647 w 4247436"/>
                  <a:gd name="connsiteY64" fmla="*/ 393383 h 768191"/>
                  <a:gd name="connsiteX65" fmla="*/ 1652531 w 4247436"/>
                  <a:gd name="connsiteY65" fmla="*/ 393383 h 768191"/>
                  <a:gd name="connsiteX66" fmla="*/ 1652531 w 4247436"/>
                  <a:gd name="connsiteY66" fmla="*/ 385477 h 768191"/>
                  <a:gd name="connsiteX67" fmla="*/ 1561334 w 4247436"/>
                  <a:gd name="connsiteY67" fmla="*/ 385477 h 768191"/>
                  <a:gd name="connsiteX68" fmla="*/ 1561334 w 4247436"/>
                  <a:gd name="connsiteY68" fmla="*/ 372809 h 768191"/>
                  <a:gd name="connsiteX69" fmla="*/ 1508769 w 4247436"/>
                  <a:gd name="connsiteY69" fmla="*/ 372809 h 768191"/>
                  <a:gd name="connsiteX70" fmla="*/ 1508769 w 4247436"/>
                  <a:gd name="connsiteY70" fmla="*/ 363284 h 768191"/>
                  <a:gd name="connsiteX71" fmla="*/ 1480692 w 4247436"/>
                  <a:gd name="connsiteY71" fmla="*/ 363284 h 768191"/>
                  <a:gd name="connsiteX72" fmla="*/ 1480692 w 4247436"/>
                  <a:gd name="connsiteY72" fmla="*/ 350615 h 768191"/>
                  <a:gd name="connsiteX73" fmla="*/ 1421055 w 4247436"/>
                  <a:gd name="connsiteY73" fmla="*/ 350615 h 768191"/>
                  <a:gd name="connsiteX74" fmla="*/ 1421055 w 4247436"/>
                  <a:gd name="connsiteY74" fmla="*/ 342710 h 768191"/>
                  <a:gd name="connsiteX75" fmla="*/ 1405327 w 4247436"/>
                  <a:gd name="connsiteY75" fmla="*/ 342710 h 768191"/>
                  <a:gd name="connsiteX76" fmla="*/ 1405327 w 4247436"/>
                  <a:gd name="connsiteY76" fmla="*/ 331661 h 768191"/>
                  <a:gd name="connsiteX77" fmla="*/ 1361523 w 4247436"/>
                  <a:gd name="connsiteY77" fmla="*/ 331661 h 768191"/>
                  <a:gd name="connsiteX78" fmla="*/ 1361523 w 4247436"/>
                  <a:gd name="connsiteY78" fmla="*/ 322136 h 768191"/>
                  <a:gd name="connsiteX79" fmla="*/ 1321202 w 4247436"/>
                  <a:gd name="connsiteY79" fmla="*/ 322136 h 768191"/>
                  <a:gd name="connsiteX80" fmla="*/ 1321202 w 4247436"/>
                  <a:gd name="connsiteY80" fmla="*/ 309467 h 768191"/>
                  <a:gd name="connsiteX81" fmla="*/ 1293125 w 4247436"/>
                  <a:gd name="connsiteY81" fmla="*/ 309467 h 768191"/>
                  <a:gd name="connsiteX82" fmla="*/ 1293125 w 4247436"/>
                  <a:gd name="connsiteY82" fmla="*/ 290512 h 768191"/>
                  <a:gd name="connsiteX83" fmla="*/ 1119596 w 4247436"/>
                  <a:gd name="connsiteY83" fmla="*/ 290512 h 768191"/>
                  <a:gd name="connsiteX84" fmla="*/ 1119596 w 4247436"/>
                  <a:gd name="connsiteY84" fmla="*/ 282607 h 768191"/>
                  <a:gd name="connsiteX85" fmla="*/ 1096797 w 4247436"/>
                  <a:gd name="connsiteY85" fmla="*/ 282607 h 768191"/>
                  <a:gd name="connsiteX86" fmla="*/ 1096797 w 4247436"/>
                  <a:gd name="connsiteY86" fmla="*/ 269939 h 768191"/>
                  <a:gd name="connsiteX87" fmla="*/ 1079275 w 4247436"/>
                  <a:gd name="connsiteY87" fmla="*/ 269939 h 768191"/>
                  <a:gd name="connsiteX88" fmla="*/ 1079275 w 4247436"/>
                  <a:gd name="connsiteY88" fmla="*/ 257270 h 768191"/>
                  <a:gd name="connsiteX89" fmla="*/ 1063548 w 4247436"/>
                  <a:gd name="connsiteY89" fmla="*/ 257270 h 768191"/>
                  <a:gd name="connsiteX90" fmla="*/ 1063337 w 4247436"/>
                  <a:gd name="connsiteY90" fmla="*/ 241745 h 768191"/>
                  <a:gd name="connsiteX91" fmla="*/ 1028293 w 4247436"/>
                  <a:gd name="connsiteY91" fmla="*/ 241745 h 768191"/>
                  <a:gd name="connsiteX92" fmla="*/ 1028504 w 4247436"/>
                  <a:gd name="connsiteY92" fmla="*/ 231934 h 768191"/>
                  <a:gd name="connsiteX93" fmla="*/ 988183 w 4247436"/>
                  <a:gd name="connsiteY93" fmla="*/ 231934 h 768191"/>
                  <a:gd name="connsiteX94" fmla="*/ 988183 w 4247436"/>
                  <a:gd name="connsiteY94" fmla="*/ 213170 h 768191"/>
                  <a:gd name="connsiteX95" fmla="*/ 956623 w 4247436"/>
                  <a:gd name="connsiteY95" fmla="*/ 213170 h 768191"/>
                  <a:gd name="connsiteX96" fmla="*/ 958418 w 4247436"/>
                  <a:gd name="connsiteY96" fmla="*/ 200311 h 768191"/>
                  <a:gd name="connsiteX97" fmla="*/ 904058 w 4247436"/>
                  <a:gd name="connsiteY97" fmla="*/ 200311 h 768191"/>
                  <a:gd name="connsiteX98" fmla="*/ 904058 w 4247436"/>
                  <a:gd name="connsiteY98" fmla="*/ 181356 h 768191"/>
                  <a:gd name="connsiteX99" fmla="*/ 870703 w 4247436"/>
                  <a:gd name="connsiteY99" fmla="*/ 181356 h 768191"/>
                  <a:gd name="connsiteX100" fmla="*/ 870703 w 4247436"/>
                  <a:gd name="connsiteY100" fmla="*/ 170307 h 768191"/>
                  <a:gd name="connsiteX101" fmla="*/ 795233 w 4247436"/>
                  <a:gd name="connsiteY101" fmla="*/ 170307 h 768191"/>
                  <a:gd name="connsiteX102" fmla="*/ 795233 w 4247436"/>
                  <a:gd name="connsiteY102" fmla="*/ 147352 h 768191"/>
                  <a:gd name="connsiteX103" fmla="*/ 738129 w 4247436"/>
                  <a:gd name="connsiteY103" fmla="*/ 147352 h 768191"/>
                  <a:gd name="connsiteX104" fmla="*/ 738129 w 4247436"/>
                  <a:gd name="connsiteY104" fmla="*/ 138684 h 768191"/>
                  <a:gd name="connsiteX105" fmla="*/ 704036 w 4247436"/>
                  <a:gd name="connsiteY105" fmla="*/ 138684 h 768191"/>
                  <a:gd name="connsiteX106" fmla="*/ 704036 w 4247436"/>
                  <a:gd name="connsiteY106" fmla="*/ 127635 h 768191"/>
                  <a:gd name="connsiteX107" fmla="*/ 656748 w 4247436"/>
                  <a:gd name="connsiteY107" fmla="*/ 127635 h 768191"/>
                  <a:gd name="connsiteX108" fmla="*/ 656748 w 4247436"/>
                  <a:gd name="connsiteY108" fmla="*/ 105442 h 768191"/>
                  <a:gd name="connsiteX109" fmla="*/ 623499 w 4247436"/>
                  <a:gd name="connsiteY109" fmla="*/ 106775 h 768191"/>
                  <a:gd name="connsiteX110" fmla="*/ 623499 w 4247436"/>
                  <a:gd name="connsiteY110" fmla="*/ 89345 h 768191"/>
                  <a:gd name="connsiteX111" fmla="*/ 565656 w 4247436"/>
                  <a:gd name="connsiteY111" fmla="*/ 89345 h 768191"/>
                  <a:gd name="connsiteX112" fmla="*/ 565656 w 4247436"/>
                  <a:gd name="connsiteY112" fmla="*/ 75438 h 768191"/>
                  <a:gd name="connsiteX113" fmla="*/ 496836 w 4247436"/>
                  <a:gd name="connsiteY113" fmla="*/ 75438 h 768191"/>
                  <a:gd name="connsiteX114" fmla="*/ 496836 w 4247436"/>
                  <a:gd name="connsiteY114" fmla="*/ 65913 h 768191"/>
                  <a:gd name="connsiteX115" fmla="*/ 423688 w 4247436"/>
                  <a:gd name="connsiteY115" fmla="*/ 65913 h 768191"/>
                  <a:gd name="connsiteX116" fmla="*/ 423583 w 4247436"/>
                  <a:gd name="connsiteY116" fmla="*/ 46482 h 768191"/>
                  <a:gd name="connsiteX117" fmla="*/ 337663 w 4247436"/>
                  <a:gd name="connsiteY117" fmla="*/ 46482 h 768191"/>
                  <a:gd name="connsiteX118" fmla="*/ 337663 w 4247436"/>
                  <a:gd name="connsiteY118" fmla="*/ 29432 h 768191"/>
                  <a:gd name="connsiteX119" fmla="*/ 299242 w 4247436"/>
                  <a:gd name="connsiteY119" fmla="*/ 29432 h 768191"/>
                  <a:gd name="connsiteX120" fmla="*/ 243088 w 4247436"/>
                  <a:gd name="connsiteY120" fmla="*/ 29432 h 768191"/>
                  <a:gd name="connsiteX121" fmla="*/ 243088 w 4247436"/>
                  <a:gd name="connsiteY121" fmla="*/ 18383 h 768191"/>
                  <a:gd name="connsiteX122" fmla="*/ 171206 w 4247436"/>
                  <a:gd name="connsiteY122" fmla="*/ 18383 h 768191"/>
                  <a:gd name="connsiteX123" fmla="*/ 171206 w 4247436"/>
                  <a:gd name="connsiteY123" fmla="*/ 8858 h 768191"/>
                  <a:gd name="connsiteX124" fmla="*/ 118641 w 4247436"/>
                  <a:gd name="connsiteY124" fmla="*/ 8858 h 768191"/>
                  <a:gd name="connsiteX125" fmla="*/ 118641 w 4247436"/>
                  <a:gd name="connsiteY125" fmla="*/ 0 h 768191"/>
                  <a:gd name="connsiteX126" fmla="*/ 0 w 4247436"/>
                  <a:gd name="connsiteY126" fmla="*/ 0 h 76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4247436" h="768191">
                    <a:moveTo>
                      <a:pt x="4247437" y="768191"/>
                    </a:moveTo>
                    <a:lnTo>
                      <a:pt x="3684630" y="768191"/>
                    </a:lnTo>
                    <a:lnTo>
                      <a:pt x="3684630" y="754285"/>
                    </a:lnTo>
                    <a:lnTo>
                      <a:pt x="3658347" y="754285"/>
                    </a:lnTo>
                    <a:lnTo>
                      <a:pt x="3659086" y="735616"/>
                    </a:lnTo>
                    <a:lnTo>
                      <a:pt x="3511946" y="735616"/>
                    </a:lnTo>
                    <a:lnTo>
                      <a:pt x="3511946" y="712280"/>
                    </a:lnTo>
                    <a:lnTo>
                      <a:pt x="3284586" y="712280"/>
                    </a:lnTo>
                    <a:lnTo>
                      <a:pt x="3285324" y="688848"/>
                    </a:lnTo>
                    <a:lnTo>
                      <a:pt x="3220515" y="688848"/>
                    </a:lnTo>
                    <a:lnTo>
                      <a:pt x="3220093" y="681419"/>
                    </a:lnTo>
                    <a:lnTo>
                      <a:pt x="3152117" y="681419"/>
                    </a:lnTo>
                    <a:lnTo>
                      <a:pt x="3152117" y="668750"/>
                    </a:lnTo>
                    <a:lnTo>
                      <a:pt x="2958850" y="668750"/>
                    </a:lnTo>
                    <a:lnTo>
                      <a:pt x="2958850" y="660178"/>
                    </a:lnTo>
                    <a:lnTo>
                      <a:pt x="2856570" y="660178"/>
                    </a:lnTo>
                    <a:lnTo>
                      <a:pt x="2856570" y="650653"/>
                    </a:lnTo>
                    <a:lnTo>
                      <a:pt x="2756190" y="650653"/>
                    </a:lnTo>
                    <a:lnTo>
                      <a:pt x="2756611" y="641128"/>
                    </a:lnTo>
                    <a:lnTo>
                      <a:pt x="2726846" y="641128"/>
                    </a:lnTo>
                    <a:lnTo>
                      <a:pt x="2727374" y="630746"/>
                    </a:lnTo>
                    <a:lnTo>
                      <a:pt x="2652431" y="630746"/>
                    </a:lnTo>
                    <a:lnTo>
                      <a:pt x="2652853" y="622459"/>
                    </a:lnTo>
                    <a:lnTo>
                      <a:pt x="2642298" y="622459"/>
                    </a:lnTo>
                    <a:lnTo>
                      <a:pt x="2642298" y="613315"/>
                    </a:lnTo>
                    <a:cubicBezTo>
                      <a:pt x="2642298" y="613315"/>
                      <a:pt x="2553845" y="613315"/>
                      <a:pt x="2553845" y="613315"/>
                    </a:cubicBezTo>
                    <a:lnTo>
                      <a:pt x="2553845" y="598646"/>
                    </a:lnTo>
                    <a:lnTo>
                      <a:pt x="2518802" y="598646"/>
                    </a:lnTo>
                    <a:lnTo>
                      <a:pt x="2518802" y="589598"/>
                    </a:lnTo>
                    <a:lnTo>
                      <a:pt x="2364484" y="589598"/>
                    </a:lnTo>
                    <a:lnTo>
                      <a:pt x="2364484" y="576929"/>
                    </a:lnTo>
                    <a:lnTo>
                      <a:pt x="2327646" y="576929"/>
                    </a:lnTo>
                    <a:lnTo>
                      <a:pt x="2327646" y="564261"/>
                    </a:lnTo>
                    <a:lnTo>
                      <a:pt x="2315402" y="564261"/>
                    </a:lnTo>
                    <a:lnTo>
                      <a:pt x="2314663" y="551021"/>
                    </a:lnTo>
                    <a:lnTo>
                      <a:pt x="2260303" y="551021"/>
                    </a:lnTo>
                    <a:lnTo>
                      <a:pt x="2261042" y="534257"/>
                    </a:lnTo>
                    <a:lnTo>
                      <a:pt x="2224204" y="534257"/>
                    </a:lnTo>
                    <a:lnTo>
                      <a:pt x="2224204" y="523208"/>
                    </a:lnTo>
                    <a:lnTo>
                      <a:pt x="2180400" y="523208"/>
                    </a:lnTo>
                    <a:lnTo>
                      <a:pt x="2178711" y="508635"/>
                    </a:lnTo>
                    <a:lnTo>
                      <a:pt x="2142823" y="508635"/>
                    </a:lnTo>
                    <a:lnTo>
                      <a:pt x="2142823" y="504254"/>
                    </a:lnTo>
                    <a:lnTo>
                      <a:pt x="2101552" y="504254"/>
                    </a:lnTo>
                    <a:lnTo>
                      <a:pt x="2101552" y="493205"/>
                    </a:lnTo>
                    <a:lnTo>
                      <a:pt x="1940268" y="493205"/>
                    </a:lnTo>
                    <a:lnTo>
                      <a:pt x="1940268" y="482156"/>
                    </a:lnTo>
                    <a:lnTo>
                      <a:pt x="1916624" y="482156"/>
                    </a:lnTo>
                    <a:lnTo>
                      <a:pt x="1916624" y="478155"/>
                    </a:lnTo>
                    <a:lnTo>
                      <a:pt x="1895619" y="478155"/>
                    </a:lnTo>
                    <a:lnTo>
                      <a:pt x="1895619" y="471107"/>
                    </a:lnTo>
                    <a:lnTo>
                      <a:pt x="1882425" y="471107"/>
                    </a:lnTo>
                    <a:lnTo>
                      <a:pt x="1882425" y="461582"/>
                    </a:lnTo>
                    <a:lnTo>
                      <a:pt x="1863109" y="461582"/>
                    </a:lnTo>
                    <a:lnTo>
                      <a:pt x="1863109" y="452057"/>
                    </a:lnTo>
                    <a:lnTo>
                      <a:pt x="1829754" y="452057"/>
                    </a:lnTo>
                    <a:lnTo>
                      <a:pt x="1829754" y="442532"/>
                    </a:lnTo>
                    <a:lnTo>
                      <a:pt x="1806955" y="442532"/>
                    </a:lnTo>
                    <a:lnTo>
                      <a:pt x="1806533" y="433578"/>
                    </a:lnTo>
                    <a:lnTo>
                      <a:pt x="1743412" y="433578"/>
                    </a:lnTo>
                    <a:lnTo>
                      <a:pt x="1743834" y="418719"/>
                    </a:lnTo>
                    <a:lnTo>
                      <a:pt x="1719241" y="418719"/>
                    </a:lnTo>
                    <a:lnTo>
                      <a:pt x="1719241" y="406051"/>
                    </a:lnTo>
                    <a:lnTo>
                      <a:pt x="1694647" y="406051"/>
                    </a:lnTo>
                    <a:lnTo>
                      <a:pt x="1694647" y="393383"/>
                    </a:lnTo>
                    <a:lnTo>
                      <a:pt x="1652531" y="393383"/>
                    </a:lnTo>
                    <a:lnTo>
                      <a:pt x="1652531" y="385477"/>
                    </a:lnTo>
                    <a:lnTo>
                      <a:pt x="1561334" y="385477"/>
                    </a:lnTo>
                    <a:lnTo>
                      <a:pt x="1561334" y="372809"/>
                    </a:lnTo>
                    <a:lnTo>
                      <a:pt x="1508769" y="372809"/>
                    </a:lnTo>
                    <a:lnTo>
                      <a:pt x="1508769" y="363284"/>
                    </a:lnTo>
                    <a:lnTo>
                      <a:pt x="1480692" y="363284"/>
                    </a:lnTo>
                    <a:lnTo>
                      <a:pt x="1480692" y="350615"/>
                    </a:lnTo>
                    <a:lnTo>
                      <a:pt x="1421055" y="350615"/>
                    </a:lnTo>
                    <a:lnTo>
                      <a:pt x="1421055" y="342710"/>
                    </a:lnTo>
                    <a:lnTo>
                      <a:pt x="1405327" y="342710"/>
                    </a:lnTo>
                    <a:lnTo>
                      <a:pt x="1405327" y="331661"/>
                    </a:lnTo>
                    <a:lnTo>
                      <a:pt x="1361523" y="331661"/>
                    </a:lnTo>
                    <a:lnTo>
                      <a:pt x="1361523" y="322136"/>
                    </a:lnTo>
                    <a:lnTo>
                      <a:pt x="1321202" y="322136"/>
                    </a:lnTo>
                    <a:lnTo>
                      <a:pt x="1321202" y="309467"/>
                    </a:lnTo>
                    <a:lnTo>
                      <a:pt x="1293125" y="309467"/>
                    </a:lnTo>
                    <a:lnTo>
                      <a:pt x="1293125" y="290512"/>
                    </a:lnTo>
                    <a:lnTo>
                      <a:pt x="1119596" y="290512"/>
                    </a:lnTo>
                    <a:lnTo>
                      <a:pt x="1119596" y="282607"/>
                    </a:lnTo>
                    <a:lnTo>
                      <a:pt x="1096797" y="282607"/>
                    </a:lnTo>
                    <a:lnTo>
                      <a:pt x="1096797" y="269939"/>
                    </a:lnTo>
                    <a:lnTo>
                      <a:pt x="1079275" y="269939"/>
                    </a:lnTo>
                    <a:lnTo>
                      <a:pt x="1079275" y="257270"/>
                    </a:lnTo>
                    <a:lnTo>
                      <a:pt x="1063548" y="257270"/>
                    </a:lnTo>
                    <a:lnTo>
                      <a:pt x="1063337" y="241745"/>
                    </a:lnTo>
                    <a:lnTo>
                      <a:pt x="1028293" y="241745"/>
                    </a:lnTo>
                    <a:lnTo>
                      <a:pt x="1028504" y="231934"/>
                    </a:lnTo>
                    <a:lnTo>
                      <a:pt x="988183" y="231934"/>
                    </a:lnTo>
                    <a:lnTo>
                      <a:pt x="988183" y="213170"/>
                    </a:lnTo>
                    <a:lnTo>
                      <a:pt x="956623" y="213170"/>
                    </a:lnTo>
                    <a:lnTo>
                      <a:pt x="958418" y="200311"/>
                    </a:lnTo>
                    <a:lnTo>
                      <a:pt x="904058" y="200311"/>
                    </a:lnTo>
                    <a:lnTo>
                      <a:pt x="904058" y="181356"/>
                    </a:lnTo>
                    <a:lnTo>
                      <a:pt x="870703" y="181356"/>
                    </a:lnTo>
                    <a:lnTo>
                      <a:pt x="870703" y="170307"/>
                    </a:lnTo>
                    <a:lnTo>
                      <a:pt x="795233" y="170307"/>
                    </a:lnTo>
                    <a:lnTo>
                      <a:pt x="795233" y="147352"/>
                    </a:lnTo>
                    <a:lnTo>
                      <a:pt x="738129" y="147352"/>
                    </a:lnTo>
                    <a:lnTo>
                      <a:pt x="738129" y="138684"/>
                    </a:lnTo>
                    <a:lnTo>
                      <a:pt x="704036" y="138684"/>
                    </a:lnTo>
                    <a:lnTo>
                      <a:pt x="704036" y="127635"/>
                    </a:lnTo>
                    <a:lnTo>
                      <a:pt x="656748" y="127635"/>
                    </a:lnTo>
                    <a:lnTo>
                      <a:pt x="656748" y="105442"/>
                    </a:lnTo>
                    <a:lnTo>
                      <a:pt x="623499" y="106775"/>
                    </a:lnTo>
                    <a:lnTo>
                      <a:pt x="623499" y="89345"/>
                    </a:lnTo>
                    <a:lnTo>
                      <a:pt x="565656" y="89345"/>
                    </a:lnTo>
                    <a:lnTo>
                      <a:pt x="565656" y="75438"/>
                    </a:lnTo>
                    <a:lnTo>
                      <a:pt x="496836" y="75438"/>
                    </a:lnTo>
                    <a:cubicBezTo>
                      <a:pt x="496836" y="75438"/>
                      <a:pt x="496836" y="65913"/>
                      <a:pt x="496836" y="65913"/>
                    </a:cubicBezTo>
                    <a:lnTo>
                      <a:pt x="423688" y="65913"/>
                    </a:lnTo>
                    <a:cubicBezTo>
                      <a:pt x="423688" y="65913"/>
                      <a:pt x="423583" y="46482"/>
                      <a:pt x="423583" y="46482"/>
                    </a:cubicBezTo>
                    <a:lnTo>
                      <a:pt x="337663" y="46482"/>
                    </a:lnTo>
                    <a:lnTo>
                      <a:pt x="337663" y="29432"/>
                    </a:lnTo>
                    <a:cubicBezTo>
                      <a:pt x="337663" y="29432"/>
                      <a:pt x="299242" y="29432"/>
                      <a:pt x="299242" y="29432"/>
                    </a:cubicBezTo>
                    <a:lnTo>
                      <a:pt x="243088" y="29432"/>
                    </a:lnTo>
                    <a:lnTo>
                      <a:pt x="243088" y="18383"/>
                    </a:lnTo>
                    <a:lnTo>
                      <a:pt x="171206" y="18383"/>
                    </a:lnTo>
                    <a:lnTo>
                      <a:pt x="171206" y="8858"/>
                    </a:lnTo>
                    <a:lnTo>
                      <a:pt x="118641" y="8858"/>
                    </a:lnTo>
                    <a:lnTo>
                      <a:pt x="118641" y="0"/>
                    </a:lnTo>
                    <a:lnTo>
                      <a:pt x="0" y="0"/>
                    </a:lnTo>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31" name="Freeform: Shape 330">
                <a:extLst>
                  <a:ext uri="{FF2B5EF4-FFF2-40B4-BE49-F238E27FC236}">
                    <a16:creationId xmlns:a16="http://schemas.microsoft.com/office/drawing/2014/main" id="{4A40CC48-F29B-FF31-47FC-84E9A61ECBBB}"/>
                  </a:ext>
                </a:extLst>
              </p:cNvPr>
              <p:cNvSpPr/>
              <p:nvPr/>
            </p:nvSpPr>
            <p:spPr>
              <a:xfrm>
                <a:off x="7384641" y="2182852"/>
                <a:ext cx="30821" cy="27813"/>
              </a:xfrm>
              <a:custGeom>
                <a:avLst/>
                <a:gdLst>
                  <a:gd name="connsiteX0" fmla="*/ 30837 w 30821"/>
                  <a:gd name="connsiteY0" fmla="*/ 13907 h 27813"/>
                  <a:gd name="connsiteX1" fmla="*/ 15426 w 30821"/>
                  <a:gd name="connsiteY1" fmla="*/ 27813 h 27813"/>
                  <a:gd name="connsiteX2" fmla="*/ 16 w 30821"/>
                  <a:gd name="connsiteY2" fmla="*/ 13907 h 27813"/>
                  <a:gd name="connsiteX3" fmla="*/ 15426 w 30821"/>
                  <a:gd name="connsiteY3" fmla="*/ 0 h 27813"/>
                  <a:gd name="connsiteX4" fmla="*/ 30837 w 30821"/>
                  <a:gd name="connsiteY4" fmla="*/ 13907 h 27813"/>
                  <a:gd name="connsiteX5" fmla="*/ 30837 w 30821"/>
                  <a:gd name="connsiteY5" fmla="*/ 1390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37" y="13907"/>
                    </a:moveTo>
                    <a:cubicBezTo>
                      <a:pt x="30837" y="21622"/>
                      <a:pt x="23976" y="27813"/>
                      <a:pt x="15426" y="27813"/>
                    </a:cubicBezTo>
                    <a:cubicBezTo>
                      <a:pt x="6877" y="27813"/>
                      <a:pt x="16" y="21622"/>
                      <a:pt x="16" y="13907"/>
                    </a:cubicBezTo>
                    <a:cubicBezTo>
                      <a:pt x="16" y="6191"/>
                      <a:pt x="6877" y="0"/>
                      <a:pt x="15426" y="0"/>
                    </a:cubicBezTo>
                    <a:cubicBezTo>
                      <a:pt x="23976" y="0"/>
                      <a:pt x="30837" y="6191"/>
                      <a:pt x="30837" y="13907"/>
                    </a:cubicBezTo>
                    <a:lnTo>
                      <a:pt x="30837" y="1390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32" name="Freeform: Shape 331">
                <a:extLst>
                  <a:ext uri="{FF2B5EF4-FFF2-40B4-BE49-F238E27FC236}">
                    <a16:creationId xmlns:a16="http://schemas.microsoft.com/office/drawing/2014/main" id="{B6BDC17B-D309-41FF-0DAD-0A1EFBDE951C}"/>
                  </a:ext>
                </a:extLst>
              </p:cNvPr>
              <p:cNvSpPr/>
              <p:nvPr/>
            </p:nvSpPr>
            <p:spPr>
              <a:xfrm>
                <a:off x="7416307" y="2192377"/>
                <a:ext cx="30821" cy="27813"/>
              </a:xfrm>
              <a:custGeom>
                <a:avLst/>
                <a:gdLst>
                  <a:gd name="connsiteX0" fmla="*/ 30840 w 30821"/>
                  <a:gd name="connsiteY0" fmla="*/ 13908 h 27813"/>
                  <a:gd name="connsiteX1" fmla="*/ 15429 w 30821"/>
                  <a:gd name="connsiteY1" fmla="*/ 27814 h 27813"/>
                  <a:gd name="connsiteX2" fmla="*/ 19 w 30821"/>
                  <a:gd name="connsiteY2" fmla="*/ 13908 h 27813"/>
                  <a:gd name="connsiteX3" fmla="*/ 15429 w 30821"/>
                  <a:gd name="connsiteY3" fmla="*/ 1 h 27813"/>
                  <a:gd name="connsiteX4" fmla="*/ 30840 w 30821"/>
                  <a:gd name="connsiteY4" fmla="*/ 13908 h 27813"/>
                  <a:gd name="connsiteX5" fmla="*/ 30840 w 30821"/>
                  <a:gd name="connsiteY5" fmla="*/ 1390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40" y="13908"/>
                    </a:moveTo>
                    <a:cubicBezTo>
                      <a:pt x="30840" y="21623"/>
                      <a:pt x="23979" y="27814"/>
                      <a:pt x="15429" y="27814"/>
                    </a:cubicBezTo>
                    <a:cubicBezTo>
                      <a:pt x="6880" y="27814"/>
                      <a:pt x="19" y="21623"/>
                      <a:pt x="19" y="13908"/>
                    </a:cubicBezTo>
                    <a:cubicBezTo>
                      <a:pt x="19" y="6192"/>
                      <a:pt x="6880" y="1"/>
                      <a:pt x="15429" y="1"/>
                    </a:cubicBezTo>
                    <a:cubicBezTo>
                      <a:pt x="23979" y="1"/>
                      <a:pt x="30840" y="6192"/>
                      <a:pt x="30840" y="13908"/>
                    </a:cubicBezTo>
                    <a:lnTo>
                      <a:pt x="30840" y="1390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33" name="Freeform: Shape 332">
                <a:extLst>
                  <a:ext uri="{FF2B5EF4-FFF2-40B4-BE49-F238E27FC236}">
                    <a16:creationId xmlns:a16="http://schemas.microsoft.com/office/drawing/2014/main" id="{6C923F77-CC2B-4A9C-230E-86B64AFC6184}"/>
                  </a:ext>
                </a:extLst>
              </p:cNvPr>
              <p:cNvSpPr/>
              <p:nvPr/>
            </p:nvSpPr>
            <p:spPr>
              <a:xfrm>
                <a:off x="7458528" y="2192377"/>
                <a:ext cx="30821" cy="27813"/>
              </a:xfrm>
              <a:custGeom>
                <a:avLst/>
                <a:gdLst>
                  <a:gd name="connsiteX0" fmla="*/ 30844 w 30821"/>
                  <a:gd name="connsiteY0" fmla="*/ 13908 h 27813"/>
                  <a:gd name="connsiteX1" fmla="*/ 15433 w 30821"/>
                  <a:gd name="connsiteY1" fmla="*/ 27814 h 27813"/>
                  <a:gd name="connsiteX2" fmla="*/ 23 w 30821"/>
                  <a:gd name="connsiteY2" fmla="*/ 13908 h 27813"/>
                  <a:gd name="connsiteX3" fmla="*/ 15433 w 30821"/>
                  <a:gd name="connsiteY3" fmla="*/ 1 h 27813"/>
                  <a:gd name="connsiteX4" fmla="*/ 30844 w 30821"/>
                  <a:gd name="connsiteY4" fmla="*/ 13908 h 27813"/>
                  <a:gd name="connsiteX5" fmla="*/ 30844 w 30821"/>
                  <a:gd name="connsiteY5" fmla="*/ 1390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44" y="13908"/>
                    </a:moveTo>
                    <a:cubicBezTo>
                      <a:pt x="30844" y="21623"/>
                      <a:pt x="23983" y="27814"/>
                      <a:pt x="15433" y="27814"/>
                    </a:cubicBezTo>
                    <a:cubicBezTo>
                      <a:pt x="6884" y="27814"/>
                      <a:pt x="23" y="21623"/>
                      <a:pt x="23" y="13908"/>
                    </a:cubicBezTo>
                    <a:cubicBezTo>
                      <a:pt x="23" y="6192"/>
                      <a:pt x="6884" y="1"/>
                      <a:pt x="15433" y="1"/>
                    </a:cubicBezTo>
                    <a:cubicBezTo>
                      <a:pt x="23983" y="1"/>
                      <a:pt x="30844" y="6192"/>
                      <a:pt x="30844" y="13908"/>
                    </a:cubicBezTo>
                    <a:lnTo>
                      <a:pt x="30844" y="1390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34" name="Freeform: Shape 333">
                <a:extLst>
                  <a:ext uri="{FF2B5EF4-FFF2-40B4-BE49-F238E27FC236}">
                    <a16:creationId xmlns:a16="http://schemas.microsoft.com/office/drawing/2014/main" id="{97229A12-FAC9-B782-60CA-C49498F4A59B}"/>
                  </a:ext>
                </a:extLst>
              </p:cNvPr>
              <p:cNvSpPr/>
              <p:nvPr/>
            </p:nvSpPr>
            <p:spPr>
              <a:xfrm>
                <a:off x="7621712" y="2229334"/>
                <a:ext cx="30821" cy="27813"/>
              </a:xfrm>
              <a:custGeom>
                <a:avLst/>
                <a:gdLst>
                  <a:gd name="connsiteX0" fmla="*/ 30859 w 30821"/>
                  <a:gd name="connsiteY0" fmla="*/ 13911 h 27813"/>
                  <a:gd name="connsiteX1" fmla="*/ 15449 w 30821"/>
                  <a:gd name="connsiteY1" fmla="*/ 27818 h 27813"/>
                  <a:gd name="connsiteX2" fmla="*/ 38 w 30821"/>
                  <a:gd name="connsiteY2" fmla="*/ 13911 h 27813"/>
                  <a:gd name="connsiteX3" fmla="*/ 15449 w 30821"/>
                  <a:gd name="connsiteY3" fmla="*/ 5 h 27813"/>
                  <a:gd name="connsiteX4" fmla="*/ 30859 w 30821"/>
                  <a:gd name="connsiteY4" fmla="*/ 13911 h 27813"/>
                  <a:gd name="connsiteX5" fmla="*/ 30859 w 30821"/>
                  <a:gd name="connsiteY5" fmla="*/ 1391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59" y="13911"/>
                    </a:moveTo>
                    <a:cubicBezTo>
                      <a:pt x="30859" y="21627"/>
                      <a:pt x="23998" y="27818"/>
                      <a:pt x="15449" y="27818"/>
                    </a:cubicBezTo>
                    <a:cubicBezTo>
                      <a:pt x="6899" y="27818"/>
                      <a:pt x="38" y="21627"/>
                      <a:pt x="38" y="13911"/>
                    </a:cubicBezTo>
                    <a:cubicBezTo>
                      <a:pt x="38" y="6196"/>
                      <a:pt x="6899" y="5"/>
                      <a:pt x="15449" y="5"/>
                    </a:cubicBezTo>
                    <a:cubicBezTo>
                      <a:pt x="23998" y="5"/>
                      <a:pt x="30859" y="6196"/>
                      <a:pt x="30859" y="13911"/>
                    </a:cubicBezTo>
                    <a:lnTo>
                      <a:pt x="30859" y="1391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35" name="Freeform: Shape 334">
                <a:extLst>
                  <a:ext uri="{FF2B5EF4-FFF2-40B4-BE49-F238E27FC236}">
                    <a16:creationId xmlns:a16="http://schemas.microsoft.com/office/drawing/2014/main" id="{497B3138-3743-0DE4-11A3-EA7CA3537968}"/>
                  </a:ext>
                </a:extLst>
              </p:cNvPr>
              <p:cNvSpPr/>
              <p:nvPr/>
            </p:nvSpPr>
            <p:spPr>
              <a:xfrm>
                <a:off x="7590047" y="2215428"/>
                <a:ext cx="30821" cy="27813"/>
              </a:xfrm>
              <a:custGeom>
                <a:avLst/>
                <a:gdLst>
                  <a:gd name="connsiteX0" fmla="*/ 30856 w 30821"/>
                  <a:gd name="connsiteY0" fmla="*/ 13910 h 27813"/>
                  <a:gd name="connsiteX1" fmla="*/ 15446 w 30821"/>
                  <a:gd name="connsiteY1" fmla="*/ 27817 h 27813"/>
                  <a:gd name="connsiteX2" fmla="*/ 35 w 30821"/>
                  <a:gd name="connsiteY2" fmla="*/ 13910 h 27813"/>
                  <a:gd name="connsiteX3" fmla="*/ 15446 w 30821"/>
                  <a:gd name="connsiteY3" fmla="*/ 4 h 27813"/>
                  <a:gd name="connsiteX4" fmla="*/ 30856 w 30821"/>
                  <a:gd name="connsiteY4" fmla="*/ 13910 h 27813"/>
                  <a:gd name="connsiteX5" fmla="*/ 30856 w 30821"/>
                  <a:gd name="connsiteY5" fmla="*/ 1391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56" y="13910"/>
                    </a:moveTo>
                    <a:cubicBezTo>
                      <a:pt x="30856" y="21625"/>
                      <a:pt x="23995" y="27817"/>
                      <a:pt x="15446" y="27817"/>
                    </a:cubicBezTo>
                    <a:cubicBezTo>
                      <a:pt x="6896" y="27817"/>
                      <a:pt x="35" y="21625"/>
                      <a:pt x="35" y="13910"/>
                    </a:cubicBezTo>
                    <a:cubicBezTo>
                      <a:pt x="35" y="6195"/>
                      <a:pt x="6896" y="4"/>
                      <a:pt x="15446" y="4"/>
                    </a:cubicBezTo>
                    <a:cubicBezTo>
                      <a:pt x="23995" y="4"/>
                      <a:pt x="30856" y="6195"/>
                      <a:pt x="30856" y="13910"/>
                    </a:cubicBezTo>
                    <a:lnTo>
                      <a:pt x="30856" y="13910"/>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36" name="Freeform: Shape 335">
                <a:extLst>
                  <a:ext uri="{FF2B5EF4-FFF2-40B4-BE49-F238E27FC236}">
                    <a16:creationId xmlns:a16="http://schemas.microsoft.com/office/drawing/2014/main" id="{3CBC7BEA-401F-3923-E413-4A4D1A7D1877}"/>
                  </a:ext>
                </a:extLst>
              </p:cNvPr>
              <p:cNvSpPr/>
              <p:nvPr/>
            </p:nvSpPr>
            <p:spPr>
              <a:xfrm>
                <a:off x="7696444" y="2248765"/>
                <a:ext cx="30821" cy="27813"/>
              </a:xfrm>
              <a:custGeom>
                <a:avLst/>
                <a:gdLst>
                  <a:gd name="connsiteX0" fmla="*/ 30866 w 30821"/>
                  <a:gd name="connsiteY0" fmla="*/ 13914 h 27813"/>
                  <a:gd name="connsiteX1" fmla="*/ 15456 w 30821"/>
                  <a:gd name="connsiteY1" fmla="*/ 27820 h 27813"/>
                  <a:gd name="connsiteX2" fmla="*/ 45 w 30821"/>
                  <a:gd name="connsiteY2" fmla="*/ 13914 h 27813"/>
                  <a:gd name="connsiteX3" fmla="*/ 15456 w 30821"/>
                  <a:gd name="connsiteY3" fmla="*/ 7 h 27813"/>
                  <a:gd name="connsiteX4" fmla="*/ 30866 w 30821"/>
                  <a:gd name="connsiteY4" fmla="*/ 13914 h 27813"/>
                  <a:gd name="connsiteX5" fmla="*/ 30866 w 30821"/>
                  <a:gd name="connsiteY5" fmla="*/ 1391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66" y="13914"/>
                    </a:moveTo>
                    <a:cubicBezTo>
                      <a:pt x="30866" y="21629"/>
                      <a:pt x="24006" y="27820"/>
                      <a:pt x="15456" y="27820"/>
                    </a:cubicBezTo>
                    <a:cubicBezTo>
                      <a:pt x="6906" y="27820"/>
                      <a:pt x="45" y="21629"/>
                      <a:pt x="45" y="13914"/>
                    </a:cubicBezTo>
                    <a:cubicBezTo>
                      <a:pt x="45" y="6198"/>
                      <a:pt x="6906" y="7"/>
                      <a:pt x="15456" y="7"/>
                    </a:cubicBezTo>
                    <a:cubicBezTo>
                      <a:pt x="24006" y="7"/>
                      <a:pt x="30866" y="6198"/>
                      <a:pt x="30866" y="13914"/>
                    </a:cubicBezTo>
                    <a:lnTo>
                      <a:pt x="30866" y="13914"/>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37" name="Freeform: Shape 336">
                <a:extLst>
                  <a:ext uri="{FF2B5EF4-FFF2-40B4-BE49-F238E27FC236}">
                    <a16:creationId xmlns:a16="http://schemas.microsoft.com/office/drawing/2014/main" id="{B4C18B78-6BDB-7911-7ED8-D01D89C7EC9B}"/>
                  </a:ext>
                </a:extLst>
              </p:cNvPr>
              <p:cNvSpPr/>
              <p:nvPr/>
            </p:nvSpPr>
            <p:spPr>
              <a:xfrm>
                <a:off x="7749220" y="2248765"/>
                <a:ext cx="30821" cy="27813"/>
              </a:xfrm>
              <a:custGeom>
                <a:avLst/>
                <a:gdLst>
                  <a:gd name="connsiteX0" fmla="*/ 30871 w 30821"/>
                  <a:gd name="connsiteY0" fmla="*/ 13914 h 27813"/>
                  <a:gd name="connsiteX1" fmla="*/ 15461 w 30821"/>
                  <a:gd name="connsiteY1" fmla="*/ 27820 h 27813"/>
                  <a:gd name="connsiteX2" fmla="*/ 50 w 30821"/>
                  <a:gd name="connsiteY2" fmla="*/ 13914 h 27813"/>
                  <a:gd name="connsiteX3" fmla="*/ 15461 w 30821"/>
                  <a:gd name="connsiteY3" fmla="*/ 7 h 27813"/>
                  <a:gd name="connsiteX4" fmla="*/ 30871 w 30821"/>
                  <a:gd name="connsiteY4" fmla="*/ 13914 h 27813"/>
                  <a:gd name="connsiteX5" fmla="*/ 30871 w 30821"/>
                  <a:gd name="connsiteY5" fmla="*/ 1391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71" y="13914"/>
                    </a:moveTo>
                    <a:cubicBezTo>
                      <a:pt x="30871" y="21629"/>
                      <a:pt x="24011" y="27820"/>
                      <a:pt x="15461" y="27820"/>
                    </a:cubicBezTo>
                    <a:cubicBezTo>
                      <a:pt x="6911" y="27820"/>
                      <a:pt x="50" y="21629"/>
                      <a:pt x="50" y="13914"/>
                    </a:cubicBezTo>
                    <a:cubicBezTo>
                      <a:pt x="50" y="6198"/>
                      <a:pt x="6911" y="7"/>
                      <a:pt x="15461" y="7"/>
                    </a:cubicBezTo>
                    <a:cubicBezTo>
                      <a:pt x="24011" y="7"/>
                      <a:pt x="30871" y="6198"/>
                      <a:pt x="30871" y="13914"/>
                    </a:cubicBezTo>
                    <a:lnTo>
                      <a:pt x="30871" y="13914"/>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38" name="Freeform: Shape 337">
                <a:extLst>
                  <a:ext uri="{FF2B5EF4-FFF2-40B4-BE49-F238E27FC236}">
                    <a16:creationId xmlns:a16="http://schemas.microsoft.com/office/drawing/2014/main" id="{740FD168-2E2F-1DF1-86C9-AB613178B861}"/>
                  </a:ext>
                </a:extLst>
              </p:cNvPr>
              <p:cNvSpPr/>
              <p:nvPr/>
            </p:nvSpPr>
            <p:spPr>
              <a:xfrm>
                <a:off x="7785319" y="2258290"/>
                <a:ext cx="30821" cy="27813"/>
              </a:xfrm>
              <a:custGeom>
                <a:avLst/>
                <a:gdLst>
                  <a:gd name="connsiteX0" fmla="*/ 30875 w 30821"/>
                  <a:gd name="connsiteY0" fmla="*/ 13915 h 27813"/>
                  <a:gd name="connsiteX1" fmla="*/ 15464 w 30821"/>
                  <a:gd name="connsiteY1" fmla="*/ 27821 h 27813"/>
                  <a:gd name="connsiteX2" fmla="*/ 54 w 30821"/>
                  <a:gd name="connsiteY2" fmla="*/ 13915 h 27813"/>
                  <a:gd name="connsiteX3" fmla="*/ 15464 w 30821"/>
                  <a:gd name="connsiteY3" fmla="*/ 8 h 27813"/>
                  <a:gd name="connsiteX4" fmla="*/ 30875 w 30821"/>
                  <a:gd name="connsiteY4" fmla="*/ 13915 h 27813"/>
                  <a:gd name="connsiteX5" fmla="*/ 30875 w 30821"/>
                  <a:gd name="connsiteY5" fmla="*/ 13915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75" y="13915"/>
                    </a:moveTo>
                    <a:cubicBezTo>
                      <a:pt x="30875" y="21630"/>
                      <a:pt x="24014" y="27821"/>
                      <a:pt x="15464" y="27821"/>
                    </a:cubicBezTo>
                    <a:cubicBezTo>
                      <a:pt x="6914" y="27821"/>
                      <a:pt x="54" y="21630"/>
                      <a:pt x="54" y="13915"/>
                    </a:cubicBezTo>
                    <a:cubicBezTo>
                      <a:pt x="54" y="6199"/>
                      <a:pt x="6914" y="8"/>
                      <a:pt x="15464" y="8"/>
                    </a:cubicBezTo>
                    <a:cubicBezTo>
                      <a:pt x="24014" y="8"/>
                      <a:pt x="30875" y="6199"/>
                      <a:pt x="30875" y="13915"/>
                    </a:cubicBezTo>
                    <a:lnTo>
                      <a:pt x="30875" y="13915"/>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39" name="Freeform: Shape 338">
                <a:extLst>
                  <a:ext uri="{FF2B5EF4-FFF2-40B4-BE49-F238E27FC236}">
                    <a16:creationId xmlns:a16="http://schemas.microsoft.com/office/drawing/2014/main" id="{3E3B31CE-2599-1F66-F084-747DBC7B0353}"/>
                  </a:ext>
                </a:extLst>
              </p:cNvPr>
              <p:cNvSpPr/>
              <p:nvPr/>
            </p:nvSpPr>
            <p:spPr>
              <a:xfrm>
                <a:off x="7844217" y="2272197"/>
                <a:ext cx="30821" cy="27813"/>
              </a:xfrm>
              <a:custGeom>
                <a:avLst/>
                <a:gdLst>
                  <a:gd name="connsiteX0" fmla="*/ 30880 w 30821"/>
                  <a:gd name="connsiteY0" fmla="*/ 13916 h 27813"/>
                  <a:gd name="connsiteX1" fmla="*/ 15470 w 30821"/>
                  <a:gd name="connsiteY1" fmla="*/ 27822 h 27813"/>
                  <a:gd name="connsiteX2" fmla="*/ 59 w 30821"/>
                  <a:gd name="connsiteY2" fmla="*/ 13916 h 27813"/>
                  <a:gd name="connsiteX3" fmla="*/ 15470 w 30821"/>
                  <a:gd name="connsiteY3" fmla="*/ 9 h 27813"/>
                  <a:gd name="connsiteX4" fmla="*/ 30880 w 30821"/>
                  <a:gd name="connsiteY4" fmla="*/ 13916 h 27813"/>
                  <a:gd name="connsiteX5" fmla="*/ 30880 w 30821"/>
                  <a:gd name="connsiteY5" fmla="*/ 13916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80" y="13916"/>
                    </a:moveTo>
                    <a:cubicBezTo>
                      <a:pt x="30880" y="21631"/>
                      <a:pt x="24020" y="27822"/>
                      <a:pt x="15470" y="27822"/>
                    </a:cubicBezTo>
                    <a:cubicBezTo>
                      <a:pt x="6920" y="27822"/>
                      <a:pt x="59" y="21631"/>
                      <a:pt x="59" y="13916"/>
                    </a:cubicBezTo>
                    <a:cubicBezTo>
                      <a:pt x="59" y="6201"/>
                      <a:pt x="6920" y="9"/>
                      <a:pt x="15470" y="9"/>
                    </a:cubicBezTo>
                    <a:cubicBezTo>
                      <a:pt x="24020" y="9"/>
                      <a:pt x="30880" y="6201"/>
                      <a:pt x="30880" y="13916"/>
                    </a:cubicBezTo>
                    <a:lnTo>
                      <a:pt x="30880" y="13916"/>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40" name="Freeform: Shape 339">
                <a:extLst>
                  <a:ext uri="{FF2B5EF4-FFF2-40B4-BE49-F238E27FC236}">
                    <a16:creationId xmlns:a16="http://schemas.microsoft.com/office/drawing/2014/main" id="{E8DBAD37-C9FA-4D15-23AF-3C6F3DA98461}"/>
                  </a:ext>
                </a:extLst>
              </p:cNvPr>
              <p:cNvSpPr/>
              <p:nvPr/>
            </p:nvSpPr>
            <p:spPr>
              <a:xfrm>
                <a:off x="7875883" y="2291247"/>
                <a:ext cx="30821" cy="27813"/>
              </a:xfrm>
              <a:custGeom>
                <a:avLst/>
                <a:gdLst>
                  <a:gd name="connsiteX0" fmla="*/ 30883 w 30821"/>
                  <a:gd name="connsiteY0" fmla="*/ 13918 h 27813"/>
                  <a:gd name="connsiteX1" fmla="*/ 15473 w 30821"/>
                  <a:gd name="connsiteY1" fmla="*/ 27824 h 27813"/>
                  <a:gd name="connsiteX2" fmla="*/ 62 w 30821"/>
                  <a:gd name="connsiteY2" fmla="*/ 13918 h 27813"/>
                  <a:gd name="connsiteX3" fmla="*/ 15473 w 30821"/>
                  <a:gd name="connsiteY3" fmla="*/ 11 h 27813"/>
                  <a:gd name="connsiteX4" fmla="*/ 30883 w 30821"/>
                  <a:gd name="connsiteY4" fmla="*/ 13918 h 27813"/>
                  <a:gd name="connsiteX5" fmla="*/ 30883 w 30821"/>
                  <a:gd name="connsiteY5" fmla="*/ 1391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83" y="13918"/>
                    </a:moveTo>
                    <a:cubicBezTo>
                      <a:pt x="30883" y="21633"/>
                      <a:pt x="24023" y="27824"/>
                      <a:pt x="15473" y="27824"/>
                    </a:cubicBezTo>
                    <a:cubicBezTo>
                      <a:pt x="6923" y="27824"/>
                      <a:pt x="62" y="21633"/>
                      <a:pt x="62" y="13918"/>
                    </a:cubicBezTo>
                    <a:cubicBezTo>
                      <a:pt x="62" y="6203"/>
                      <a:pt x="6923" y="11"/>
                      <a:pt x="15473" y="11"/>
                    </a:cubicBezTo>
                    <a:cubicBezTo>
                      <a:pt x="24023" y="11"/>
                      <a:pt x="30883" y="6203"/>
                      <a:pt x="30883" y="13918"/>
                    </a:cubicBezTo>
                    <a:lnTo>
                      <a:pt x="30883" y="1391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41" name="Freeform: Shape 340">
                <a:extLst>
                  <a:ext uri="{FF2B5EF4-FFF2-40B4-BE49-F238E27FC236}">
                    <a16:creationId xmlns:a16="http://schemas.microsoft.com/office/drawing/2014/main" id="{65059C16-5D85-14B3-B81C-A7D3756B0468}"/>
                  </a:ext>
                </a:extLst>
              </p:cNvPr>
              <p:cNvSpPr/>
              <p:nvPr/>
            </p:nvSpPr>
            <p:spPr>
              <a:xfrm>
                <a:off x="7907549" y="2300772"/>
                <a:ext cx="30821" cy="27813"/>
              </a:xfrm>
              <a:custGeom>
                <a:avLst/>
                <a:gdLst>
                  <a:gd name="connsiteX0" fmla="*/ 30886 w 30821"/>
                  <a:gd name="connsiteY0" fmla="*/ 13919 h 27813"/>
                  <a:gd name="connsiteX1" fmla="*/ 15476 w 30821"/>
                  <a:gd name="connsiteY1" fmla="*/ 27825 h 27813"/>
                  <a:gd name="connsiteX2" fmla="*/ 65 w 30821"/>
                  <a:gd name="connsiteY2" fmla="*/ 13919 h 27813"/>
                  <a:gd name="connsiteX3" fmla="*/ 15476 w 30821"/>
                  <a:gd name="connsiteY3" fmla="*/ 12 h 27813"/>
                  <a:gd name="connsiteX4" fmla="*/ 30886 w 30821"/>
                  <a:gd name="connsiteY4" fmla="*/ 13919 h 27813"/>
                  <a:gd name="connsiteX5" fmla="*/ 30886 w 30821"/>
                  <a:gd name="connsiteY5" fmla="*/ 1391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86" y="13919"/>
                    </a:moveTo>
                    <a:cubicBezTo>
                      <a:pt x="30886" y="21634"/>
                      <a:pt x="24026" y="27825"/>
                      <a:pt x="15476" y="27825"/>
                    </a:cubicBezTo>
                    <a:cubicBezTo>
                      <a:pt x="6926" y="27825"/>
                      <a:pt x="65" y="21634"/>
                      <a:pt x="65" y="13919"/>
                    </a:cubicBezTo>
                    <a:cubicBezTo>
                      <a:pt x="65" y="6204"/>
                      <a:pt x="6926" y="12"/>
                      <a:pt x="15476" y="12"/>
                    </a:cubicBezTo>
                    <a:cubicBezTo>
                      <a:pt x="24026" y="12"/>
                      <a:pt x="30886" y="6204"/>
                      <a:pt x="30886" y="13919"/>
                    </a:cubicBezTo>
                    <a:lnTo>
                      <a:pt x="30886" y="13919"/>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42" name="Freeform: Shape 341">
                <a:extLst>
                  <a:ext uri="{FF2B5EF4-FFF2-40B4-BE49-F238E27FC236}">
                    <a16:creationId xmlns:a16="http://schemas.microsoft.com/office/drawing/2014/main" id="{39CFFE76-1E73-DF78-0572-668F789B3185}"/>
                  </a:ext>
                </a:extLst>
              </p:cNvPr>
              <p:cNvSpPr/>
              <p:nvPr/>
            </p:nvSpPr>
            <p:spPr>
              <a:xfrm>
                <a:off x="7928659" y="2310297"/>
                <a:ext cx="30821" cy="27813"/>
              </a:xfrm>
              <a:custGeom>
                <a:avLst/>
                <a:gdLst>
                  <a:gd name="connsiteX0" fmla="*/ 30888 w 30821"/>
                  <a:gd name="connsiteY0" fmla="*/ 13920 h 27813"/>
                  <a:gd name="connsiteX1" fmla="*/ 15478 w 30821"/>
                  <a:gd name="connsiteY1" fmla="*/ 27826 h 27813"/>
                  <a:gd name="connsiteX2" fmla="*/ 67 w 30821"/>
                  <a:gd name="connsiteY2" fmla="*/ 13920 h 27813"/>
                  <a:gd name="connsiteX3" fmla="*/ 15478 w 30821"/>
                  <a:gd name="connsiteY3" fmla="*/ 13 h 27813"/>
                  <a:gd name="connsiteX4" fmla="*/ 30888 w 30821"/>
                  <a:gd name="connsiteY4" fmla="*/ 13920 h 27813"/>
                  <a:gd name="connsiteX5" fmla="*/ 30888 w 30821"/>
                  <a:gd name="connsiteY5" fmla="*/ 1392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88" y="13920"/>
                    </a:moveTo>
                    <a:cubicBezTo>
                      <a:pt x="30888" y="21635"/>
                      <a:pt x="24028" y="27826"/>
                      <a:pt x="15478" y="27826"/>
                    </a:cubicBezTo>
                    <a:cubicBezTo>
                      <a:pt x="6928" y="27826"/>
                      <a:pt x="67" y="21635"/>
                      <a:pt x="67" y="13920"/>
                    </a:cubicBezTo>
                    <a:cubicBezTo>
                      <a:pt x="67" y="6205"/>
                      <a:pt x="6928" y="13"/>
                      <a:pt x="15478" y="13"/>
                    </a:cubicBezTo>
                    <a:cubicBezTo>
                      <a:pt x="24028" y="13"/>
                      <a:pt x="30888" y="6205"/>
                      <a:pt x="30888" y="13920"/>
                    </a:cubicBezTo>
                    <a:lnTo>
                      <a:pt x="30888" y="13920"/>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43" name="Freeform: Shape 342">
                <a:extLst>
                  <a:ext uri="{FF2B5EF4-FFF2-40B4-BE49-F238E27FC236}">
                    <a16:creationId xmlns:a16="http://schemas.microsoft.com/office/drawing/2014/main" id="{234CC9BA-C96E-74E5-0549-309F7A7A31D1}"/>
                  </a:ext>
                </a:extLst>
              </p:cNvPr>
              <p:cNvSpPr/>
              <p:nvPr/>
            </p:nvSpPr>
            <p:spPr>
              <a:xfrm>
                <a:off x="7960325" y="2319822"/>
                <a:ext cx="30821" cy="27813"/>
              </a:xfrm>
              <a:custGeom>
                <a:avLst/>
                <a:gdLst>
                  <a:gd name="connsiteX0" fmla="*/ 30891 w 30821"/>
                  <a:gd name="connsiteY0" fmla="*/ 13921 h 27813"/>
                  <a:gd name="connsiteX1" fmla="*/ 15481 w 30821"/>
                  <a:gd name="connsiteY1" fmla="*/ 27827 h 27813"/>
                  <a:gd name="connsiteX2" fmla="*/ 70 w 30821"/>
                  <a:gd name="connsiteY2" fmla="*/ 13921 h 27813"/>
                  <a:gd name="connsiteX3" fmla="*/ 15481 w 30821"/>
                  <a:gd name="connsiteY3" fmla="*/ 14 h 27813"/>
                  <a:gd name="connsiteX4" fmla="*/ 30891 w 30821"/>
                  <a:gd name="connsiteY4" fmla="*/ 13921 h 27813"/>
                  <a:gd name="connsiteX5" fmla="*/ 30891 w 30821"/>
                  <a:gd name="connsiteY5" fmla="*/ 1392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91" y="13921"/>
                    </a:moveTo>
                    <a:cubicBezTo>
                      <a:pt x="30891" y="21636"/>
                      <a:pt x="24031" y="27827"/>
                      <a:pt x="15481" y="27827"/>
                    </a:cubicBezTo>
                    <a:cubicBezTo>
                      <a:pt x="6931" y="27827"/>
                      <a:pt x="70" y="21636"/>
                      <a:pt x="70" y="13921"/>
                    </a:cubicBezTo>
                    <a:cubicBezTo>
                      <a:pt x="70" y="6206"/>
                      <a:pt x="6931" y="14"/>
                      <a:pt x="15481" y="14"/>
                    </a:cubicBezTo>
                    <a:cubicBezTo>
                      <a:pt x="24031" y="14"/>
                      <a:pt x="30891" y="6206"/>
                      <a:pt x="30891" y="13921"/>
                    </a:cubicBezTo>
                    <a:lnTo>
                      <a:pt x="30891" y="1392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44" name="Freeform: Shape 343">
                <a:extLst>
                  <a:ext uri="{FF2B5EF4-FFF2-40B4-BE49-F238E27FC236}">
                    <a16:creationId xmlns:a16="http://schemas.microsoft.com/office/drawing/2014/main" id="{01587651-57FF-6C48-31B1-369CE104B2E0}"/>
                  </a:ext>
                </a:extLst>
              </p:cNvPr>
              <p:cNvSpPr/>
              <p:nvPr/>
            </p:nvSpPr>
            <p:spPr>
              <a:xfrm>
                <a:off x="7991991" y="2329347"/>
                <a:ext cx="30821" cy="27813"/>
              </a:xfrm>
              <a:custGeom>
                <a:avLst/>
                <a:gdLst>
                  <a:gd name="connsiteX0" fmla="*/ 30894 w 30821"/>
                  <a:gd name="connsiteY0" fmla="*/ 13922 h 27813"/>
                  <a:gd name="connsiteX1" fmla="*/ 15484 w 30821"/>
                  <a:gd name="connsiteY1" fmla="*/ 27828 h 27813"/>
                  <a:gd name="connsiteX2" fmla="*/ 73 w 30821"/>
                  <a:gd name="connsiteY2" fmla="*/ 13922 h 27813"/>
                  <a:gd name="connsiteX3" fmla="*/ 15484 w 30821"/>
                  <a:gd name="connsiteY3" fmla="*/ 15 h 27813"/>
                  <a:gd name="connsiteX4" fmla="*/ 30894 w 30821"/>
                  <a:gd name="connsiteY4" fmla="*/ 13922 h 27813"/>
                  <a:gd name="connsiteX5" fmla="*/ 30894 w 30821"/>
                  <a:gd name="connsiteY5" fmla="*/ 1392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94" y="13922"/>
                    </a:moveTo>
                    <a:cubicBezTo>
                      <a:pt x="30894" y="21637"/>
                      <a:pt x="24034" y="27828"/>
                      <a:pt x="15484" y="27828"/>
                    </a:cubicBezTo>
                    <a:cubicBezTo>
                      <a:pt x="6934" y="27828"/>
                      <a:pt x="73" y="21637"/>
                      <a:pt x="73" y="13922"/>
                    </a:cubicBezTo>
                    <a:cubicBezTo>
                      <a:pt x="73" y="6207"/>
                      <a:pt x="6934" y="15"/>
                      <a:pt x="15484" y="15"/>
                    </a:cubicBezTo>
                    <a:cubicBezTo>
                      <a:pt x="24034" y="15"/>
                      <a:pt x="30894" y="6207"/>
                      <a:pt x="30894" y="13922"/>
                    </a:cubicBezTo>
                    <a:lnTo>
                      <a:pt x="30894" y="13922"/>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45" name="Freeform: Shape 344">
                <a:extLst>
                  <a:ext uri="{FF2B5EF4-FFF2-40B4-BE49-F238E27FC236}">
                    <a16:creationId xmlns:a16="http://schemas.microsoft.com/office/drawing/2014/main" id="{B41BAF6A-D027-ED3E-FEE4-B0F6341EA00B}"/>
                  </a:ext>
                </a:extLst>
              </p:cNvPr>
              <p:cNvSpPr/>
              <p:nvPr/>
            </p:nvSpPr>
            <p:spPr>
              <a:xfrm>
                <a:off x="8023657" y="2329347"/>
                <a:ext cx="30821" cy="27813"/>
              </a:xfrm>
              <a:custGeom>
                <a:avLst/>
                <a:gdLst>
                  <a:gd name="connsiteX0" fmla="*/ 30897 w 30821"/>
                  <a:gd name="connsiteY0" fmla="*/ 13922 h 27813"/>
                  <a:gd name="connsiteX1" fmla="*/ 15487 w 30821"/>
                  <a:gd name="connsiteY1" fmla="*/ 27828 h 27813"/>
                  <a:gd name="connsiteX2" fmla="*/ 76 w 30821"/>
                  <a:gd name="connsiteY2" fmla="*/ 13922 h 27813"/>
                  <a:gd name="connsiteX3" fmla="*/ 15487 w 30821"/>
                  <a:gd name="connsiteY3" fmla="*/ 15 h 27813"/>
                  <a:gd name="connsiteX4" fmla="*/ 30897 w 30821"/>
                  <a:gd name="connsiteY4" fmla="*/ 13922 h 27813"/>
                  <a:gd name="connsiteX5" fmla="*/ 30897 w 30821"/>
                  <a:gd name="connsiteY5" fmla="*/ 1392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97" y="13922"/>
                    </a:moveTo>
                    <a:cubicBezTo>
                      <a:pt x="30897" y="21637"/>
                      <a:pt x="24037" y="27828"/>
                      <a:pt x="15487" y="27828"/>
                    </a:cubicBezTo>
                    <a:cubicBezTo>
                      <a:pt x="6937" y="27828"/>
                      <a:pt x="76" y="21637"/>
                      <a:pt x="76" y="13922"/>
                    </a:cubicBezTo>
                    <a:cubicBezTo>
                      <a:pt x="76" y="6207"/>
                      <a:pt x="6937" y="15"/>
                      <a:pt x="15487" y="15"/>
                    </a:cubicBezTo>
                    <a:cubicBezTo>
                      <a:pt x="24037" y="15"/>
                      <a:pt x="30897" y="6207"/>
                      <a:pt x="30897" y="13922"/>
                    </a:cubicBezTo>
                    <a:lnTo>
                      <a:pt x="30897" y="13922"/>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46" name="Freeform: Shape 345">
                <a:extLst>
                  <a:ext uri="{FF2B5EF4-FFF2-40B4-BE49-F238E27FC236}">
                    <a16:creationId xmlns:a16="http://schemas.microsoft.com/office/drawing/2014/main" id="{358DA055-A2ED-B51D-E0D3-85E56EDB3D2B}"/>
                  </a:ext>
                </a:extLst>
              </p:cNvPr>
              <p:cNvSpPr/>
              <p:nvPr/>
            </p:nvSpPr>
            <p:spPr>
              <a:xfrm>
                <a:off x="8150425" y="2361922"/>
                <a:ext cx="30821" cy="27813"/>
              </a:xfrm>
              <a:custGeom>
                <a:avLst/>
                <a:gdLst>
                  <a:gd name="connsiteX0" fmla="*/ 30910 w 30821"/>
                  <a:gd name="connsiteY0" fmla="*/ 13925 h 27813"/>
                  <a:gd name="connsiteX1" fmla="*/ 15499 w 30821"/>
                  <a:gd name="connsiteY1" fmla="*/ 27832 h 27813"/>
                  <a:gd name="connsiteX2" fmla="*/ 88 w 30821"/>
                  <a:gd name="connsiteY2" fmla="*/ 13925 h 27813"/>
                  <a:gd name="connsiteX3" fmla="*/ 15499 w 30821"/>
                  <a:gd name="connsiteY3" fmla="*/ 19 h 27813"/>
                  <a:gd name="connsiteX4" fmla="*/ 30910 w 30821"/>
                  <a:gd name="connsiteY4" fmla="*/ 13925 h 27813"/>
                  <a:gd name="connsiteX5" fmla="*/ 30910 w 30821"/>
                  <a:gd name="connsiteY5" fmla="*/ 13925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10" y="13925"/>
                    </a:moveTo>
                    <a:cubicBezTo>
                      <a:pt x="30910" y="21641"/>
                      <a:pt x="24049" y="27832"/>
                      <a:pt x="15499" y="27832"/>
                    </a:cubicBezTo>
                    <a:cubicBezTo>
                      <a:pt x="6949" y="27832"/>
                      <a:pt x="88" y="21641"/>
                      <a:pt x="88" y="13925"/>
                    </a:cubicBezTo>
                    <a:cubicBezTo>
                      <a:pt x="88" y="6210"/>
                      <a:pt x="6949" y="19"/>
                      <a:pt x="15499" y="19"/>
                    </a:cubicBezTo>
                    <a:cubicBezTo>
                      <a:pt x="24049" y="19"/>
                      <a:pt x="30910" y="6210"/>
                      <a:pt x="30910" y="13925"/>
                    </a:cubicBezTo>
                    <a:lnTo>
                      <a:pt x="30910" y="13925"/>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47" name="Freeform: Shape 346">
                <a:extLst>
                  <a:ext uri="{FF2B5EF4-FFF2-40B4-BE49-F238E27FC236}">
                    <a16:creationId xmlns:a16="http://schemas.microsoft.com/office/drawing/2014/main" id="{C3BC71CA-AAF7-6D5B-48D4-BC493DAC15E1}"/>
                  </a:ext>
                </a:extLst>
              </p:cNvPr>
              <p:cNvSpPr/>
              <p:nvPr/>
            </p:nvSpPr>
            <p:spPr>
              <a:xfrm>
                <a:off x="8182091" y="2382115"/>
                <a:ext cx="30821" cy="27813"/>
              </a:xfrm>
              <a:custGeom>
                <a:avLst/>
                <a:gdLst>
                  <a:gd name="connsiteX0" fmla="*/ 30913 w 30821"/>
                  <a:gd name="connsiteY0" fmla="*/ 13928 h 27813"/>
                  <a:gd name="connsiteX1" fmla="*/ 15502 w 30821"/>
                  <a:gd name="connsiteY1" fmla="*/ 27834 h 27813"/>
                  <a:gd name="connsiteX2" fmla="*/ 91 w 30821"/>
                  <a:gd name="connsiteY2" fmla="*/ 13928 h 27813"/>
                  <a:gd name="connsiteX3" fmla="*/ 15502 w 30821"/>
                  <a:gd name="connsiteY3" fmla="*/ 21 h 27813"/>
                  <a:gd name="connsiteX4" fmla="*/ 30913 w 30821"/>
                  <a:gd name="connsiteY4" fmla="*/ 13928 h 27813"/>
                  <a:gd name="connsiteX5" fmla="*/ 30913 w 30821"/>
                  <a:gd name="connsiteY5" fmla="*/ 1392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13" y="13928"/>
                    </a:moveTo>
                    <a:cubicBezTo>
                      <a:pt x="30913" y="21643"/>
                      <a:pt x="24052" y="27834"/>
                      <a:pt x="15502" y="27834"/>
                    </a:cubicBezTo>
                    <a:cubicBezTo>
                      <a:pt x="6952" y="27834"/>
                      <a:pt x="91" y="21643"/>
                      <a:pt x="91" y="13928"/>
                    </a:cubicBezTo>
                    <a:cubicBezTo>
                      <a:pt x="91" y="6212"/>
                      <a:pt x="6952" y="21"/>
                      <a:pt x="15502" y="21"/>
                    </a:cubicBezTo>
                    <a:cubicBezTo>
                      <a:pt x="24052" y="21"/>
                      <a:pt x="30913" y="6212"/>
                      <a:pt x="30913" y="13928"/>
                    </a:cubicBezTo>
                    <a:lnTo>
                      <a:pt x="30913" y="1392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48" name="Freeform: Shape 347">
                <a:extLst>
                  <a:ext uri="{FF2B5EF4-FFF2-40B4-BE49-F238E27FC236}">
                    <a16:creationId xmlns:a16="http://schemas.microsoft.com/office/drawing/2014/main" id="{FE61AAEC-14ED-0B7B-F527-A65CA221C582}"/>
                  </a:ext>
                </a:extLst>
              </p:cNvPr>
              <p:cNvSpPr/>
              <p:nvPr/>
            </p:nvSpPr>
            <p:spPr>
              <a:xfrm>
                <a:off x="8234867" y="2396022"/>
                <a:ext cx="30821" cy="27813"/>
              </a:xfrm>
              <a:custGeom>
                <a:avLst/>
                <a:gdLst>
                  <a:gd name="connsiteX0" fmla="*/ 30918 w 30821"/>
                  <a:gd name="connsiteY0" fmla="*/ 13929 h 27813"/>
                  <a:gd name="connsiteX1" fmla="*/ 15507 w 30821"/>
                  <a:gd name="connsiteY1" fmla="*/ 27835 h 27813"/>
                  <a:gd name="connsiteX2" fmla="*/ 96 w 30821"/>
                  <a:gd name="connsiteY2" fmla="*/ 13929 h 27813"/>
                  <a:gd name="connsiteX3" fmla="*/ 15507 w 30821"/>
                  <a:gd name="connsiteY3" fmla="*/ 22 h 27813"/>
                  <a:gd name="connsiteX4" fmla="*/ 30918 w 30821"/>
                  <a:gd name="connsiteY4" fmla="*/ 13929 h 27813"/>
                  <a:gd name="connsiteX5" fmla="*/ 30918 w 30821"/>
                  <a:gd name="connsiteY5" fmla="*/ 1392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18" y="13929"/>
                    </a:moveTo>
                    <a:cubicBezTo>
                      <a:pt x="30918" y="21644"/>
                      <a:pt x="24057" y="27835"/>
                      <a:pt x="15507" y="27835"/>
                    </a:cubicBezTo>
                    <a:cubicBezTo>
                      <a:pt x="6957" y="27835"/>
                      <a:pt x="96" y="21644"/>
                      <a:pt x="96" y="13929"/>
                    </a:cubicBezTo>
                    <a:cubicBezTo>
                      <a:pt x="96" y="6214"/>
                      <a:pt x="6957" y="22"/>
                      <a:pt x="15507" y="22"/>
                    </a:cubicBezTo>
                    <a:cubicBezTo>
                      <a:pt x="24057" y="22"/>
                      <a:pt x="30918" y="6214"/>
                      <a:pt x="30918" y="13929"/>
                    </a:cubicBezTo>
                    <a:lnTo>
                      <a:pt x="30918" y="13929"/>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49" name="Freeform: Shape 348">
                <a:extLst>
                  <a:ext uri="{FF2B5EF4-FFF2-40B4-BE49-F238E27FC236}">
                    <a16:creationId xmlns:a16="http://schemas.microsoft.com/office/drawing/2014/main" id="{0D1F83FE-9256-F7EC-7AEE-43CE5AD8F06B}"/>
                  </a:ext>
                </a:extLst>
              </p:cNvPr>
              <p:cNvSpPr/>
              <p:nvPr/>
            </p:nvSpPr>
            <p:spPr>
              <a:xfrm>
                <a:off x="8266533" y="2415072"/>
                <a:ext cx="30821" cy="27813"/>
              </a:xfrm>
              <a:custGeom>
                <a:avLst/>
                <a:gdLst>
                  <a:gd name="connsiteX0" fmla="*/ 30921 w 30821"/>
                  <a:gd name="connsiteY0" fmla="*/ 13931 h 27813"/>
                  <a:gd name="connsiteX1" fmla="*/ 15510 w 30821"/>
                  <a:gd name="connsiteY1" fmla="*/ 27837 h 27813"/>
                  <a:gd name="connsiteX2" fmla="*/ 99 w 30821"/>
                  <a:gd name="connsiteY2" fmla="*/ 13931 h 27813"/>
                  <a:gd name="connsiteX3" fmla="*/ 15510 w 30821"/>
                  <a:gd name="connsiteY3" fmla="*/ 24 h 27813"/>
                  <a:gd name="connsiteX4" fmla="*/ 30921 w 30821"/>
                  <a:gd name="connsiteY4" fmla="*/ 13931 h 27813"/>
                  <a:gd name="connsiteX5" fmla="*/ 30921 w 30821"/>
                  <a:gd name="connsiteY5" fmla="*/ 1393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21" y="13931"/>
                    </a:moveTo>
                    <a:cubicBezTo>
                      <a:pt x="30921" y="21646"/>
                      <a:pt x="24060" y="27837"/>
                      <a:pt x="15510" y="27837"/>
                    </a:cubicBezTo>
                    <a:cubicBezTo>
                      <a:pt x="6960" y="27837"/>
                      <a:pt x="99" y="21646"/>
                      <a:pt x="99" y="13931"/>
                    </a:cubicBezTo>
                    <a:cubicBezTo>
                      <a:pt x="99" y="6216"/>
                      <a:pt x="6960" y="24"/>
                      <a:pt x="15510" y="24"/>
                    </a:cubicBezTo>
                    <a:cubicBezTo>
                      <a:pt x="24060" y="24"/>
                      <a:pt x="30921" y="6216"/>
                      <a:pt x="30921" y="13931"/>
                    </a:cubicBezTo>
                    <a:lnTo>
                      <a:pt x="30921" y="1393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50" name="Freeform: Shape 349">
                <a:extLst>
                  <a:ext uri="{FF2B5EF4-FFF2-40B4-BE49-F238E27FC236}">
                    <a16:creationId xmlns:a16="http://schemas.microsoft.com/office/drawing/2014/main" id="{A8C367BB-E507-25E6-D751-337E3B60BAED}"/>
                  </a:ext>
                </a:extLst>
              </p:cNvPr>
              <p:cNvSpPr/>
              <p:nvPr/>
            </p:nvSpPr>
            <p:spPr>
              <a:xfrm>
                <a:off x="8298199" y="2424597"/>
                <a:ext cx="30821" cy="27813"/>
              </a:xfrm>
              <a:custGeom>
                <a:avLst/>
                <a:gdLst>
                  <a:gd name="connsiteX0" fmla="*/ 30924 w 30821"/>
                  <a:gd name="connsiteY0" fmla="*/ 13932 h 27813"/>
                  <a:gd name="connsiteX1" fmla="*/ 15513 w 30821"/>
                  <a:gd name="connsiteY1" fmla="*/ 27838 h 27813"/>
                  <a:gd name="connsiteX2" fmla="*/ 102 w 30821"/>
                  <a:gd name="connsiteY2" fmla="*/ 13932 h 27813"/>
                  <a:gd name="connsiteX3" fmla="*/ 15513 w 30821"/>
                  <a:gd name="connsiteY3" fmla="*/ 25 h 27813"/>
                  <a:gd name="connsiteX4" fmla="*/ 30924 w 30821"/>
                  <a:gd name="connsiteY4" fmla="*/ 13932 h 27813"/>
                  <a:gd name="connsiteX5" fmla="*/ 30924 w 30821"/>
                  <a:gd name="connsiteY5" fmla="*/ 1393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24" y="13932"/>
                    </a:moveTo>
                    <a:cubicBezTo>
                      <a:pt x="30924" y="21647"/>
                      <a:pt x="24063" y="27838"/>
                      <a:pt x="15513" y="27838"/>
                    </a:cubicBezTo>
                    <a:cubicBezTo>
                      <a:pt x="6963" y="27838"/>
                      <a:pt x="102" y="21647"/>
                      <a:pt x="102" y="13932"/>
                    </a:cubicBezTo>
                    <a:cubicBezTo>
                      <a:pt x="102" y="6217"/>
                      <a:pt x="6963" y="25"/>
                      <a:pt x="15513" y="25"/>
                    </a:cubicBezTo>
                    <a:cubicBezTo>
                      <a:pt x="24063" y="25"/>
                      <a:pt x="30924" y="6217"/>
                      <a:pt x="30924" y="13932"/>
                    </a:cubicBezTo>
                    <a:lnTo>
                      <a:pt x="30924" y="13932"/>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51" name="Freeform: Shape 350">
                <a:extLst>
                  <a:ext uri="{FF2B5EF4-FFF2-40B4-BE49-F238E27FC236}">
                    <a16:creationId xmlns:a16="http://schemas.microsoft.com/office/drawing/2014/main" id="{1986FBD9-D7FA-40C3-8796-4FC4C93B097F}"/>
                  </a:ext>
                </a:extLst>
              </p:cNvPr>
              <p:cNvSpPr/>
              <p:nvPr/>
            </p:nvSpPr>
            <p:spPr>
              <a:xfrm>
                <a:off x="8393196" y="2472222"/>
                <a:ext cx="30821" cy="27813"/>
              </a:xfrm>
              <a:custGeom>
                <a:avLst/>
                <a:gdLst>
                  <a:gd name="connsiteX0" fmla="*/ 30933 w 30821"/>
                  <a:gd name="connsiteY0" fmla="*/ 13937 h 27813"/>
                  <a:gd name="connsiteX1" fmla="*/ 15522 w 30821"/>
                  <a:gd name="connsiteY1" fmla="*/ 27843 h 27813"/>
                  <a:gd name="connsiteX2" fmla="*/ 111 w 30821"/>
                  <a:gd name="connsiteY2" fmla="*/ 13937 h 27813"/>
                  <a:gd name="connsiteX3" fmla="*/ 15522 w 30821"/>
                  <a:gd name="connsiteY3" fmla="*/ 30 h 27813"/>
                  <a:gd name="connsiteX4" fmla="*/ 30933 w 30821"/>
                  <a:gd name="connsiteY4" fmla="*/ 13937 h 27813"/>
                  <a:gd name="connsiteX5" fmla="*/ 30933 w 30821"/>
                  <a:gd name="connsiteY5" fmla="*/ 1393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33" y="13937"/>
                    </a:moveTo>
                    <a:cubicBezTo>
                      <a:pt x="30933" y="21652"/>
                      <a:pt x="24072" y="27843"/>
                      <a:pt x="15522" y="27843"/>
                    </a:cubicBezTo>
                    <a:cubicBezTo>
                      <a:pt x="6972" y="27843"/>
                      <a:pt x="111" y="21652"/>
                      <a:pt x="111" y="13937"/>
                    </a:cubicBezTo>
                    <a:cubicBezTo>
                      <a:pt x="111" y="6222"/>
                      <a:pt x="6972" y="30"/>
                      <a:pt x="15522" y="30"/>
                    </a:cubicBezTo>
                    <a:cubicBezTo>
                      <a:pt x="24072" y="30"/>
                      <a:pt x="30933" y="6222"/>
                      <a:pt x="30933" y="13937"/>
                    </a:cubicBezTo>
                    <a:lnTo>
                      <a:pt x="30933" y="1393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52" name="Freeform: Shape 351">
                <a:extLst>
                  <a:ext uri="{FF2B5EF4-FFF2-40B4-BE49-F238E27FC236}">
                    <a16:creationId xmlns:a16="http://schemas.microsoft.com/office/drawing/2014/main" id="{90EDCB3C-DC73-33BE-574B-43CA364EC0C2}"/>
                  </a:ext>
                </a:extLst>
              </p:cNvPr>
              <p:cNvSpPr/>
              <p:nvPr/>
            </p:nvSpPr>
            <p:spPr>
              <a:xfrm>
                <a:off x="8435417" y="2472222"/>
                <a:ext cx="30821" cy="27813"/>
              </a:xfrm>
              <a:custGeom>
                <a:avLst/>
                <a:gdLst>
                  <a:gd name="connsiteX0" fmla="*/ 30937 w 30821"/>
                  <a:gd name="connsiteY0" fmla="*/ 13937 h 27813"/>
                  <a:gd name="connsiteX1" fmla="*/ 15526 w 30821"/>
                  <a:gd name="connsiteY1" fmla="*/ 27843 h 27813"/>
                  <a:gd name="connsiteX2" fmla="*/ 115 w 30821"/>
                  <a:gd name="connsiteY2" fmla="*/ 13937 h 27813"/>
                  <a:gd name="connsiteX3" fmla="*/ 15526 w 30821"/>
                  <a:gd name="connsiteY3" fmla="*/ 30 h 27813"/>
                  <a:gd name="connsiteX4" fmla="*/ 30937 w 30821"/>
                  <a:gd name="connsiteY4" fmla="*/ 13937 h 27813"/>
                  <a:gd name="connsiteX5" fmla="*/ 30937 w 30821"/>
                  <a:gd name="connsiteY5" fmla="*/ 1393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37" y="13937"/>
                    </a:moveTo>
                    <a:cubicBezTo>
                      <a:pt x="30937" y="21652"/>
                      <a:pt x="24076" y="27843"/>
                      <a:pt x="15526" y="27843"/>
                    </a:cubicBezTo>
                    <a:cubicBezTo>
                      <a:pt x="6976" y="27843"/>
                      <a:pt x="115" y="21652"/>
                      <a:pt x="115" y="13937"/>
                    </a:cubicBezTo>
                    <a:cubicBezTo>
                      <a:pt x="115" y="6222"/>
                      <a:pt x="6976" y="30"/>
                      <a:pt x="15526" y="30"/>
                    </a:cubicBezTo>
                    <a:cubicBezTo>
                      <a:pt x="24076" y="30"/>
                      <a:pt x="30937" y="6222"/>
                      <a:pt x="30937" y="13937"/>
                    </a:cubicBezTo>
                    <a:lnTo>
                      <a:pt x="30937" y="1393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53" name="Freeform: Shape 352">
                <a:extLst>
                  <a:ext uri="{FF2B5EF4-FFF2-40B4-BE49-F238E27FC236}">
                    <a16:creationId xmlns:a16="http://schemas.microsoft.com/office/drawing/2014/main" id="{06735779-6774-93D2-DCC3-0A4FD5C448D9}"/>
                  </a:ext>
                </a:extLst>
              </p:cNvPr>
              <p:cNvSpPr/>
              <p:nvPr/>
            </p:nvSpPr>
            <p:spPr>
              <a:xfrm>
                <a:off x="8736981" y="2535753"/>
                <a:ext cx="30821" cy="27813"/>
              </a:xfrm>
              <a:custGeom>
                <a:avLst/>
                <a:gdLst>
                  <a:gd name="connsiteX0" fmla="*/ 30965 w 30821"/>
                  <a:gd name="connsiteY0" fmla="*/ 13944 h 27813"/>
                  <a:gd name="connsiteX1" fmla="*/ 15554 w 30821"/>
                  <a:gd name="connsiteY1" fmla="*/ 27850 h 27813"/>
                  <a:gd name="connsiteX2" fmla="*/ 144 w 30821"/>
                  <a:gd name="connsiteY2" fmla="*/ 13944 h 27813"/>
                  <a:gd name="connsiteX3" fmla="*/ 15554 w 30821"/>
                  <a:gd name="connsiteY3" fmla="*/ 37 h 27813"/>
                  <a:gd name="connsiteX4" fmla="*/ 30965 w 30821"/>
                  <a:gd name="connsiteY4" fmla="*/ 13944 h 27813"/>
                  <a:gd name="connsiteX5" fmla="*/ 30965 w 30821"/>
                  <a:gd name="connsiteY5" fmla="*/ 1394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65" y="13944"/>
                    </a:moveTo>
                    <a:cubicBezTo>
                      <a:pt x="30965" y="21659"/>
                      <a:pt x="24104" y="27850"/>
                      <a:pt x="15554" y="27850"/>
                    </a:cubicBezTo>
                    <a:cubicBezTo>
                      <a:pt x="7005" y="27850"/>
                      <a:pt x="144" y="21659"/>
                      <a:pt x="144" y="13944"/>
                    </a:cubicBezTo>
                    <a:cubicBezTo>
                      <a:pt x="144" y="6228"/>
                      <a:pt x="7005" y="37"/>
                      <a:pt x="15554" y="37"/>
                    </a:cubicBezTo>
                    <a:cubicBezTo>
                      <a:pt x="24104" y="37"/>
                      <a:pt x="30965" y="6228"/>
                      <a:pt x="30965" y="13944"/>
                    </a:cubicBezTo>
                    <a:lnTo>
                      <a:pt x="30965" y="13944"/>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54" name="Freeform: Shape 353">
                <a:extLst>
                  <a:ext uri="{FF2B5EF4-FFF2-40B4-BE49-F238E27FC236}">
                    <a16:creationId xmlns:a16="http://schemas.microsoft.com/office/drawing/2014/main" id="{3738B20C-B643-DAC3-6E9F-05AB0411BD46}"/>
                  </a:ext>
                </a:extLst>
              </p:cNvPr>
              <p:cNvSpPr/>
              <p:nvPr/>
            </p:nvSpPr>
            <p:spPr>
              <a:xfrm>
                <a:off x="8758091" y="2545278"/>
                <a:ext cx="30821" cy="27813"/>
              </a:xfrm>
              <a:custGeom>
                <a:avLst/>
                <a:gdLst>
                  <a:gd name="connsiteX0" fmla="*/ 30967 w 30821"/>
                  <a:gd name="connsiteY0" fmla="*/ 13945 h 27813"/>
                  <a:gd name="connsiteX1" fmla="*/ 15556 w 30821"/>
                  <a:gd name="connsiteY1" fmla="*/ 27851 h 27813"/>
                  <a:gd name="connsiteX2" fmla="*/ 146 w 30821"/>
                  <a:gd name="connsiteY2" fmla="*/ 13945 h 27813"/>
                  <a:gd name="connsiteX3" fmla="*/ 15556 w 30821"/>
                  <a:gd name="connsiteY3" fmla="*/ 38 h 27813"/>
                  <a:gd name="connsiteX4" fmla="*/ 30967 w 30821"/>
                  <a:gd name="connsiteY4" fmla="*/ 13945 h 27813"/>
                  <a:gd name="connsiteX5" fmla="*/ 30967 w 30821"/>
                  <a:gd name="connsiteY5" fmla="*/ 13945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67" y="13945"/>
                    </a:moveTo>
                    <a:cubicBezTo>
                      <a:pt x="30967" y="21660"/>
                      <a:pt x="24106" y="27851"/>
                      <a:pt x="15556" y="27851"/>
                    </a:cubicBezTo>
                    <a:cubicBezTo>
                      <a:pt x="7007" y="27851"/>
                      <a:pt x="146" y="21660"/>
                      <a:pt x="146" y="13945"/>
                    </a:cubicBezTo>
                    <a:cubicBezTo>
                      <a:pt x="146" y="6229"/>
                      <a:pt x="7007" y="38"/>
                      <a:pt x="15556" y="38"/>
                    </a:cubicBezTo>
                    <a:cubicBezTo>
                      <a:pt x="24106" y="38"/>
                      <a:pt x="30967" y="6229"/>
                      <a:pt x="30967" y="13945"/>
                    </a:cubicBezTo>
                    <a:lnTo>
                      <a:pt x="30967" y="13945"/>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55" name="Freeform: Shape 354">
                <a:extLst>
                  <a:ext uri="{FF2B5EF4-FFF2-40B4-BE49-F238E27FC236}">
                    <a16:creationId xmlns:a16="http://schemas.microsoft.com/office/drawing/2014/main" id="{855D3D77-49F9-2CB7-9941-1C7692E953E9}"/>
                  </a:ext>
                </a:extLst>
              </p:cNvPr>
              <p:cNvSpPr/>
              <p:nvPr/>
            </p:nvSpPr>
            <p:spPr>
              <a:xfrm>
                <a:off x="8789757" y="2554803"/>
                <a:ext cx="30821" cy="27813"/>
              </a:xfrm>
              <a:custGeom>
                <a:avLst/>
                <a:gdLst>
                  <a:gd name="connsiteX0" fmla="*/ 30970 w 30821"/>
                  <a:gd name="connsiteY0" fmla="*/ 13946 h 27813"/>
                  <a:gd name="connsiteX1" fmla="*/ 15559 w 30821"/>
                  <a:gd name="connsiteY1" fmla="*/ 27852 h 27813"/>
                  <a:gd name="connsiteX2" fmla="*/ 149 w 30821"/>
                  <a:gd name="connsiteY2" fmla="*/ 13946 h 27813"/>
                  <a:gd name="connsiteX3" fmla="*/ 15559 w 30821"/>
                  <a:gd name="connsiteY3" fmla="*/ 39 h 27813"/>
                  <a:gd name="connsiteX4" fmla="*/ 30970 w 30821"/>
                  <a:gd name="connsiteY4" fmla="*/ 13946 h 27813"/>
                  <a:gd name="connsiteX5" fmla="*/ 30970 w 30821"/>
                  <a:gd name="connsiteY5" fmla="*/ 13946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70" y="13946"/>
                    </a:moveTo>
                    <a:cubicBezTo>
                      <a:pt x="30970" y="21661"/>
                      <a:pt x="24109" y="27852"/>
                      <a:pt x="15559" y="27852"/>
                    </a:cubicBezTo>
                    <a:cubicBezTo>
                      <a:pt x="7010" y="27852"/>
                      <a:pt x="149" y="21661"/>
                      <a:pt x="149" y="13946"/>
                    </a:cubicBezTo>
                    <a:cubicBezTo>
                      <a:pt x="149" y="6230"/>
                      <a:pt x="7010" y="39"/>
                      <a:pt x="15559" y="39"/>
                    </a:cubicBezTo>
                    <a:cubicBezTo>
                      <a:pt x="24109" y="39"/>
                      <a:pt x="30970" y="6230"/>
                      <a:pt x="30970" y="13946"/>
                    </a:cubicBezTo>
                    <a:lnTo>
                      <a:pt x="30970" y="13946"/>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56" name="Freeform: Shape 355">
                <a:extLst>
                  <a:ext uri="{FF2B5EF4-FFF2-40B4-BE49-F238E27FC236}">
                    <a16:creationId xmlns:a16="http://schemas.microsoft.com/office/drawing/2014/main" id="{F95F7723-47CD-4CB0-27C2-9B84A3F2232E}"/>
                  </a:ext>
                </a:extLst>
              </p:cNvPr>
              <p:cNvSpPr/>
              <p:nvPr/>
            </p:nvSpPr>
            <p:spPr>
              <a:xfrm>
                <a:off x="8847917" y="2568615"/>
                <a:ext cx="30821" cy="27813"/>
              </a:xfrm>
              <a:custGeom>
                <a:avLst/>
                <a:gdLst>
                  <a:gd name="connsiteX0" fmla="*/ 30976 w 30821"/>
                  <a:gd name="connsiteY0" fmla="*/ 13947 h 27813"/>
                  <a:gd name="connsiteX1" fmla="*/ 15565 w 30821"/>
                  <a:gd name="connsiteY1" fmla="*/ 27854 h 27813"/>
                  <a:gd name="connsiteX2" fmla="*/ 154 w 30821"/>
                  <a:gd name="connsiteY2" fmla="*/ 13947 h 27813"/>
                  <a:gd name="connsiteX3" fmla="*/ 15565 w 30821"/>
                  <a:gd name="connsiteY3" fmla="*/ 41 h 27813"/>
                  <a:gd name="connsiteX4" fmla="*/ 30976 w 30821"/>
                  <a:gd name="connsiteY4" fmla="*/ 13947 h 27813"/>
                  <a:gd name="connsiteX5" fmla="*/ 30976 w 30821"/>
                  <a:gd name="connsiteY5" fmla="*/ 1394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76" y="13947"/>
                    </a:moveTo>
                    <a:cubicBezTo>
                      <a:pt x="30976" y="21662"/>
                      <a:pt x="24115" y="27854"/>
                      <a:pt x="15565" y="27854"/>
                    </a:cubicBezTo>
                    <a:cubicBezTo>
                      <a:pt x="7015" y="27854"/>
                      <a:pt x="154" y="21662"/>
                      <a:pt x="154" y="13947"/>
                    </a:cubicBezTo>
                    <a:cubicBezTo>
                      <a:pt x="154" y="6232"/>
                      <a:pt x="7015" y="41"/>
                      <a:pt x="15565" y="41"/>
                    </a:cubicBezTo>
                    <a:cubicBezTo>
                      <a:pt x="24115" y="41"/>
                      <a:pt x="30976" y="6232"/>
                      <a:pt x="30976" y="13947"/>
                    </a:cubicBezTo>
                    <a:lnTo>
                      <a:pt x="30976" y="1394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57" name="Freeform: Shape 356">
                <a:extLst>
                  <a:ext uri="{FF2B5EF4-FFF2-40B4-BE49-F238E27FC236}">
                    <a16:creationId xmlns:a16="http://schemas.microsoft.com/office/drawing/2014/main" id="{51F4D4C1-3DA1-05BF-0828-652B3971E153}"/>
                  </a:ext>
                </a:extLst>
              </p:cNvPr>
              <p:cNvSpPr/>
              <p:nvPr/>
            </p:nvSpPr>
            <p:spPr>
              <a:xfrm>
                <a:off x="8890138" y="2568615"/>
                <a:ext cx="30821" cy="27813"/>
              </a:xfrm>
              <a:custGeom>
                <a:avLst/>
                <a:gdLst>
                  <a:gd name="connsiteX0" fmla="*/ 30980 w 30821"/>
                  <a:gd name="connsiteY0" fmla="*/ 13947 h 27813"/>
                  <a:gd name="connsiteX1" fmla="*/ 15569 w 30821"/>
                  <a:gd name="connsiteY1" fmla="*/ 27854 h 27813"/>
                  <a:gd name="connsiteX2" fmla="*/ 158 w 30821"/>
                  <a:gd name="connsiteY2" fmla="*/ 13947 h 27813"/>
                  <a:gd name="connsiteX3" fmla="*/ 15569 w 30821"/>
                  <a:gd name="connsiteY3" fmla="*/ 41 h 27813"/>
                  <a:gd name="connsiteX4" fmla="*/ 30980 w 30821"/>
                  <a:gd name="connsiteY4" fmla="*/ 13947 h 27813"/>
                  <a:gd name="connsiteX5" fmla="*/ 30980 w 30821"/>
                  <a:gd name="connsiteY5" fmla="*/ 1394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80" y="13947"/>
                    </a:moveTo>
                    <a:cubicBezTo>
                      <a:pt x="30980" y="21662"/>
                      <a:pt x="24119" y="27854"/>
                      <a:pt x="15569" y="27854"/>
                    </a:cubicBezTo>
                    <a:cubicBezTo>
                      <a:pt x="7019" y="27854"/>
                      <a:pt x="158" y="21662"/>
                      <a:pt x="158" y="13947"/>
                    </a:cubicBezTo>
                    <a:cubicBezTo>
                      <a:pt x="158" y="6232"/>
                      <a:pt x="7019" y="41"/>
                      <a:pt x="15569" y="41"/>
                    </a:cubicBezTo>
                    <a:cubicBezTo>
                      <a:pt x="24119" y="41"/>
                      <a:pt x="30980" y="6232"/>
                      <a:pt x="30980" y="13947"/>
                    </a:cubicBezTo>
                    <a:lnTo>
                      <a:pt x="30980" y="1394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58" name="Freeform: Shape 357">
                <a:extLst>
                  <a:ext uri="{FF2B5EF4-FFF2-40B4-BE49-F238E27FC236}">
                    <a16:creationId xmlns:a16="http://schemas.microsoft.com/office/drawing/2014/main" id="{DF9181B8-949D-0257-175B-82554AF420A5}"/>
                  </a:ext>
                </a:extLst>
              </p:cNvPr>
              <p:cNvSpPr/>
              <p:nvPr/>
            </p:nvSpPr>
            <p:spPr>
              <a:xfrm>
                <a:off x="8964025" y="2597285"/>
                <a:ext cx="30821" cy="27813"/>
              </a:xfrm>
              <a:custGeom>
                <a:avLst/>
                <a:gdLst>
                  <a:gd name="connsiteX0" fmla="*/ 30987 w 30821"/>
                  <a:gd name="connsiteY0" fmla="*/ 13950 h 27813"/>
                  <a:gd name="connsiteX1" fmla="*/ 15576 w 30821"/>
                  <a:gd name="connsiteY1" fmla="*/ 27857 h 27813"/>
                  <a:gd name="connsiteX2" fmla="*/ 165 w 30821"/>
                  <a:gd name="connsiteY2" fmla="*/ 13950 h 27813"/>
                  <a:gd name="connsiteX3" fmla="*/ 15576 w 30821"/>
                  <a:gd name="connsiteY3" fmla="*/ 44 h 27813"/>
                  <a:gd name="connsiteX4" fmla="*/ 30987 w 30821"/>
                  <a:gd name="connsiteY4" fmla="*/ 13950 h 27813"/>
                  <a:gd name="connsiteX5" fmla="*/ 30987 w 30821"/>
                  <a:gd name="connsiteY5" fmla="*/ 1395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87" y="13950"/>
                    </a:moveTo>
                    <a:cubicBezTo>
                      <a:pt x="30987" y="21665"/>
                      <a:pt x="24126" y="27857"/>
                      <a:pt x="15576" y="27857"/>
                    </a:cubicBezTo>
                    <a:cubicBezTo>
                      <a:pt x="7026" y="27857"/>
                      <a:pt x="165" y="21665"/>
                      <a:pt x="165" y="13950"/>
                    </a:cubicBezTo>
                    <a:cubicBezTo>
                      <a:pt x="165" y="6235"/>
                      <a:pt x="7026" y="44"/>
                      <a:pt x="15576" y="44"/>
                    </a:cubicBezTo>
                    <a:cubicBezTo>
                      <a:pt x="24126" y="44"/>
                      <a:pt x="30987" y="6235"/>
                      <a:pt x="30987" y="13950"/>
                    </a:cubicBezTo>
                    <a:lnTo>
                      <a:pt x="30987" y="13950"/>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59" name="Freeform: Shape 358">
                <a:extLst>
                  <a:ext uri="{FF2B5EF4-FFF2-40B4-BE49-F238E27FC236}">
                    <a16:creationId xmlns:a16="http://schemas.microsoft.com/office/drawing/2014/main" id="{4DC67251-7B4A-9B96-CB91-32ACC485C0FA}"/>
                  </a:ext>
                </a:extLst>
              </p:cNvPr>
              <p:cNvSpPr/>
              <p:nvPr/>
            </p:nvSpPr>
            <p:spPr>
              <a:xfrm>
                <a:off x="8995690" y="2606810"/>
                <a:ext cx="30821" cy="27813"/>
              </a:xfrm>
              <a:custGeom>
                <a:avLst/>
                <a:gdLst>
                  <a:gd name="connsiteX0" fmla="*/ 30990 w 30821"/>
                  <a:gd name="connsiteY0" fmla="*/ 13951 h 27813"/>
                  <a:gd name="connsiteX1" fmla="*/ 15579 w 30821"/>
                  <a:gd name="connsiteY1" fmla="*/ 27858 h 27813"/>
                  <a:gd name="connsiteX2" fmla="*/ 168 w 30821"/>
                  <a:gd name="connsiteY2" fmla="*/ 13951 h 27813"/>
                  <a:gd name="connsiteX3" fmla="*/ 15579 w 30821"/>
                  <a:gd name="connsiteY3" fmla="*/ 45 h 27813"/>
                  <a:gd name="connsiteX4" fmla="*/ 30990 w 30821"/>
                  <a:gd name="connsiteY4" fmla="*/ 13951 h 27813"/>
                  <a:gd name="connsiteX5" fmla="*/ 30990 w 30821"/>
                  <a:gd name="connsiteY5" fmla="*/ 1395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90" y="13951"/>
                    </a:moveTo>
                    <a:cubicBezTo>
                      <a:pt x="30990" y="21666"/>
                      <a:pt x="24129" y="27858"/>
                      <a:pt x="15579" y="27858"/>
                    </a:cubicBezTo>
                    <a:cubicBezTo>
                      <a:pt x="7029" y="27858"/>
                      <a:pt x="168" y="21666"/>
                      <a:pt x="168" y="13951"/>
                    </a:cubicBezTo>
                    <a:cubicBezTo>
                      <a:pt x="168" y="6236"/>
                      <a:pt x="7029" y="45"/>
                      <a:pt x="15579" y="45"/>
                    </a:cubicBezTo>
                    <a:cubicBezTo>
                      <a:pt x="24129" y="45"/>
                      <a:pt x="30990" y="6236"/>
                      <a:pt x="30990" y="13951"/>
                    </a:cubicBezTo>
                    <a:lnTo>
                      <a:pt x="30990" y="1395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60" name="Freeform: Shape 359">
                <a:extLst>
                  <a:ext uri="{FF2B5EF4-FFF2-40B4-BE49-F238E27FC236}">
                    <a16:creationId xmlns:a16="http://schemas.microsoft.com/office/drawing/2014/main" id="{9C76FEB2-FA81-BF96-8B4D-689959AA98F8}"/>
                  </a:ext>
                </a:extLst>
              </p:cNvPr>
              <p:cNvSpPr/>
              <p:nvPr/>
            </p:nvSpPr>
            <p:spPr>
              <a:xfrm>
                <a:off x="9027356" y="2616335"/>
                <a:ext cx="30821" cy="27813"/>
              </a:xfrm>
              <a:custGeom>
                <a:avLst/>
                <a:gdLst>
                  <a:gd name="connsiteX0" fmla="*/ 30993 w 30821"/>
                  <a:gd name="connsiteY0" fmla="*/ 13952 h 27813"/>
                  <a:gd name="connsiteX1" fmla="*/ 15582 w 30821"/>
                  <a:gd name="connsiteY1" fmla="*/ 27859 h 27813"/>
                  <a:gd name="connsiteX2" fmla="*/ 171 w 30821"/>
                  <a:gd name="connsiteY2" fmla="*/ 13952 h 27813"/>
                  <a:gd name="connsiteX3" fmla="*/ 15582 w 30821"/>
                  <a:gd name="connsiteY3" fmla="*/ 46 h 27813"/>
                  <a:gd name="connsiteX4" fmla="*/ 30993 w 30821"/>
                  <a:gd name="connsiteY4" fmla="*/ 13952 h 27813"/>
                  <a:gd name="connsiteX5" fmla="*/ 30993 w 30821"/>
                  <a:gd name="connsiteY5" fmla="*/ 1395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93" y="13952"/>
                    </a:moveTo>
                    <a:cubicBezTo>
                      <a:pt x="30993" y="21667"/>
                      <a:pt x="24132" y="27859"/>
                      <a:pt x="15582" y="27859"/>
                    </a:cubicBezTo>
                    <a:cubicBezTo>
                      <a:pt x="7032" y="27859"/>
                      <a:pt x="171" y="21667"/>
                      <a:pt x="171" y="13952"/>
                    </a:cubicBezTo>
                    <a:cubicBezTo>
                      <a:pt x="171" y="6237"/>
                      <a:pt x="7032" y="46"/>
                      <a:pt x="15582" y="46"/>
                    </a:cubicBezTo>
                    <a:cubicBezTo>
                      <a:pt x="24132" y="46"/>
                      <a:pt x="30993" y="6237"/>
                      <a:pt x="30993" y="13952"/>
                    </a:cubicBezTo>
                    <a:lnTo>
                      <a:pt x="30993" y="13952"/>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61" name="Freeform: Shape 360">
                <a:extLst>
                  <a:ext uri="{FF2B5EF4-FFF2-40B4-BE49-F238E27FC236}">
                    <a16:creationId xmlns:a16="http://schemas.microsoft.com/office/drawing/2014/main" id="{430EF063-8E7E-4710-B705-6B86BCDB0FCA}"/>
                  </a:ext>
                </a:extLst>
              </p:cNvPr>
              <p:cNvSpPr/>
              <p:nvPr/>
            </p:nvSpPr>
            <p:spPr>
              <a:xfrm>
                <a:off x="9090688" y="2635385"/>
                <a:ext cx="30821" cy="27813"/>
              </a:xfrm>
              <a:custGeom>
                <a:avLst/>
                <a:gdLst>
                  <a:gd name="connsiteX0" fmla="*/ 30999 w 30821"/>
                  <a:gd name="connsiteY0" fmla="*/ 13954 h 27813"/>
                  <a:gd name="connsiteX1" fmla="*/ 15588 w 30821"/>
                  <a:gd name="connsiteY1" fmla="*/ 27861 h 27813"/>
                  <a:gd name="connsiteX2" fmla="*/ 177 w 30821"/>
                  <a:gd name="connsiteY2" fmla="*/ 13954 h 27813"/>
                  <a:gd name="connsiteX3" fmla="*/ 15588 w 30821"/>
                  <a:gd name="connsiteY3" fmla="*/ 48 h 27813"/>
                  <a:gd name="connsiteX4" fmla="*/ 30999 w 30821"/>
                  <a:gd name="connsiteY4" fmla="*/ 13954 h 27813"/>
                  <a:gd name="connsiteX5" fmla="*/ 30999 w 30821"/>
                  <a:gd name="connsiteY5" fmla="*/ 1395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99" y="13954"/>
                    </a:moveTo>
                    <a:cubicBezTo>
                      <a:pt x="30999" y="21669"/>
                      <a:pt x="24138" y="27861"/>
                      <a:pt x="15588" y="27861"/>
                    </a:cubicBezTo>
                    <a:cubicBezTo>
                      <a:pt x="7038" y="27861"/>
                      <a:pt x="177" y="21669"/>
                      <a:pt x="177" y="13954"/>
                    </a:cubicBezTo>
                    <a:cubicBezTo>
                      <a:pt x="177" y="6239"/>
                      <a:pt x="7038" y="48"/>
                      <a:pt x="15588" y="48"/>
                    </a:cubicBezTo>
                    <a:cubicBezTo>
                      <a:pt x="24138" y="48"/>
                      <a:pt x="30999" y="6239"/>
                      <a:pt x="30999" y="13954"/>
                    </a:cubicBezTo>
                    <a:lnTo>
                      <a:pt x="30999" y="13954"/>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62" name="Freeform: Shape 361">
                <a:extLst>
                  <a:ext uri="{FF2B5EF4-FFF2-40B4-BE49-F238E27FC236}">
                    <a16:creationId xmlns:a16="http://schemas.microsoft.com/office/drawing/2014/main" id="{C1DFF3BC-B14B-FAD9-EE9A-8A84610A5793}"/>
                  </a:ext>
                </a:extLst>
              </p:cNvPr>
              <p:cNvSpPr/>
              <p:nvPr/>
            </p:nvSpPr>
            <p:spPr>
              <a:xfrm>
                <a:off x="9175130" y="2667865"/>
                <a:ext cx="30821" cy="27813"/>
              </a:xfrm>
              <a:custGeom>
                <a:avLst/>
                <a:gdLst>
                  <a:gd name="connsiteX0" fmla="*/ 31007 w 30821"/>
                  <a:gd name="connsiteY0" fmla="*/ 13958 h 27813"/>
                  <a:gd name="connsiteX1" fmla="*/ 15596 w 30821"/>
                  <a:gd name="connsiteY1" fmla="*/ 27864 h 27813"/>
                  <a:gd name="connsiteX2" fmla="*/ 185 w 30821"/>
                  <a:gd name="connsiteY2" fmla="*/ 13958 h 27813"/>
                  <a:gd name="connsiteX3" fmla="*/ 15596 w 30821"/>
                  <a:gd name="connsiteY3" fmla="*/ 51 h 27813"/>
                  <a:gd name="connsiteX4" fmla="*/ 31007 w 30821"/>
                  <a:gd name="connsiteY4" fmla="*/ 13958 h 27813"/>
                  <a:gd name="connsiteX5" fmla="*/ 31007 w 30821"/>
                  <a:gd name="connsiteY5" fmla="*/ 1395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07" y="13958"/>
                    </a:moveTo>
                    <a:cubicBezTo>
                      <a:pt x="31007" y="21673"/>
                      <a:pt x="24146" y="27864"/>
                      <a:pt x="15596" y="27864"/>
                    </a:cubicBezTo>
                    <a:cubicBezTo>
                      <a:pt x="7046" y="27864"/>
                      <a:pt x="185" y="21673"/>
                      <a:pt x="185" y="13958"/>
                    </a:cubicBezTo>
                    <a:cubicBezTo>
                      <a:pt x="185" y="6242"/>
                      <a:pt x="7046" y="51"/>
                      <a:pt x="15596" y="51"/>
                    </a:cubicBezTo>
                    <a:cubicBezTo>
                      <a:pt x="24146" y="51"/>
                      <a:pt x="31007" y="6242"/>
                      <a:pt x="31007" y="13958"/>
                    </a:cubicBezTo>
                    <a:lnTo>
                      <a:pt x="31007" y="1395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63" name="Freeform: Shape 362">
                <a:extLst>
                  <a:ext uri="{FF2B5EF4-FFF2-40B4-BE49-F238E27FC236}">
                    <a16:creationId xmlns:a16="http://schemas.microsoft.com/office/drawing/2014/main" id="{4AD882B2-1873-4A3F-86EE-53426FE64025}"/>
                  </a:ext>
                </a:extLst>
              </p:cNvPr>
              <p:cNvSpPr/>
              <p:nvPr/>
            </p:nvSpPr>
            <p:spPr>
              <a:xfrm>
                <a:off x="9217351" y="2677390"/>
                <a:ext cx="30821" cy="27813"/>
              </a:xfrm>
              <a:custGeom>
                <a:avLst/>
                <a:gdLst>
                  <a:gd name="connsiteX0" fmla="*/ 31011 w 30821"/>
                  <a:gd name="connsiteY0" fmla="*/ 13959 h 27813"/>
                  <a:gd name="connsiteX1" fmla="*/ 15600 w 30821"/>
                  <a:gd name="connsiteY1" fmla="*/ 27865 h 27813"/>
                  <a:gd name="connsiteX2" fmla="*/ 189 w 30821"/>
                  <a:gd name="connsiteY2" fmla="*/ 13959 h 27813"/>
                  <a:gd name="connsiteX3" fmla="*/ 15600 w 30821"/>
                  <a:gd name="connsiteY3" fmla="*/ 52 h 27813"/>
                  <a:gd name="connsiteX4" fmla="*/ 31011 w 30821"/>
                  <a:gd name="connsiteY4" fmla="*/ 13959 h 27813"/>
                  <a:gd name="connsiteX5" fmla="*/ 31011 w 30821"/>
                  <a:gd name="connsiteY5" fmla="*/ 1395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11" y="13959"/>
                    </a:moveTo>
                    <a:cubicBezTo>
                      <a:pt x="31011" y="21674"/>
                      <a:pt x="24150" y="27865"/>
                      <a:pt x="15600" y="27865"/>
                    </a:cubicBezTo>
                    <a:cubicBezTo>
                      <a:pt x="7050" y="27865"/>
                      <a:pt x="189" y="21674"/>
                      <a:pt x="189" y="13959"/>
                    </a:cubicBezTo>
                    <a:cubicBezTo>
                      <a:pt x="189" y="6243"/>
                      <a:pt x="7050" y="52"/>
                      <a:pt x="15600" y="52"/>
                    </a:cubicBezTo>
                    <a:cubicBezTo>
                      <a:pt x="24150" y="52"/>
                      <a:pt x="31011" y="6243"/>
                      <a:pt x="31011" y="13959"/>
                    </a:cubicBezTo>
                    <a:lnTo>
                      <a:pt x="31011" y="13959"/>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64" name="Freeform: Shape 363">
                <a:extLst>
                  <a:ext uri="{FF2B5EF4-FFF2-40B4-BE49-F238E27FC236}">
                    <a16:creationId xmlns:a16="http://schemas.microsoft.com/office/drawing/2014/main" id="{DDCFF03F-C25C-5646-7BD4-3A26FD38951D}"/>
                  </a:ext>
                </a:extLst>
              </p:cNvPr>
              <p:cNvSpPr/>
              <p:nvPr/>
            </p:nvSpPr>
            <p:spPr>
              <a:xfrm>
                <a:off x="9259572" y="2677390"/>
                <a:ext cx="30821" cy="27813"/>
              </a:xfrm>
              <a:custGeom>
                <a:avLst/>
                <a:gdLst>
                  <a:gd name="connsiteX0" fmla="*/ 31015 w 30821"/>
                  <a:gd name="connsiteY0" fmla="*/ 13959 h 27813"/>
                  <a:gd name="connsiteX1" fmla="*/ 15604 w 30821"/>
                  <a:gd name="connsiteY1" fmla="*/ 27865 h 27813"/>
                  <a:gd name="connsiteX2" fmla="*/ 193 w 30821"/>
                  <a:gd name="connsiteY2" fmla="*/ 13959 h 27813"/>
                  <a:gd name="connsiteX3" fmla="*/ 15604 w 30821"/>
                  <a:gd name="connsiteY3" fmla="*/ 52 h 27813"/>
                  <a:gd name="connsiteX4" fmla="*/ 31015 w 30821"/>
                  <a:gd name="connsiteY4" fmla="*/ 13959 h 27813"/>
                  <a:gd name="connsiteX5" fmla="*/ 31015 w 30821"/>
                  <a:gd name="connsiteY5" fmla="*/ 1395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15" y="13959"/>
                    </a:moveTo>
                    <a:cubicBezTo>
                      <a:pt x="31015" y="21674"/>
                      <a:pt x="24154" y="27865"/>
                      <a:pt x="15604" y="27865"/>
                    </a:cubicBezTo>
                    <a:cubicBezTo>
                      <a:pt x="7054" y="27865"/>
                      <a:pt x="193" y="21674"/>
                      <a:pt x="193" y="13959"/>
                    </a:cubicBezTo>
                    <a:cubicBezTo>
                      <a:pt x="193" y="6243"/>
                      <a:pt x="7054" y="52"/>
                      <a:pt x="15604" y="52"/>
                    </a:cubicBezTo>
                    <a:cubicBezTo>
                      <a:pt x="24154" y="52"/>
                      <a:pt x="31015" y="6243"/>
                      <a:pt x="31015" y="13959"/>
                    </a:cubicBezTo>
                    <a:lnTo>
                      <a:pt x="31015" y="13959"/>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65" name="Freeform: Shape 364">
                <a:extLst>
                  <a:ext uri="{FF2B5EF4-FFF2-40B4-BE49-F238E27FC236}">
                    <a16:creationId xmlns:a16="http://schemas.microsoft.com/office/drawing/2014/main" id="{2A642E7F-654A-1AF5-A9FA-F90DCEC97702}"/>
                  </a:ext>
                </a:extLst>
              </p:cNvPr>
              <p:cNvSpPr/>
              <p:nvPr/>
            </p:nvSpPr>
            <p:spPr>
              <a:xfrm>
                <a:off x="9428456" y="2691297"/>
                <a:ext cx="30821" cy="27813"/>
              </a:xfrm>
              <a:custGeom>
                <a:avLst/>
                <a:gdLst>
                  <a:gd name="connsiteX0" fmla="*/ 31031 w 30821"/>
                  <a:gd name="connsiteY0" fmla="*/ 13960 h 27813"/>
                  <a:gd name="connsiteX1" fmla="*/ 15620 w 30821"/>
                  <a:gd name="connsiteY1" fmla="*/ 27866 h 27813"/>
                  <a:gd name="connsiteX2" fmla="*/ 209 w 30821"/>
                  <a:gd name="connsiteY2" fmla="*/ 13960 h 27813"/>
                  <a:gd name="connsiteX3" fmla="*/ 15620 w 30821"/>
                  <a:gd name="connsiteY3" fmla="*/ 53 h 27813"/>
                  <a:gd name="connsiteX4" fmla="*/ 31031 w 30821"/>
                  <a:gd name="connsiteY4" fmla="*/ 13960 h 27813"/>
                  <a:gd name="connsiteX5" fmla="*/ 31031 w 30821"/>
                  <a:gd name="connsiteY5" fmla="*/ 1396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31" y="13960"/>
                    </a:moveTo>
                    <a:cubicBezTo>
                      <a:pt x="31031" y="21675"/>
                      <a:pt x="24170" y="27866"/>
                      <a:pt x="15620" y="27866"/>
                    </a:cubicBezTo>
                    <a:cubicBezTo>
                      <a:pt x="7070" y="27866"/>
                      <a:pt x="209" y="21675"/>
                      <a:pt x="209" y="13960"/>
                    </a:cubicBezTo>
                    <a:cubicBezTo>
                      <a:pt x="209" y="6245"/>
                      <a:pt x="7070" y="53"/>
                      <a:pt x="15620" y="53"/>
                    </a:cubicBezTo>
                    <a:cubicBezTo>
                      <a:pt x="24170" y="53"/>
                      <a:pt x="31031" y="6245"/>
                      <a:pt x="31031" y="13960"/>
                    </a:cubicBezTo>
                    <a:lnTo>
                      <a:pt x="31031" y="13960"/>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66" name="Freeform: Shape 365">
                <a:extLst>
                  <a:ext uri="{FF2B5EF4-FFF2-40B4-BE49-F238E27FC236}">
                    <a16:creationId xmlns:a16="http://schemas.microsoft.com/office/drawing/2014/main" id="{080C20E0-03CA-A4F5-A8FB-024BE80ABE51}"/>
                  </a:ext>
                </a:extLst>
              </p:cNvPr>
              <p:cNvSpPr/>
              <p:nvPr/>
            </p:nvSpPr>
            <p:spPr>
              <a:xfrm>
                <a:off x="9512898" y="2719872"/>
                <a:ext cx="30821" cy="27813"/>
              </a:xfrm>
              <a:custGeom>
                <a:avLst/>
                <a:gdLst>
                  <a:gd name="connsiteX0" fmla="*/ 31039 w 30821"/>
                  <a:gd name="connsiteY0" fmla="*/ 13963 h 27813"/>
                  <a:gd name="connsiteX1" fmla="*/ 15628 w 30821"/>
                  <a:gd name="connsiteY1" fmla="*/ 27869 h 27813"/>
                  <a:gd name="connsiteX2" fmla="*/ 217 w 30821"/>
                  <a:gd name="connsiteY2" fmla="*/ 13963 h 27813"/>
                  <a:gd name="connsiteX3" fmla="*/ 15628 w 30821"/>
                  <a:gd name="connsiteY3" fmla="*/ 56 h 27813"/>
                  <a:gd name="connsiteX4" fmla="*/ 31039 w 30821"/>
                  <a:gd name="connsiteY4" fmla="*/ 13963 h 27813"/>
                  <a:gd name="connsiteX5" fmla="*/ 31039 w 30821"/>
                  <a:gd name="connsiteY5" fmla="*/ 1396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39" y="13963"/>
                    </a:moveTo>
                    <a:cubicBezTo>
                      <a:pt x="31039" y="21678"/>
                      <a:pt x="24178" y="27869"/>
                      <a:pt x="15628" y="27869"/>
                    </a:cubicBezTo>
                    <a:cubicBezTo>
                      <a:pt x="7078" y="27869"/>
                      <a:pt x="217" y="21678"/>
                      <a:pt x="217" y="13963"/>
                    </a:cubicBezTo>
                    <a:cubicBezTo>
                      <a:pt x="217" y="6248"/>
                      <a:pt x="7078" y="56"/>
                      <a:pt x="15628" y="56"/>
                    </a:cubicBezTo>
                    <a:cubicBezTo>
                      <a:pt x="24178" y="56"/>
                      <a:pt x="31039" y="6248"/>
                      <a:pt x="31039" y="13963"/>
                    </a:cubicBezTo>
                    <a:lnTo>
                      <a:pt x="31039" y="13963"/>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67" name="Freeform: Shape 366">
                <a:extLst>
                  <a:ext uri="{FF2B5EF4-FFF2-40B4-BE49-F238E27FC236}">
                    <a16:creationId xmlns:a16="http://schemas.microsoft.com/office/drawing/2014/main" id="{53EFA325-AF20-9055-21C6-2C5A5256B865}"/>
                  </a:ext>
                </a:extLst>
              </p:cNvPr>
              <p:cNvSpPr/>
              <p:nvPr/>
            </p:nvSpPr>
            <p:spPr>
              <a:xfrm>
                <a:off x="9555119" y="2733778"/>
                <a:ext cx="30821" cy="27813"/>
              </a:xfrm>
              <a:custGeom>
                <a:avLst/>
                <a:gdLst>
                  <a:gd name="connsiteX0" fmla="*/ 31043 w 30821"/>
                  <a:gd name="connsiteY0" fmla="*/ 13964 h 27813"/>
                  <a:gd name="connsiteX1" fmla="*/ 15632 w 30821"/>
                  <a:gd name="connsiteY1" fmla="*/ 27871 h 27813"/>
                  <a:gd name="connsiteX2" fmla="*/ 221 w 30821"/>
                  <a:gd name="connsiteY2" fmla="*/ 13964 h 27813"/>
                  <a:gd name="connsiteX3" fmla="*/ 15632 w 30821"/>
                  <a:gd name="connsiteY3" fmla="*/ 58 h 27813"/>
                  <a:gd name="connsiteX4" fmla="*/ 31043 w 30821"/>
                  <a:gd name="connsiteY4" fmla="*/ 13964 h 27813"/>
                  <a:gd name="connsiteX5" fmla="*/ 31043 w 30821"/>
                  <a:gd name="connsiteY5" fmla="*/ 1396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43" y="13964"/>
                    </a:moveTo>
                    <a:cubicBezTo>
                      <a:pt x="31043" y="21680"/>
                      <a:pt x="24182" y="27871"/>
                      <a:pt x="15632" y="27871"/>
                    </a:cubicBezTo>
                    <a:cubicBezTo>
                      <a:pt x="7082" y="27871"/>
                      <a:pt x="221" y="21680"/>
                      <a:pt x="221" y="13964"/>
                    </a:cubicBezTo>
                    <a:cubicBezTo>
                      <a:pt x="221" y="6249"/>
                      <a:pt x="7082" y="58"/>
                      <a:pt x="15632" y="58"/>
                    </a:cubicBezTo>
                    <a:cubicBezTo>
                      <a:pt x="24182" y="58"/>
                      <a:pt x="31043" y="6249"/>
                      <a:pt x="31043" y="13964"/>
                    </a:cubicBezTo>
                    <a:lnTo>
                      <a:pt x="31043" y="13964"/>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68" name="Freeform: Shape 367">
                <a:extLst>
                  <a:ext uri="{FF2B5EF4-FFF2-40B4-BE49-F238E27FC236}">
                    <a16:creationId xmlns:a16="http://schemas.microsoft.com/office/drawing/2014/main" id="{99AF79CC-1259-4347-7059-8790071FDC06}"/>
                  </a:ext>
                </a:extLst>
              </p:cNvPr>
              <p:cNvSpPr/>
              <p:nvPr/>
            </p:nvSpPr>
            <p:spPr>
              <a:xfrm>
                <a:off x="9755669" y="2771878"/>
                <a:ext cx="30821" cy="27813"/>
              </a:xfrm>
              <a:custGeom>
                <a:avLst/>
                <a:gdLst>
                  <a:gd name="connsiteX0" fmla="*/ 31062 w 30821"/>
                  <a:gd name="connsiteY0" fmla="*/ 13968 h 27813"/>
                  <a:gd name="connsiteX1" fmla="*/ 15651 w 30821"/>
                  <a:gd name="connsiteY1" fmla="*/ 27875 h 27813"/>
                  <a:gd name="connsiteX2" fmla="*/ 240 w 30821"/>
                  <a:gd name="connsiteY2" fmla="*/ 13968 h 27813"/>
                  <a:gd name="connsiteX3" fmla="*/ 15651 w 30821"/>
                  <a:gd name="connsiteY3" fmla="*/ 62 h 27813"/>
                  <a:gd name="connsiteX4" fmla="*/ 31062 w 30821"/>
                  <a:gd name="connsiteY4" fmla="*/ 13968 h 27813"/>
                  <a:gd name="connsiteX5" fmla="*/ 31062 w 30821"/>
                  <a:gd name="connsiteY5" fmla="*/ 1396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62" y="13968"/>
                    </a:moveTo>
                    <a:cubicBezTo>
                      <a:pt x="31062" y="21684"/>
                      <a:pt x="24201" y="27875"/>
                      <a:pt x="15651" y="27875"/>
                    </a:cubicBezTo>
                    <a:cubicBezTo>
                      <a:pt x="7101" y="27875"/>
                      <a:pt x="240" y="21684"/>
                      <a:pt x="240" y="13968"/>
                    </a:cubicBezTo>
                    <a:cubicBezTo>
                      <a:pt x="240" y="6253"/>
                      <a:pt x="7101" y="62"/>
                      <a:pt x="15651" y="62"/>
                    </a:cubicBezTo>
                    <a:cubicBezTo>
                      <a:pt x="24201" y="62"/>
                      <a:pt x="31062" y="6253"/>
                      <a:pt x="31062" y="13968"/>
                    </a:cubicBezTo>
                    <a:lnTo>
                      <a:pt x="31062" y="1396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69" name="Freeform: Shape 368">
                <a:extLst>
                  <a:ext uri="{FF2B5EF4-FFF2-40B4-BE49-F238E27FC236}">
                    <a16:creationId xmlns:a16="http://schemas.microsoft.com/office/drawing/2014/main" id="{E802798F-6A19-1CA3-85FB-064834DB3861}"/>
                  </a:ext>
                </a:extLst>
              </p:cNvPr>
              <p:cNvSpPr/>
              <p:nvPr/>
            </p:nvSpPr>
            <p:spPr>
              <a:xfrm>
                <a:off x="9797890" y="2781403"/>
                <a:ext cx="30821" cy="27813"/>
              </a:xfrm>
              <a:custGeom>
                <a:avLst/>
                <a:gdLst>
                  <a:gd name="connsiteX0" fmla="*/ 31066 w 30821"/>
                  <a:gd name="connsiteY0" fmla="*/ 13969 h 27813"/>
                  <a:gd name="connsiteX1" fmla="*/ 15655 w 30821"/>
                  <a:gd name="connsiteY1" fmla="*/ 27876 h 27813"/>
                  <a:gd name="connsiteX2" fmla="*/ 244 w 30821"/>
                  <a:gd name="connsiteY2" fmla="*/ 13969 h 27813"/>
                  <a:gd name="connsiteX3" fmla="*/ 15655 w 30821"/>
                  <a:gd name="connsiteY3" fmla="*/ 63 h 27813"/>
                  <a:gd name="connsiteX4" fmla="*/ 31066 w 30821"/>
                  <a:gd name="connsiteY4" fmla="*/ 13969 h 27813"/>
                  <a:gd name="connsiteX5" fmla="*/ 31066 w 30821"/>
                  <a:gd name="connsiteY5" fmla="*/ 1396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66" y="13969"/>
                    </a:moveTo>
                    <a:cubicBezTo>
                      <a:pt x="31066" y="21685"/>
                      <a:pt x="24205" y="27876"/>
                      <a:pt x="15655" y="27876"/>
                    </a:cubicBezTo>
                    <a:cubicBezTo>
                      <a:pt x="7105" y="27876"/>
                      <a:pt x="244" y="21685"/>
                      <a:pt x="244" y="13969"/>
                    </a:cubicBezTo>
                    <a:cubicBezTo>
                      <a:pt x="244" y="6254"/>
                      <a:pt x="7105" y="63"/>
                      <a:pt x="15655" y="63"/>
                    </a:cubicBezTo>
                    <a:cubicBezTo>
                      <a:pt x="24205" y="63"/>
                      <a:pt x="31066" y="6254"/>
                      <a:pt x="31066" y="13969"/>
                    </a:cubicBezTo>
                    <a:lnTo>
                      <a:pt x="31066" y="13969"/>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70" name="Freeform: Shape 369">
                <a:extLst>
                  <a:ext uri="{FF2B5EF4-FFF2-40B4-BE49-F238E27FC236}">
                    <a16:creationId xmlns:a16="http://schemas.microsoft.com/office/drawing/2014/main" id="{EFE7D037-6ABC-57CB-9A2C-079679C3E1E7}"/>
                  </a:ext>
                </a:extLst>
              </p:cNvPr>
              <p:cNvSpPr/>
              <p:nvPr/>
            </p:nvSpPr>
            <p:spPr>
              <a:xfrm>
                <a:off x="9861222" y="2795310"/>
                <a:ext cx="30821" cy="27813"/>
              </a:xfrm>
              <a:custGeom>
                <a:avLst/>
                <a:gdLst>
                  <a:gd name="connsiteX0" fmla="*/ 31072 w 30821"/>
                  <a:gd name="connsiteY0" fmla="*/ 13971 h 27813"/>
                  <a:gd name="connsiteX1" fmla="*/ 15661 w 30821"/>
                  <a:gd name="connsiteY1" fmla="*/ 27877 h 27813"/>
                  <a:gd name="connsiteX2" fmla="*/ 250 w 30821"/>
                  <a:gd name="connsiteY2" fmla="*/ 13971 h 27813"/>
                  <a:gd name="connsiteX3" fmla="*/ 15661 w 30821"/>
                  <a:gd name="connsiteY3" fmla="*/ 64 h 27813"/>
                  <a:gd name="connsiteX4" fmla="*/ 31072 w 30821"/>
                  <a:gd name="connsiteY4" fmla="*/ 13971 h 27813"/>
                  <a:gd name="connsiteX5" fmla="*/ 31072 w 30821"/>
                  <a:gd name="connsiteY5" fmla="*/ 1397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72" y="13971"/>
                    </a:moveTo>
                    <a:cubicBezTo>
                      <a:pt x="31072" y="21686"/>
                      <a:pt x="24211" y="27877"/>
                      <a:pt x="15661" y="27877"/>
                    </a:cubicBezTo>
                    <a:cubicBezTo>
                      <a:pt x="7111" y="27877"/>
                      <a:pt x="250" y="21686"/>
                      <a:pt x="250" y="13971"/>
                    </a:cubicBezTo>
                    <a:cubicBezTo>
                      <a:pt x="250" y="6256"/>
                      <a:pt x="7111" y="64"/>
                      <a:pt x="15661" y="64"/>
                    </a:cubicBezTo>
                    <a:cubicBezTo>
                      <a:pt x="24211" y="64"/>
                      <a:pt x="31072" y="6256"/>
                      <a:pt x="31072" y="13971"/>
                    </a:cubicBezTo>
                    <a:lnTo>
                      <a:pt x="31072" y="1397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71" name="Freeform: Shape 370">
                <a:extLst>
                  <a:ext uri="{FF2B5EF4-FFF2-40B4-BE49-F238E27FC236}">
                    <a16:creationId xmlns:a16="http://schemas.microsoft.com/office/drawing/2014/main" id="{5D1D449A-9D56-2BB7-CF6D-FF6019BE9AF2}"/>
                  </a:ext>
                </a:extLst>
              </p:cNvPr>
              <p:cNvSpPr/>
              <p:nvPr/>
            </p:nvSpPr>
            <p:spPr>
              <a:xfrm>
                <a:off x="9987990" y="2823885"/>
                <a:ext cx="30821" cy="27813"/>
              </a:xfrm>
              <a:custGeom>
                <a:avLst/>
                <a:gdLst>
                  <a:gd name="connsiteX0" fmla="*/ 31084 w 30821"/>
                  <a:gd name="connsiteY0" fmla="*/ 13974 h 27813"/>
                  <a:gd name="connsiteX1" fmla="*/ 15673 w 30821"/>
                  <a:gd name="connsiteY1" fmla="*/ 27880 h 27813"/>
                  <a:gd name="connsiteX2" fmla="*/ 262 w 30821"/>
                  <a:gd name="connsiteY2" fmla="*/ 13974 h 27813"/>
                  <a:gd name="connsiteX3" fmla="*/ 15673 w 30821"/>
                  <a:gd name="connsiteY3" fmla="*/ 67 h 27813"/>
                  <a:gd name="connsiteX4" fmla="*/ 31084 w 30821"/>
                  <a:gd name="connsiteY4" fmla="*/ 13974 h 27813"/>
                  <a:gd name="connsiteX5" fmla="*/ 31084 w 30821"/>
                  <a:gd name="connsiteY5" fmla="*/ 1397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84" y="13974"/>
                    </a:moveTo>
                    <a:cubicBezTo>
                      <a:pt x="31084" y="21689"/>
                      <a:pt x="24223" y="27880"/>
                      <a:pt x="15673" y="27880"/>
                    </a:cubicBezTo>
                    <a:cubicBezTo>
                      <a:pt x="7123" y="27880"/>
                      <a:pt x="262" y="21689"/>
                      <a:pt x="262" y="13974"/>
                    </a:cubicBezTo>
                    <a:cubicBezTo>
                      <a:pt x="262" y="6259"/>
                      <a:pt x="7123" y="67"/>
                      <a:pt x="15673" y="67"/>
                    </a:cubicBezTo>
                    <a:cubicBezTo>
                      <a:pt x="24223" y="67"/>
                      <a:pt x="31084" y="6259"/>
                      <a:pt x="31084" y="13974"/>
                    </a:cubicBezTo>
                    <a:lnTo>
                      <a:pt x="31084" y="13974"/>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72" name="Freeform: Shape 371">
                <a:extLst>
                  <a:ext uri="{FF2B5EF4-FFF2-40B4-BE49-F238E27FC236}">
                    <a16:creationId xmlns:a16="http://schemas.microsoft.com/office/drawing/2014/main" id="{DE20EF6B-4C61-E894-5CD2-243830CAEEF9}"/>
                  </a:ext>
                </a:extLst>
              </p:cNvPr>
              <p:cNvSpPr/>
              <p:nvPr/>
            </p:nvSpPr>
            <p:spPr>
              <a:xfrm>
                <a:off x="10104098" y="2833410"/>
                <a:ext cx="30821" cy="27813"/>
              </a:xfrm>
              <a:custGeom>
                <a:avLst/>
                <a:gdLst>
                  <a:gd name="connsiteX0" fmla="*/ 31095 w 30821"/>
                  <a:gd name="connsiteY0" fmla="*/ 13975 h 27813"/>
                  <a:gd name="connsiteX1" fmla="*/ 15684 w 30821"/>
                  <a:gd name="connsiteY1" fmla="*/ 27881 h 27813"/>
                  <a:gd name="connsiteX2" fmla="*/ 273 w 30821"/>
                  <a:gd name="connsiteY2" fmla="*/ 13975 h 27813"/>
                  <a:gd name="connsiteX3" fmla="*/ 15684 w 30821"/>
                  <a:gd name="connsiteY3" fmla="*/ 68 h 27813"/>
                  <a:gd name="connsiteX4" fmla="*/ 31095 w 30821"/>
                  <a:gd name="connsiteY4" fmla="*/ 13975 h 27813"/>
                  <a:gd name="connsiteX5" fmla="*/ 31095 w 30821"/>
                  <a:gd name="connsiteY5" fmla="*/ 13975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95" y="13975"/>
                    </a:moveTo>
                    <a:cubicBezTo>
                      <a:pt x="31095" y="21690"/>
                      <a:pt x="24234" y="27881"/>
                      <a:pt x="15684" y="27881"/>
                    </a:cubicBezTo>
                    <a:cubicBezTo>
                      <a:pt x="7134" y="27881"/>
                      <a:pt x="273" y="21690"/>
                      <a:pt x="273" y="13975"/>
                    </a:cubicBezTo>
                    <a:cubicBezTo>
                      <a:pt x="273" y="6260"/>
                      <a:pt x="7134" y="68"/>
                      <a:pt x="15684" y="68"/>
                    </a:cubicBezTo>
                    <a:cubicBezTo>
                      <a:pt x="24234" y="68"/>
                      <a:pt x="31095" y="6260"/>
                      <a:pt x="31095" y="13975"/>
                    </a:cubicBezTo>
                    <a:lnTo>
                      <a:pt x="31095" y="13975"/>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73" name="Freeform: Shape 372">
                <a:extLst>
                  <a:ext uri="{FF2B5EF4-FFF2-40B4-BE49-F238E27FC236}">
                    <a16:creationId xmlns:a16="http://schemas.microsoft.com/office/drawing/2014/main" id="{3CD6A723-834D-AA36-5DE7-D4ED955E5D51}"/>
                  </a:ext>
                </a:extLst>
              </p:cNvPr>
              <p:cNvSpPr/>
              <p:nvPr/>
            </p:nvSpPr>
            <p:spPr>
              <a:xfrm>
                <a:off x="10135764" y="2842935"/>
                <a:ext cx="30821" cy="27813"/>
              </a:xfrm>
              <a:custGeom>
                <a:avLst/>
                <a:gdLst>
                  <a:gd name="connsiteX0" fmla="*/ 31098 w 30821"/>
                  <a:gd name="connsiteY0" fmla="*/ 13976 h 27813"/>
                  <a:gd name="connsiteX1" fmla="*/ 15687 w 30821"/>
                  <a:gd name="connsiteY1" fmla="*/ 27882 h 27813"/>
                  <a:gd name="connsiteX2" fmla="*/ 276 w 30821"/>
                  <a:gd name="connsiteY2" fmla="*/ 13976 h 27813"/>
                  <a:gd name="connsiteX3" fmla="*/ 15687 w 30821"/>
                  <a:gd name="connsiteY3" fmla="*/ 69 h 27813"/>
                  <a:gd name="connsiteX4" fmla="*/ 31098 w 30821"/>
                  <a:gd name="connsiteY4" fmla="*/ 13976 h 27813"/>
                  <a:gd name="connsiteX5" fmla="*/ 31098 w 30821"/>
                  <a:gd name="connsiteY5" fmla="*/ 13976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98" y="13976"/>
                    </a:moveTo>
                    <a:cubicBezTo>
                      <a:pt x="31098" y="21691"/>
                      <a:pt x="24237" y="27882"/>
                      <a:pt x="15687" y="27882"/>
                    </a:cubicBezTo>
                    <a:cubicBezTo>
                      <a:pt x="7137" y="27882"/>
                      <a:pt x="276" y="21691"/>
                      <a:pt x="276" y="13976"/>
                    </a:cubicBezTo>
                    <a:cubicBezTo>
                      <a:pt x="276" y="6261"/>
                      <a:pt x="7137" y="69"/>
                      <a:pt x="15687" y="69"/>
                    </a:cubicBezTo>
                    <a:cubicBezTo>
                      <a:pt x="24237" y="69"/>
                      <a:pt x="31098" y="6261"/>
                      <a:pt x="31098" y="13976"/>
                    </a:cubicBezTo>
                    <a:lnTo>
                      <a:pt x="31098" y="13976"/>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74" name="Freeform: Shape 373">
                <a:extLst>
                  <a:ext uri="{FF2B5EF4-FFF2-40B4-BE49-F238E27FC236}">
                    <a16:creationId xmlns:a16="http://schemas.microsoft.com/office/drawing/2014/main" id="{5E26E65E-3425-E605-94B5-DEAE9E3F392F}"/>
                  </a:ext>
                </a:extLst>
              </p:cNvPr>
              <p:cNvSpPr/>
              <p:nvPr/>
            </p:nvSpPr>
            <p:spPr>
              <a:xfrm>
                <a:off x="10167430" y="2842935"/>
                <a:ext cx="30821" cy="27813"/>
              </a:xfrm>
              <a:custGeom>
                <a:avLst/>
                <a:gdLst>
                  <a:gd name="connsiteX0" fmla="*/ 31101 w 30821"/>
                  <a:gd name="connsiteY0" fmla="*/ 13976 h 27813"/>
                  <a:gd name="connsiteX1" fmla="*/ 15690 w 30821"/>
                  <a:gd name="connsiteY1" fmla="*/ 27882 h 27813"/>
                  <a:gd name="connsiteX2" fmla="*/ 279 w 30821"/>
                  <a:gd name="connsiteY2" fmla="*/ 13976 h 27813"/>
                  <a:gd name="connsiteX3" fmla="*/ 15690 w 30821"/>
                  <a:gd name="connsiteY3" fmla="*/ 69 h 27813"/>
                  <a:gd name="connsiteX4" fmla="*/ 31101 w 30821"/>
                  <a:gd name="connsiteY4" fmla="*/ 13976 h 27813"/>
                  <a:gd name="connsiteX5" fmla="*/ 31101 w 30821"/>
                  <a:gd name="connsiteY5" fmla="*/ 13976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01" y="13976"/>
                    </a:moveTo>
                    <a:cubicBezTo>
                      <a:pt x="31101" y="21691"/>
                      <a:pt x="24240" y="27882"/>
                      <a:pt x="15690" y="27882"/>
                    </a:cubicBezTo>
                    <a:cubicBezTo>
                      <a:pt x="7140" y="27882"/>
                      <a:pt x="279" y="21691"/>
                      <a:pt x="279" y="13976"/>
                    </a:cubicBezTo>
                    <a:cubicBezTo>
                      <a:pt x="279" y="6261"/>
                      <a:pt x="7140" y="69"/>
                      <a:pt x="15690" y="69"/>
                    </a:cubicBezTo>
                    <a:cubicBezTo>
                      <a:pt x="24240" y="69"/>
                      <a:pt x="31101" y="6261"/>
                      <a:pt x="31101" y="13976"/>
                    </a:cubicBezTo>
                    <a:lnTo>
                      <a:pt x="31101" y="13976"/>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75" name="Freeform: Shape 374">
                <a:extLst>
                  <a:ext uri="{FF2B5EF4-FFF2-40B4-BE49-F238E27FC236}">
                    <a16:creationId xmlns:a16="http://schemas.microsoft.com/office/drawing/2014/main" id="{D1B17D76-E45A-A185-6BEC-8C0D88A6C358}"/>
                  </a:ext>
                </a:extLst>
              </p:cNvPr>
              <p:cNvSpPr/>
              <p:nvPr/>
            </p:nvSpPr>
            <p:spPr>
              <a:xfrm>
                <a:off x="10209651" y="2842935"/>
                <a:ext cx="30821" cy="27813"/>
              </a:xfrm>
              <a:custGeom>
                <a:avLst/>
                <a:gdLst>
                  <a:gd name="connsiteX0" fmla="*/ 31105 w 30821"/>
                  <a:gd name="connsiteY0" fmla="*/ 13976 h 27813"/>
                  <a:gd name="connsiteX1" fmla="*/ 15694 w 30821"/>
                  <a:gd name="connsiteY1" fmla="*/ 27882 h 27813"/>
                  <a:gd name="connsiteX2" fmla="*/ 283 w 30821"/>
                  <a:gd name="connsiteY2" fmla="*/ 13976 h 27813"/>
                  <a:gd name="connsiteX3" fmla="*/ 15694 w 30821"/>
                  <a:gd name="connsiteY3" fmla="*/ 69 h 27813"/>
                  <a:gd name="connsiteX4" fmla="*/ 31105 w 30821"/>
                  <a:gd name="connsiteY4" fmla="*/ 13976 h 27813"/>
                  <a:gd name="connsiteX5" fmla="*/ 31105 w 30821"/>
                  <a:gd name="connsiteY5" fmla="*/ 13976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05" y="13976"/>
                    </a:moveTo>
                    <a:cubicBezTo>
                      <a:pt x="31105" y="21691"/>
                      <a:pt x="24244" y="27882"/>
                      <a:pt x="15694" y="27882"/>
                    </a:cubicBezTo>
                    <a:cubicBezTo>
                      <a:pt x="7144" y="27882"/>
                      <a:pt x="283" y="21691"/>
                      <a:pt x="283" y="13976"/>
                    </a:cubicBezTo>
                    <a:cubicBezTo>
                      <a:pt x="283" y="6261"/>
                      <a:pt x="7144" y="69"/>
                      <a:pt x="15694" y="69"/>
                    </a:cubicBezTo>
                    <a:cubicBezTo>
                      <a:pt x="24244" y="69"/>
                      <a:pt x="31105" y="6261"/>
                      <a:pt x="31105" y="13976"/>
                    </a:cubicBezTo>
                    <a:lnTo>
                      <a:pt x="31105" y="13976"/>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76" name="Freeform: Shape 375">
                <a:extLst>
                  <a:ext uri="{FF2B5EF4-FFF2-40B4-BE49-F238E27FC236}">
                    <a16:creationId xmlns:a16="http://schemas.microsoft.com/office/drawing/2014/main" id="{77453D03-FB3F-4C61-19BA-5E154344B7DB}"/>
                  </a:ext>
                </a:extLst>
              </p:cNvPr>
              <p:cNvSpPr/>
              <p:nvPr/>
            </p:nvSpPr>
            <p:spPr>
              <a:xfrm>
                <a:off x="10241316" y="2852460"/>
                <a:ext cx="30821" cy="27813"/>
              </a:xfrm>
              <a:custGeom>
                <a:avLst/>
                <a:gdLst>
                  <a:gd name="connsiteX0" fmla="*/ 31108 w 30821"/>
                  <a:gd name="connsiteY0" fmla="*/ 13977 h 27813"/>
                  <a:gd name="connsiteX1" fmla="*/ 15697 w 30821"/>
                  <a:gd name="connsiteY1" fmla="*/ 27883 h 27813"/>
                  <a:gd name="connsiteX2" fmla="*/ 286 w 30821"/>
                  <a:gd name="connsiteY2" fmla="*/ 13977 h 27813"/>
                  <a:gd name="connsiteX3" fmla="*/ 15697 w 30821"/>
                  <a:gd name="connsiteY3" fmla="*/ 70 h 27813"/>
                  <a:gd name="connsiteX4" fmla="*/ 31108 w 30821"/>
                  <a:gd name="connsiteY4" fmla="*/ 13977 h 27813"/>
                  <a:gd name="connsiteX5" fmla="*/ 31108 w 30821"/>
                  <a:gd name="connsiteY5" fmla="*/ 1397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08" y="13977"/>
                    </a:moveTo>
                    <a:cubicBezTo>
                      <a:pt x="31108" y="21692"/>
                      <a:pt x="24247" y="27883"/>
                      <a:pt x="15697" y="27883"/>
                    </a:cubicBezTo>
                    <a:cubicBezTo>
                      <a:pt x="7147" y="27883"/>
                      <a:pt x="286" y="21692"/>
                      <a:pt x="286" y="13977"/>
                    </a:cubicBezTo>
                    <a:cubicBezTo>
                      <a:pt x="286" y="6262"/>
                      <a:pt x="7147" y="70"/>
                      <a:pt x="15697" y="70"/>
                    </a:cubicBezTo>
                    <a:cubicBezTo>
                      <a:pt x="24247" y="70"/>
                      <a:pt x="31108" y="6262"/>
                      <a:pt x="31108" y="13977"/>
                    </a:cubicBezTo>
                    <a:lnTo>
                      <a:pt x="31108" y="1397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77" name="Freeform: Shape 376">
                <a:extLst>
                  <a:ext uri="{FF2B5EF4-FFF2-40B4-BE49-F238E27FC236}">
                    <a16:creationId xmlns:a16="http://schemas.microsoft.com/office/drawing/2014/main" id="{31A97E04-CDE7-47EB-40AE-24D26C5D5E3B}"/>
                  </a:ext>
                </a:extLst>
              </p:cNvPr>
              <p:cNvSpPr/>
              <p:nvPr/>
            </p:nvSpPr>
            <p:spPr>
              <a:xfrm>
                <a:off x="10283537" y="2852460"/>
                <a:ext cx="30821" cy="27813"/>
              </a:xfrm>
              <a:custGeom>
                <a:avLst/>
                <a:gdLst>
                  <a:gd name="connsiteX0" fmla="*/ 31112 w 30821"/>
                  <a:gd name="connsiteY0" fmla="*/ 13977 h 27813"/>
                  <a:gd name="connsiteX1" fmla="*/ 15701 w 30821"/>
                  <a:gd name="connsiteY1" fmla="*/ 27883 h 27813"/>
                  <a:gd name="connsiteX2" fmla="*/ 290 w 30821"/>
                  <a:gd name="connsiteY2" fmla="*/ 13977 h 27813"/>
                  <a:gd name="connsiteX3" fmla="*/ 15701 w 30821"/>
                  <a:gd name="connsiteY3" fmla="*/ 70 h 27813"/>
                  <a:gd name="connsiteX4" fmla="*/ 31112 w 30821"/>
                  <a:gd name="connsiteY4" fmla="*/ 13977 h 27813"/>
                  <a:gd name="connsiteX5" fmla="*/ 31112 w 30821"/>
                  <a:gd name="connsiteY5" fmla="*/ 1397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12" y="13977"/>
                    </a:moveTo>
                    <a:cubicBezTo>
                      <a:pt x="31112" y="21692"/>
                      <a:pt x="24251" y="27883"/>
                      <a:pt x="15701" y="27883"/>
                    </a:cubicBezTo>
                    <a:cubicBezTo>
                      <a:pt x="7151" y="27883"/>
                      <a:pt x="290" y="21692"/>
                      <a:pt x="290" y="13977"/>
                    </a:cubicBezTo>
                    <a:cubicBezTo>
                      <a:pt x="290" y="6262"/>
                      <a:pt x="7151" y="70"/>
                      <a:pt x="15701" y="70"/>
                    </a:cubicBezTo>
                    <a:cubicBezTo>
                      <a:pt x="24251" y="70"/>
                      <a:pt x="31112" y="6262"/>
                      <a:pt x="31112" y="13977"/>
                    </a:cubicBezTo>
                    <a:lnTo>
                      <a:pt x="31112" y="1397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78" name="Freeform: Shape 377">
                <a:extLst>
                  <a:ext uri="{FF2B5EF4-FFF2-40B4-BE49-F238E27FC236}">
                    <a16:creationId xmlns:a16="http://schemas.microsoft.com/office/drawing/2014/main" id="{E4B8320A-DA32-13DB-A43A-AD0D6D892758}"/>
                  </a:ext>
                </a:extLst>
              </p:cNvPr>
              <p:cNvSpPr/>
              <p:nvPr/>
            </p:nvSpPr>
            <p:spPr>
              <a:xfrm>
                <a:off x="10325759" y="2852460"/>
                <a:ext cx="30821" cy="27813"/>
              </a:xfrm>
              <a:custGeom>
                <a:avLst/>
                <a:gdLst>
                  <a:gd name="connsiteX0" fmla="*/ 31116 w 30821"/>
                  <a:gd name="connsiteY0" fmla="*/ 13977 h 27813"/>
                  <a:gd name="connsiteX1" fmla="*/ 15705 w 30821"/>
                  <a:gd name="connsiteY1" fmla="*/ 27883 h 27813"/>
                  <a:gd name="connsiteX2" fmla="*/ 294 w 30821"/>
                  <a:gd name="connsiteY2" fmla="*/ 13977 h 27813"/>
                  <a:gd name="connsiteX3" fmla="*/ 15705 w 30821"/>
                  <a:gd name="connsiteY3" fmla="*/ 70 h 27813"/>
                  <a:gd name="connsiteX4" fmla="*/ 31116 w 30821"/>
                  <a:gd name="connsiteY4" fmla="*/ 13977 h 27813"/>
                  <a:gd name="connsiteX5" fmla="*/ 31116 w 30821"/>
                  <a:gd name="connsiteY5" fmla="*/ 1397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16" y="13977"/>
                    </a:moveTo>
                    <a:cubicBezTo>
                      <a:pt x="31116" y="21692"/>
                      <a:pt x="24255" y="27883"/>
                      <a:pt x="15705" y="27883"/>
                    </a:cubicBezTo>
                    <a:cubicBezTo>
                      <a:pt x="7155" y="27883"/>
                      <a:pt x="294" y="21692"/>
                      <a:pt x="294" y="13977"/>
                    </a:cubicBezTo>
                    <a:cubicBezTo>
                      <a:pt x="294" y="6262"/>
                      <a:pt x="7155" y="70"/>
                      <a:pt x="15705" y="70"/>
                    </a:cubicBezTo>
                    <a:cubicBezTo>
                      <a:pt x="24255" y="70"/>
                      <a:pt x="31116" y="6262"/>
                      <a:pt x="31116" y="13977"/>
                    </a:cubicBezTo>
                    <a:lnTo>
                      <a:pt x="31116" y="1397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79" name="Freeform: Shape 378">
                <a:extLst>
                  <a:ext uri="{FF2B5EF4-FFF2-40B4-BE49-F238E27FC236}">
                    <a16:creationId xmlns:a16="http://schemas.microsoft.com/office/drawing/2014/main" id="{A785DB93-7AAF-A026-E5FB-4A995FA93E59}"/>
                  </a:ext>
                </a:extLst>
              </p:cNvPr>
              <p:cNvSpPr/>
              <p:nvPr/>
            </p:nvSpPr>
            <p:spPr>
              <a:xfrm>
                <a:off x="10357424" y="2852460"/>
                <a:ext cx="30821" cy="27813"/>
              </a:xfrm>
              <a:custGeom>
                <a:avLst/>
                <a:gdLst>
                  <a:gd name="connsiteX0" fmla="*/ 31119 w 30821"/>
                  <a:gd name="connsiteY0" fmla="*/ 13977 h 27813"/>
                  <a:gd name="connsiteX1" fmla="*/ 15708 w 30821"/>
                  <a:gd name="connsiteY1" fmla="*/ 27883 h 27813"/>
                  <a:gd name="connsiteX2" fmla="*/ 297 w 30821"/>
                  <a:gd name="connsiteY2" fmla="*/ 13977 h 27813"/>
                  <a:gd name="connsiteX3" fmla="*/ 15708 w 30821"/>
                  <a:gd name="connsiteY3" fmla="*/ 70 h 27813"/>
                  <a:gd name="connsiteX4" fmla="*/ 31119 w 30821"/>
                  <a:gd name="connsiteY4" fmla="*/ 13977 h 27813"/>
                  <a:gd name="connsiteX5" fmla="*/ 31119 w 30821"/>
                  <a:gd name="connsiteY5" fmla="*/ 1397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19" y="13977"/>
                    </a:moveTo>
                    <a:cubicBezTo>
                      <a:pt x="31119" y="21692"/>
                      <a:pt x="24258" y="27883"/>
                      <a:pt x="15708" y="27883"/>
                    </a:cubicBezTo>
                    <a:cubicBezTo>
                      <a:pt x="7158" y="27883"/>
                      <a:pt x="297" y="21692"/>
                      <a:pt x="297" y="13977"/>
                    </a:cubicBezTo>
                    <a:cubicBezTo>
                      <a:pt x="297" y="6262"/>
                      <a:pt x="7158" y="70"/>
                      <a:pt x="15708" y="70"/>
                    </a:cubicBezTo>
                    <a:cubicBezTo>
                      <a:pt x="24258" y="70"/>
                      <a:pt x="31119" y="6262"/>
                      <a:pt x="31119" y="13977"/>
                    </a:cubicBezTo>
                    <a:lnTo>
                      <a:pt x="31119" y="1397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80" name="Freeform: Shape 379">
                <a:extLst>
                  <a:ext uri="{FF2B5EF4-FFF2-40B4-BE49-F238E27FC236}">
                    <a16:creationId xmlns:a16="http://schemas.microsoft.com/office/drawing/2014/main" id="{77349BF9-1162-6F74-1AE5-D3E974308691}"/>
                  </a:ext>
                </a:extLst>
              </p:cNvPr>
              <p:cNvSpPr/>
              <p:nvPr/>
            </p:nvSpPr>
            <p:spPr>
              <a:xfrm>
                <a:off x="10389090" y="2852460"/>
                <a:ext cx="30821" cy="27813"/>
              </a:xfrm>
              <a:custGeom>
                <a:avLst/>
                <a:gdLst>
                  <a:gd name="connsiteX0" fmla="*/ 31122 w 30821"/>
                  <a:gd name="connsiteY0" fmla="*/ 13977 h 27813"/>
                  <a:gd name="connsiteX1" fmla="*/ 15711 w 30821"/>
                  <a:gd name="connsiteY1" fmla="*/ 27883 h 27813"/>
                  <a:gd name="connsiteX2" fmla="*/ 300 w 30821"/>
                  <a:gd name="connsiteY2" fmla="*/ 13977 h 27813"/>
                  <a:gd name="connsiteX3" fmla="*/ 15711 w 30821"/>
                  <a:gd name="connsiteY3" fmla="*/ 70 h 27813"/>
                  <a:gd name="connsiteX4" fmla="*/ 31122 w 30821"/>
                  <a:gd name="connsiteY4" fmla="*/ 13977 h 27813"/>
                  <a:gd name="connsiteX5" fmla="*/ 31122 w 30821"/>
                  <a:gd name="connsiteY5" fmla="*/ 1397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22" y="13977"/>
                    </a:moveTo>
                    <a:cubicBezTo>
                      <a:pt x="31122" y="21692"/>
                      <a:pt x="24261" y="27883"/>
                      <a:pt x="15711" y="27883"/>
                    </a:cubicBezTo>
                    <a:cubicBezTo>
                      <a:pt x="7161" y="27883"/>
                      <a:pt x="300" y="21692"/>
                      <a:pt x="300" y="13977"/>
                    </a:cubicBezTo>
                    <a:cubicBezTo>
                      <a:pt x="300" y="6262"/>
                      <a:pt x="7161" y="70"/>
                      <a:pt x="15711" y="70"/>
                    </a:cubicBezTo>
                    <a:cubicBezTo>
                      <a:pt x="24261" y="70"/>
                      <a:pt x="31122" y="6262"/>
                      <a:pt x="31122" y="13977"/>
                    </a:cubicBezTo>
                    <a:lnTo>
                      <a:pt x="31122" y="1397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81" name="Freeform: Shape 380">
                <a:extLst>
                  <a:ext uri="{FF2B5EF4-FFF2-40B4-BE49-F238E27FC236}">
                    <a16:creationId xmlns:a16="http://schemas.microsoft.com/office/drawing/2014/main" id="{A2D20E48-B9E5-C075-4225-14C542D3F0C4}"/>
                  </a:ext>
                </a:extLst>
              </p:cNvPr>
              <p:cNvSpPr/>
              <p:nvPr/>
            </p:nvSpPr>
            <p:spPr>
              <a:xfrm>
                <a:off x="10420756" y="2861985"/>
                <a:ext cx="30821" cy="27813"/>
              </a:xfrm>
              <a:custGeom>
                <a:avLst/>
                <a:gdLst>
                  <a:gd name="connsiteX0" fmla="*/ 31125 w 30821"/>
                  <a:gd name="connsiteY0" fmla="*/ 13978 h 27813"/>
                  <a:gd name="connsiteX1" fmla="*/ 15714 w 30821"/>
                  <a:gd name="connsiteY1" fmla="*/ 27884 h 27813"/>
                  <a:gd name="connsiteX2" fmla="*/ 303 w 30821"/>
                  <a:gd name="connsiteY2" fmla="*/ 13978 h 27813"/>
                  <a:gd name="connsiteX3" fmla="*/ 15714 w 30821"/>
                  <a:gd name="connsiteY3" fmla="*/ 71 h 27813"/>
                  <a:gd name="connsiteX4" fmla="*/ 31125 w 30821"/>
                  <a:gd name="connsiteY4" fmla="*/ 13978 h 27813"/>
                  <a:gd name="connsiteX5" fmla="*/ 31125 w 30821"/>
                  <a:gd name="connsiteY5" fmla="*/ 139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25" y="13978"/>
                    </a:moveTo>
                    <a:cubicBezTo>
                      <a:pt x="31125" y="21693"/>
                      <a:pt x="24264" y="27884"/>
                      <a:pt x="15714" y="27884"/>
                    </a:cubicBezTo>
                    <a:cubicBezTo>
                      <a:pt x="7164" y="27884"/>
                      <a:pt x="303" y="21693"/>
                      <a:pt x="303" y="13978"/>
                    </a:cubicBezTo>
                    <a:cubicBezTo>
                      <a:pt x="303" y="6263"/>
                      <a:pt x="7164" y="71"/>
                      <a:pt x="15714" y="71"/>
                    </a:cubicBezTo>
                    <a:cubicBezTo>
                      <a:pt x="24264" y="71"/>
                      <a:pt x="31125" y="6263"/>
                      <a:pt x="31125" y="13978"/>
                    </a:cubicBezTo>
                    <a:lnTo>
                      <a:pt x="31125" y="1397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82" name="Freeform: Shape 381">
                <a:extLst>
                  <a:ext uri="{FF2B5EF4-FFF2-40B4-BE49-F238E27FC236}">
                    <a16:creationId xmlns:a16="http://schemas.microsoft.com/office/drawing/2014/main" id="{601C53A5-0210-A4AC-A145-F73BF606DDE1}"/>
                  </a:ext>
                </a:extLst>
              </p:cNvPr>
              <p:cNvSpPr/>
              <p:nvPr/>
            </p:nvSpPr>
            <p:spPr>
              <a:xfrm>
                <a:off x="10452422" y="2861985"/>
                <a:ext cx="30821" cy="27813"/>
              </a:xfrm>
              <a:custGeom>
                <a:avLst/>
                <a:gdLst>
                  <a:gd name="connsiteX0" fmla="*/ 31128 w 30821"/>
                  <a:gd name="connsiteY0" fmla="*/ 13978 h 27813"/>
                  <a:gd name="connsiteX1" fmla="*/ 15717 w 30821"/>
                  <a:gd name="connsiteY1" fmla="*/ 27884 h 27813"/>
                  <a:gd name="connsiteX2" fmla="*/ 306 w 30821"/>
                  <a:gd name="connsiteY2" fmla="*/ 13978 h 27813"/>
                  <a:gd name="connsiteX3" fmla="*/ 15717 w 30821"/>
                  <a:gd name="connsiteY3" fmla="*/ 71 h 27813"/>
                  <a:gd name="connsiteX4" fmla="*/ 31128 w 30821"/>
                  <a:gd name="connsiteY4" fmla="*/ 13978 h 27813"/>
                  <a:gd name="connsiteX5" fmla="*/ 31128 w 30821"/>
                  <a:gd name="connsiteY5" fmla="*/ 1397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28" y="13978"/>
                    </a:moveTo>
                    <a:cubicBezTo>
                      <a:pt x="31128" y="21693"/>
                      <a:pt x="24267" y="27884"/>
                      <a:pt x="15717" y="27884"/>
                    </a:cubicBezTo>
                    <a:cubicBezTo>
                      <a:pt x="7167" y="27884"/>
                      <a:pt x="306" y="21693"/>
                      <a:pt x="306" y="13978"/>
                    </a:cubicBezTo>
                    <a:cubicBezTo>
                      <a:pt x="306" y="6263"/>
                      <a:pt x="7167" y="71"/>
                      <a:pt x="15717" y="71"/>
                    </a:cubicBezTo>
                    <a:cubicBezTo>
                      <a:pt x="24267" y="71"/>
                      <a:pt x="31128" y="6263"/>
                      <a:pt x="31128" y="13978"/>
                    </a:cubicBezTo>
                    <a:lnTo>
                      <a:pt x="31128" y="13978"/>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83" name="Freeform: Shape 382">
                <a:extLst>
                  <a:ext uri="{FF2B5EF4-FFF2-40B4-BE49-F238E27FC236}">
                    <a16:creationId xmlns:a16="http://schemas.microsoft.com/office/drawing/2014/main" id="{C079D85C-8D4B-68BF-15F6-01F5A3D6071C}"/>
                  </a:ext>
                </a:extLst>
              </p:cNvPr>
              <p:cNvSpPr/>
              <p:nvPr/>
            </p:nvSpPr>
            <p:spPr>
              <a:xfrm>
                <a:off x="10473532" y="2871510"/>
                <a:ext cx="30821" cy="27813"/>
              </a:xfrm>
              <a:custGeom>
                <a:avLst/>
                <a:gdLst>
                  <a:gd name="connsiteX0" fmla="*/ 31130 w 30821"/>
                  <a:gd name="connsiteY0" fmla="*/ 13979 h 27813"/>
                  <a:gd name="connsiteX1" fmla="*/ 15719 w 30821"/>
                  <a:gd name="connsiteY1" fmla="*/ 27885 h 27813"/>
                  <a:gd name="connsiteX2" fmla="*/ 308 w 30821"/>
                  <a:gd name="connsiteY2" fmla="*/ 13979 h 27813"/>
                  <a:gd name="connsiteX3" fmla="*/ 15719 w 30821"/>
                  <a:gd name="connsiteY3" fmla="*/ 72 h 27813"/>
                  <a:gd name="connsiteX4" fmla="*/ 31130 w 30821"/>
                  <a:gd name="connsiteY4" fmla="*/ 13979 h 27813"/>
                  <a:gd name="connsiteX5" fmla="*/ 31130 w 30821"/>
                  <a:gd name="connsiteY5" fmla="*/ 1397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30" y="13979"/>
                    </a:moveTo>
                    <a:cubicBezTo>
                      <a:pt x="31130" y="21694"/>
                      <a:pt x="24269" y="27885"/>
                      <a:pt x="15719" y="27885"/>
                    </a:cubicBezTo>
                    <a:cubicBezTo>
                      <a:pt x="7169" y="27885"/>
                      <a:pt x="308" y="21694"/>
                      <a:pt x="308" y="13979"/>
                    </a:cubicBezTo>
                    <a:cubicBezTo>
                      <a:pt x="308" y="6264"/>
                      <a:pt x="7169" y="72"/>
                      <a:pt x="15719" y="72"/>
                    </a:cubicBezTo>
                    <a:cubicBezTo>
                      <a:pt x="24269" y="72"/>
                      <a:pt x="31130" y="6264"/>
                      <a:pt x="31130" y="13979"/>
                    </a:cubicBezTo>
                    <a:lnTo>
                      <a:pt x="31130" y="13979"/>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84" name="Freeform: Shape 383">
                <a:extLst>
                  <a:ext uri="{FF2B5EF4-FFF2-40B4-BE49-F238E27FC236}">
                    <a16:creationId xmlns:a16="http://schemas.microsoft.com/office/drawing/2014/main" id="{2DA694DE-6213-3603-F781-FFCF255C7CAE}"/>
                  </a:ext>
                </a:extLst>
              </p:cNvPr>
              <p:cNvSpPr/>
              <p:nvPr/>
            </p:nvSpPr>
            <p:spPr>
              <a:xfrm>
                <a:off x="10505198" y="2871510"/>
                <a:ext cx="30821" cy="27813"/>
              </a:xfrm>
              <a:custGeom>
                <a:avLst/>
                <a:gdLst>
                  <a:gd name="connsiteX0" fmla="*/ 31133 w 30821"/>
                  <a:gd name="connsiteY0" fmla="*/ 13979 h 27813"/>
                  <a:gd name="connsiteX1" fmla="*/ 15722 w 30821"/>
                  <a:gd name="connsiteY1" fmla="*/ 27885 h 27813"/>
                  <a:gd name="connsiteX2" fmla="*/ 311 w 30821"/>
                  <a:gd name="connsiteY2" fmla="*/ 13979 h 27813"/>
                  <a:gd name="connsiteX3" fmla="*/ 15722 w 30821"/>
                  <a:gd name="connsiteY3" fmla="*/ 72 h 27813"/>
                  <a:gd name="connsiteX4" fmla="*/ 31133 w 30821"/>
                  <a:gd name="connsiteY4" fmla="*/ 13979 h 27813"/>
                  <a:gd name="connsiteX5" fmla="*/ 31133 w 30821"/>
                  <a:gd name="connsiteY5" fmla="*/ 1397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33" y="13979"/>
                    </a:moveTo>
                    <a:cubicBezTo>
                      <a:pt x="31133" y="21694"/>
                      <a:pt x="24272" y="27885"/>
                      <a:pt x="15722" y="27885"/>
                    </a:cubicBezTo>
                    <a:cubicBezTo>
                      <a:pt x="7172" y="27885"/>
                      <a:pt x="311" y="21694"/>
                      <a:pt x="311" y="13979"/>
                    </a:cubicBezTo>
                    <a:cubicBezTo>
                      <a:pt x="311" y="6264"/>
                      <a:pt x="7172" y="72"/>
                      <a:pt x="15722" y="72"/>
                    </a:cubicBezTo>
                    <a:cubicBezTo>
                      <a:pt x="24272" y="72"/>
                      <a:pt x="31133" y="6264"/>
                      <a:pt x="31133" y="13979"/>
                    </a:cubicBezTo>
                    <a:lnTo>
                      <a:pt x="31133" y="13979"/>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85" name="Freeform: Shape 384">
                <a:extLst>
                  <a:ext uri="{FF2B5EF4-FFF2-40B4-BE49-F238E27FC236}">
                    <a16:creationId xmlns:a16="http://schemas.microsoft.com/office/drawing/2014/main" id="{F06B7902-77B5-B3BF-020E-C5CCE01769F3}"/>
                  </a:ext>
                </a:extLst>
              </p:cNvPr>
              <p:cNvSpPr/>
              <p:nvPr/>
            </p:nvSpPr>
            <p:spPr>
              <a:xfrm>
                <a:off x="10536864" y="2881035"/>
                <a:ext cx="30821" cy="27813"/>
              </a:xfrm>
              <a:custGeom>
                <a:avLst/>
                <a:gdLst>
                  <a:gd name="connsiteX0" fmla="*/ 31136 w 30821"/>
                  <a:gd name="connsiteY0" fmla="*/ 13980 h 27813"/>
                  <a:gd name="connsiteX1" fmla="*/ 15725 w 30821"/>
                  <a:gd name="connsiteY1" fmla="*/ 27886 h 27813"/>
                  <a:gd name="connsiteX2" fmla="*/ 314 w 30821"/>
                  <a:gd name="connsiteY2" fmla="*/ 13980 h 27813"/>
                  <a:gd name="connsiteX3" fmla="*/ 15725 w 30821"/>
                  <a:gd name="connsiteY3" fmla="*/ 73 h 27813"/>
                  <a:gd name="connsiteX4" fmla="*/ 31136 w 30821"/>
                  <a:gd name="connsiteY4" fmla="*/ 13980 h 27813"/>
                  <a:gd name="connsiteX5" fmla="*/ 31136 w 30821"/>
                  <a:gd name="connsiteY5" fmla="*/ 1398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36" y="13980"/>
                    </a:moveTo>
                    <a:cubicBezTo>
                      <a:pt x="31136" y="21695"/>
                      <a:pt x="24275" y="27886"/>
                      <a:pt x="15725" y="27886"/>
                    </a:cubicBezTo>
                    <a:cubicBezTo>
                      <a:pt x="7175" y="27886"/>
                      <a:pt x="314" y="21695"/>
                      <a:pt x="314" y="13980"/>
                    </a:cubicBezTo>
                    <a:cubicBezTo>
                      <a:pt x="314" y="6265"/>
                      <a:pt x="7175" y="73"/>
                      <a:pt x="15725" y="73"/>
                    </a:cubicBezTo>
                    <a:cubicBezTo>
                      <a:pt x="24275" y="73"/>
                      <a:pt x="31136" y="6265"/>
                      <a:pt x="31136" y="13980"/>
                    </a:cubicBezTo>
                    <a:lnTo>
                      <a:pt x="31136" y="13980"/>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86" name="Freeform: Shape 385">
                <a:extLst>
                  <a:ext uri="{FF2B5EF4-FFF2-40B4-BE49-F238E27FC236}">
                    <a16:creationId xmlns:a16="http://schemas.microsoft.com/office/drawing/2014/main" id="{843F767C-C645-6F49-493D-014E0B0A6987}"/>
                  </a:ext>
                </a:extLst>
              </p:cNvPr>
              <p:cNvSpPr/>
              <p:nvPr/>
            </p:nvSpPr>
            <p:spPr>
              <a:xfrm>
                <a:off x="10568952" y="2894846"/>
                <a:ext cx="30821" cy="27813"/>
              </a:xfrm>
              <a:custGeom>
                <a:avLst/>
                <a:gdLst>
                  <a:gd name="connsiteX0" fmla="*/ 31139 w 30821"/>
                  <a:gd name="connsiteY0" fmla="*/ 13981 h 27813"/>
                  <a:gd name="connsiteX1" fmla="*/ 15728 w 30821"/>
                  <a:gd name="connsiteY1" fmla="*/ 27888 h 27813"/>
                  <a:gd name="connsiteX2" fmla="*/ 317 w 30821"/>
                  <a:gd name="connsiteY2" fmla="*/ 13981 h 27813"/>
                  <a:gd name="connsiteX3" fmla="*/ 15728 w 30821"/>
                  <a:gd name="connsiteY3" fmla="*/ 75 h 27813"/>
                  <a:gd name="connsiteX4" fmla="*/ 31139 w 30821"/>
                  <a:gd name="connsiteY4" fmla="*/ 13981 h 27813"/>
                  <a:gd name="connsiteX5" fmla="*/ 31139 w 30821"/>
                  <a:gd name="connsiteY5" fmla="*/ 1398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39" y="13981"/>
                    </a:moveTo>
                    <a:cubicBezTo>
                      <a:pt x="31139" y="21697"/>
                      <a:pt x="24278" y="27888"/>
                      <a:pt x="15728" y="27888"/>
                    </a:cubicBezTo>
                    <a:cubicBezTo>
                      <a:pt x="7178" y="27888"/>
                      <a:pt x="317" y="21697"/>
                      <a:pt x="317" y="13981"/>
                    </a:cubicBezTo>
                    <a:cubicBezTo>
                      <a:pt x="317" y="6266"/>
                      <a:pt x="7178" y="75"/>
                      <a:pt x="15728" y="75"/>
                    </a:cubicBezTo>
                    <a:cubicBezTo>
                      <a:pt x="24278" y="75"/>
                      <a:pt x="31139" y="6266"/>
                      <a:pt x="31139" y="13981"/>
                    </a:cubicBezTo>
                    <a:lnTo>
                      <a:pt x="31139" y="1398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87" name="Freeform: Shape 386">
                <a:extLst>
                  <a:ext uri="{FF2B5EF4-FFF2-40B4-BE49-F238E27FC236}">
                    <a16:creationId xmlns:a16="http://schemas.microsoft.com/office/drawing/2014/main" id="{F3583AF7-93E2-B681-1015-F1337CE40490}"/>
                  </a:ext>
                </a:extLst>
              </p:cNvPr>
              <p:cNvSpPr/>
              <p:nvPr/>
            </p:nvSpPr>
            <p:spPr>
              <a:xfrm>
                <a:off x="10600617" y="2894846"/>
                <a:ext cx="30821" cy="27813"/>
              </a:xfrm>
              <a:custGeom>
                <a:avLst/>
                <a:gdLst>
                  <a:gd name="connsiteX0" fmla="*/ 31142 w 30821"/>
                  <a:gd name="connsiteY0" fmla="*/ 13981 h 27813"/>
                  <a:gd name="connsiteX1" fmla="*/ 15731 w 30821"/>
                  <a:gd name="connsiteY1" fmla="*/ 27888 h 27813"/>
                  <a:gd name="connsiteX2" fmla="*/ 320 w 30821"/>
                  <a:gd name="connsiteY2" fmla="*/ 13981 h 27813"/>
                  <a:gd name="connsiteX3" fmla="*/ 15731 w 30821"/>
                  <a:gd name="connsiteY3" fmla="*/ 75 h 27813"/>
                  <a:gd name="connsiteX4" fmla="*/ 31142 w 30821"/>
                  <a:gd name="connsiteY4" fmla="*/ 13981 h 27813"/>
                  <a:gd name="connsiteX5" fmla="*/ 31142 w 30821"/>
                  <a:gd name="connsiteY5" fmla="*/ 1398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42" y="13981"/>
                    </a:moveTo>
                    <a:cubicBezTo>
                      <a:pt x="31142" y="21697"/>
                      <a:pt x="24281" y="27888"/>
                      <a:pt x="15731" y="27888"/>
                    </a:cubicBezTo>
                    <a:cubicBezTo>
                      <a:pt x="7181" y="27888"/>
                      <a:pt x="320" y="21697"/>
                      <a:pt x="320" y="13981"/>
                    </a:cubicBezTo>
                    <a:cubicBezTo>
                      <a:pt x="320" y="6266"/>
                      <a:pt x="7181" y="75"/>
                      <a:pt x="15731" y="75"/>
                    </a:cubicBezTo>
                    <a:cubicBezTo>
                      <a:pt x="24281" y="75"/>
                      <a:pt x="31142" y="6266"/>
                      <a:pt x="31142" y="13981"/>
                    </a:cubicBezTo>
                    <a:lnTo>
                      <a:pt x="31142" y="1398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88" name="Freeform: Shape 387">
                <a:extLst>
                  <a:ext uri="{FF2B5EF4-FFF2-40B4-BE49-F238E27FC236}">
                    <a16:creationId xmlns:a16="http://schemas.microsoft.com/office/drawing/2014/main" id="{F91DA26C-1210-21D1-594E-5DFB68E5F1EF}"/>
                  </a:ext>
                </a:extLst>
              </p:cNvPr>
              <p:cNvSpPr/>
              <p:nvPr/>
            </p:nvSpPr>
            <p:spPr>
              <a:xfrm>
                <a:off x="10621728" y="2894846"/>
                <a:ext cx="30821" cy="27813"/>
              </a:xfrm>
              <a:custGeom>
                <a:avLst/>
                <a:gdLst>
                  <a:gd name="connsiteX0" fmla="*/ 31144 w 30821"/>
                  <a:gd name="connsiteY0" fmla="*/ 13981 h 27813"/>
                  <a:gd name="connsiteX1" fmla="*/ 15733 w 30821"/>
                  <a:gd name="connsiteY1" fmla="*/ 27888 h 27813"/>
                  <a:gd name="connsiteX2" fmla="*/ 322 w 30821"/>
                  <a:gd name="connsiteY2" fmla="*/ 13981 h 27813"/>
                  <a:gd name="connsiteX3" fmla="*/ 15733 w 30821"/>
                  <a:gd name="connsiteY3" fmla="*/ 75 h 27813"/>
                  <a:gd name="connsiteX4" fmla="*/ 31144 w 30821"/>
                  <a:gd name="connsiteY4" fmla="*/ 13981 h 27813"/>
                  <a:gd name="connsiteX5" fmla="*/ 31144 w 30821"/>
                  <a:gd name="connsiteY5" fmla="*/ 1398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44" y="13981"/>
                    </a:moveTo>
                    <a:cubicBezTo>
                      <a:pt x="31144" y="21697"/>
                      <a:pt x="24283" y="27888"/>
                      <a:pt x="15733" y="27888"/>
                    </a:cubicBezTo>
                    <a:cubicBezTo>
                      <a:pt x="7183" y="27888"/>
                      <a:pt x="322" y="21697"/>
                      <a:pt x="322" y="13981"/>
                    </a:cubicBezTo>
                    <a:cubicBezTo>
                      <a:pt x="322" y="6266"/>
                      <a:pt x="7183" y="75"/>
                      <a:pt x="15733" y="75"/>
                    </a:cubicBezTo>
                    <a:cubicBezTo>
                      <a:pt x="24283" y="75"/>
                      <a:pt x="31144" y="6266"/>
                      <a:pt x="31144" y="13981"/>
                    </a:cubicBezTo>
                    <a:lnTo>
                      <a:pt x="31144" y="1398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89" name="Freeform: Shape 388">
                <a:extLst>
                  <a:ext uri="{FF2B5EF4-FFF2-40B4-BE49-F238E27FC236}">
                    <a16:creationId xmlns:a16="http://schemas.microsoft.com/office/drawing/2014/main" id="{03F1D38F-DC67-3685-51F4-D2816B52F0B1}"/>
                  </a:ext>
                </a:extLst>
              </p:cNvPr>
              <p:cNvSpPr/>
              <p:nvPr/>
            </p:nvSpPr>
            <p:spPr>
              <a:xfrm>
                <a:off x="10653394" y="2894846"/>
                <a:ext cx="30821" cy="27813"/>
              </a:xfrm>
              <a:custGeom>
                <a:avLst/>
                <a:gdLst>
                  <a:gd name="connsiteX0" fmla="*/ 31147 w 30821"/>
                  <a:gd name="connsiteY0" fmla="*/ 13981 h 27813"/>
                  <a:gd name="connsiteX1" fmla="*/ 15736 w 30821"/>
                  <a:gd name="connsiteY1" fmla="*/ 27888 h 27813"/>
                  <a:gd name="connsiteX2" fmla="*/ 325 w 30821"/>
                  <a:gd name="connsiteY2" fmla="*/ 13981 h 27813"/>
                  <a:gd name="connsiteX3" fmla="*/ 15736 w 30821"/>
                  <a:gd name="connsiteY3" fmla="*/ 75 h 27813"/>
                  <a:gd name="connsiteX4" fmla="*/ 31147 w 30821"/>
                  <a:gd name="connsiteY4" fmla="*/ 13981 h 27813"/>
                  <a:gd name="connsiteX5" fmla="*/ 31147 w 30821"/>
                  <a:gd name="connsiteY5" fmla="*/ 1398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47" y="13981"/>
                    </a:moveTo>
                    <a:cubicBezTo>
                      <a:pt x="31147" y="21697"/>
                      <a:pt x="24286" y="27888"/>
                      <a:pt x="15736" y="27888"/>
                    </a:cubicBezTo>
                    <a:cubicBezTo>
                      <a:pt x="7186" y="27888"/>
                      <a:pt x="325" y="21697"/>
                      <a:pt x="325" y="13981"/>
                    </a:cubicBezTo>
                    <a:cubicBezTo>
                      <a:pt x="325" y="6266"/>
                      <a:pt x="7186" y="75"/>
                      <a:pt x="15736" y="75"/>
                    </a:cubicBezTo>
                    <a:cubicBezTo>
                      <a:pt x="24286" y="75"/>
                      <a:pt x="31147" y="6266"/>
                      <a:pt x="31147" y="13981"/>
                    </a:cubicBezTo>
                    <a:lnTo>
                      <a:pt x="31147" y="1398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90" name="Freeform: Shape 389">
                <a:extLst>
                  <a:ext uri="{FF2B5EF4-FFF2-40B4-BE49-F238E27FC236}">
                    <a16:creationId xmlns:a16="http://schemas.microsoft.com/office/drawing/2014/main" id="{69BCC51B-B8A9-C87B-6D80-42BC5A9D2551}"/>
                  </a:ext>
                </a:extLst>
              </p:cNvPr>
              <p:cNvSpPr/>
              <p:nvPr/>
            </p:nvSpPr>
            <p:spPr>
              <a:xfrm>
                <a:off x="10674504" y="2894846"/>
                <a:ext cx="30821" cy="27813"/>
              </a:xfrm>
              <a:custGeom>
                <a:avLst/>
                <a:gdLst>
                  <a:gd name="connsiteX0" fmla="*/ 31149 w 30821"/>
                  <a:gd name="connsiteY0" fmla="*/ 13981 h 27813"/>
                  <a:gd name="connsiteX1" fmla="*/ 15738 w 30821"/>
                  <a:gd name="connsiteY1" fmla="*/ 27888 h 27813"/>
                  <a:gd name="connsiteX2" fmla="*/ 327 w 30821"/>
                  <a:gd name="connsiteY2" fmla="*/ 13981 h 27813"/>
                  <a:gd name="connsiteX3" fmla="*/ 15738 w 30821"/>
                  <a:gd name="connsiteY3" fmla="*/ 75 h 27813"/>
                  <a:gd name="connsiteX4" fmla="*/ 31149 w 30821"/>
                  <a:gd name="connsiteY4" fmla="*/ 13981 h 27813"/>
                  <a:gd name="connsiteX5" fmla="*/ 31149 w 30821"/>
                  <a:gd name="connsiteY5" fmla="*/ 1398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49" y="13981"/>
                    </a:moveTo>
                    <a:cubicBezTo>
                      <a:pt x="31149" y="21697"/>
                      <a:pt x="24288" y="27888"/>
                      <a:pt x="15738" y="27888"/>
                    </a:cubicBezTo>
                    <a:cubicBezTo>
                      <a:pt x="7188" y="27888"/>
                      <a:pt x="327" y="21697"/>
                      <a:pt x="327" y="13981"/>
                    </a:cubicBezTo>
                    <a:cubicBezTo>
                      <a:pt x="327" y="6266"/>
                      <a:pt x="7188" y="75"/>
                      <a:pt x="15738" y="75"/>
                    </a:cubicBezTo>
                    <a:cubicBezTo>
                      <a:pt x="24288" y="75"/>
                      <a:pt x="31149" y="6266"/>
                      <a:pt x="31149" y="13981"/>
                    </a:cubicBezTo>
                    <a:lnTo>
                      <a:pt x="31149" y="1398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91" name="Freeform: Shape 390">
                <a:extLst>
                  <a:ext uri="{FF2B5EF4-FFF2-40B4-BE49-F238E27FC236}">
                    <a16:creationId xmlns:a16="http://schemas.microsoft.com/office/drawing/2014/main" id="{DFF1FDE0-2282-760E-1606-F3D03BB14CC1}"/>
                  </a:ext>
                </a:extLst>
              </p:cNvPr>
              <p:cNvSpPr/>
              <p:nvPr/>
            </p:nvSpPr>
            <p:spPr>
              <a:xfrm>
                <a:off x="10706170" y="2894846"/>
                <a:ext cx="30821" cy="27813"/>
              </a:xfrm>
              <a:custGeom>
                <a:avLst/>
                <a:gdLst>
                  <a:gd name="connsiteX0" fmla="*/ 31152 w 30821"/>
                  <a:gd name="connsiteY0" fmla="*/ 13981 h 27813"/>
                  <a:gd name="connsiteX1" fmla="*/ 15741 w 30821"/>
                  <a:gd name="connsiteY1" fmla="*/ 27888 h 27813"/>
                  <a:gd name="connsiteX2" fmla="*/ 330 w 30821"/>
                  <a:gd name="connsiteY2" fmla="*/ 13981 h 27813"/>
                  <a:gd name="connsiteX3" fmla="*/ 15741 w 30821"/>
                  <a:gd name="connsiteY3" fmla="*/ 75 h 27813"/>
                  <a:gd name="connsiteX4" fmla="*/ 31152 w 30821"/>
                  <a:gd name="connsiteY4" fmla="*/ 13981 h 27813"/>
                  <a:gd name="connsiteX5" fmla="*/ 31152 w 30821"/>
                  <a:gd name="connsiteY5" fmla="*/ 1398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52" y="13981"/>
                    </a:moveTo>
                    <a:cubicBezTo>
                      <a:pt x="31152" y="21697"/>
                      <a:pt x="24291" y="27888"/>
                      <a:pt x="15741" y="27888"/>
                    </a:cubicBezTo>
                    <a:cubicBezTo>
                      <a:pt x="7191" y="27888"/>
                      <a:pt x="330" y="21697"/>
                      <a:pt x="330" y="13981"/>
                    </a:cubicBezTo>
                    <a:cubicBezTo>
                      <a:pt x="330" y="6266"/>
                      <a:pt x="7191" y="75"/>
                      <a:pt x="15741" y="75"/>
                    </a:cubicBezTo>
                    <a:cubicBezTo>
                      <a:pt x="24291" y="75"/>
                      <a:pt x="31152" y="6266"/>
                      <a:pt x="31152" y="13981"/>
                    </a:cubicBezTo>
                    <a:lnTo>
                      <a:pt x="31152" y="1398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92" name="Freeform: Shape 391">
                <a:extLst>
                  <a:ext uri="{FF2B5EF4-FFF2-40B4-BE49-F238E27FC236}">
                    <a16:creationId xmlns:a16="http://schemas.microsoft.com/office/drawing/2014/main" id="{1DE935FC-EDEC-2462-7853-2088F034D0E6}"/>
                  </a:ext>
                </a:extLst>
              </p:cNvPr>
              <p:cNvSpPr/>
              <p:nvPr/>
            </p:nvSpPr>
            <p:spPr>
              <a:xfrm>
                <a:off x="10727281" y="2894846"/>
                <a:ext cx="30821" cy="27813"/>
              </a:xfrm>
              <a:custGeom>
                <a:avLst/>
                <a:gdLst>
                  <a:gd name="connsiteX0" fmla="*/ 31154 w 30821"/>
                  <a:gd name="connsiteY0" fmla="*/ 13981 h 27813"/>
                  <a:gd name="connsiteX1" fmla="*/ 15743 w 30821"/>
                  <a:gd name="connsiteY1" fmla="*/ 27888 h 27813"/>
                  <a:gd name="connsiteX2" fmla="*/ 332 w 30821"/>
                  <a:gd name="connsiteY2" fmla="*/ 13981 h 27813"/>
                  <a:gd name="connsiteX3" fmla="*/ 15743 w 30821"/>
                  <a:gd name="connsiteY3" fmla="*/ 75 h 27813"/>
                  <a:gd name="connsiteX4" fmla="*/ 31154 w 30821"/>
                  <a:gd name="connsiteY4" fmla="*/ 13981 h 27813"/>
                  <a:gd name="connsiteX5" fmla="*/ 31154 w 30821"/>
                  <a:gd name="connsiteY5" fmla="*/ 1398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54" y="13981"/>
                    </a:moveTo>
                    <a:cubicBezTo>
                      <a:pt x="31154" y="21697"/>
                      <a:pt x="24293" y="27888"/>
                      <a:pt x="15743" y="27888"/>
                    </a:cubicBezTo>
                    <a:cubicBezTo>
                      <a:pt x="7193" y="27888"/>
                      <a:pt x="332" y="21697"/>
                      <a:pt x="332" y="13981"/>
                    </a:cubicBezTo>
                    <a:cubicBezTo>
                      <a:pt x="332" y="6266"/>
                      <a:pt x="7193" y="75"/>
                      <a:pt x="15743" y="75"/>
                    </a:cubicBezTo>
                    <a:cubicBezTo>
                      <a:pt x="24293" y="75"/>
                      <a:pt x="31154" y="6266"/>
                      <a:pt x="31154" y="13981"/>
                    </a:cubicBezTo>
                    <a:lnTo>
                      <a:pt x="31154" y="1398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93" name="Freeform: Shape 392">
                <a:extLst>
                  <a:ext uri="{FF2B5EF4-FFF2-40B4-BE49-F238E27FC236}">
                    <a16:creationId xmlns:a16="http://schemas.microsoft.com/office/drawing/2014/main" id="{A7118548-104B-E5DF-7C5C-5F7A814DC874}"/>
                  </a:ext>
                </a:extLst>
              </p:cNvPr>
              <p:cNvSpPr/>
              <p:nvPr/>
            </p:nvSpPr>
            <p:spPr>
              <a:xfrm>
                <a:off x="10758946" y="2894846"/>
                <a:ext cx="30821" cy="27813"/>
              </a:xfrm>
              <a:custGeom>
                <a:avLst/>
                <a:gdLst>
                  <a:gd name="connsiteX0" fmla="*/ 31157 w 30821"/>
                  <a:gd name="connsiteY0" fmla="*/ 13981 h 27813"/>
                  <a:gd name="connsiteX1" fmla="*/ 15746 w 30821"/>
                  <a:gd name="connsiteY1" fmla="*/ 27888 h 27813"/>
                  <a:gd name="connsiteX2" fmla="*/ 335 w 30821"/>
                  <a:gd name="connsiteY2" fmla="*/ 13981 h 27813"/>
                  <a:gd name="connsiteX3" fmla="*/ 15746 w 30821"/>
                  <a:gd name="connsiteY3" fmla="*/ 75 h 27813"/>
                  <a:gd name="connsiteX4" fmla="*/ 31157 w 30821"/>
                  <a:gd name="connsiteY4" fmla="*/ 13981 h 27813"/>
                  <a:gd name="connsiteX5" fmla="*/ 31157 w 30821"/>
                  <a:gd name="connsiteY5" fmla="*/ 1398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57" y="13981"/>
                    </a:moveTo>
                    <a:cubicBezTo>
                      <a:pt x="31157" y="21697"/>
                      <a:pt x="24296" y="27888"/>
                      <a:pt x="15746" y="27888"/>
                    </a:cubicBezTo>
                    <a:cubicBezTo>
                      <a:pt x="7196" y="27888"/>
                      <a:pt x="335" y="21697"/>
                      <a:pt x="335" y="13981"/>
                    </a:cubicBezTo>
                    <a:cubicBezTo>
                      <a:pt x="335" y="6266"/>
                      <a:pt x="7196" y="75"/>
                      <a:pt x="15746" y="75"/>
                    </a:cubicBezTo>
                    <a:cubicBezTo>
                      <a:pt x="24296" y="75"/>
                      <a:pt x="31157" y="6266"/>
                      <a:pt x="31157" y="13981"/>
                    </a:cubicBezTo>
                    <a:lnTo>
                      <a:pt x="31157" y="13981"/>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94" name="Freeform: Shape 393">
                <a:extLst>
                  <a:ext uri="{FF2B5EF4-FFF2-40B4-BE49-F238E27FC236}">
                    <a16:creationId xmlns:a16="http://schemas.microsoft.com/office/drawing/2014/main" id="{69A93DE5-157E-36A6-D061-82BA0DF5200B}"/>
                  </a:ext>
                </a:extLst>
              </p:cNvPr>
              <p:cNvSpPr/>
              <p:nvPr/>
            </p:nvSpPr>
            <p:spPr>
              <a:xfrm>
                <a:off x="10779635" y="2918182"/>
                <a:ext cx="30821" cy="27813"/>
              </a:xfrm>
              <a:custGeom>
                <a:avLst/>
                <a:gdLst>
                  <a:gd name="connsiteX0" fmla="*/ 31159 w 30821"/>
                  <a:gd name="connsiteY0" fmla="*/ 13984 h 27813"/>
                  <a:gd name="connsiteX1" fmla="*/ 15748 w 30821"/>
                  <a:gd name="connsiteY1" fmla="*/ 27890 h 27813"/>
                  <a:gd name="connsiteX2" fmla="*/ 337 w 30821"/>
                  <a:gd name="connsiteY2" fmla="*/ 13984 h 27813"/>
                  <a:gd name="connsiteX3" fmla="*/ 15748 w 30821"/>
                  <a:gd name="connsiteY3" fmla="*/ 77 h 27813"/>
                  <a:gd name="connsiteX4" fmla="*/ 31159 w 30821"/>
                  <a:gd name="connsiteY4" fmla="*/ 13984 h 27813"/>
                  <a:gd name="connsiteX5" fmla="*/ 31159 w 30821"/>
                  <a:gd name="connsiteY5" fmla="*/ 1398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59" y="13984"/>
                    </a:moveTo>
                    <a:cubicBezTo>
                      <a:pt x="31159" y="21699"/>
                      <a:pt x="24298" y="27890"/>
                      <a:pt x="15748" y="27890"/>
                    </a:cubicBezTo>
                    <a:cubicBezTo>
                      <a:pt x="7198" y="27890"/>
                      <a:pt x="337" y="21699"/>
                      <a:pt x="337" y="13984"/>
                    </a:cubicBezTo>
                    <a:cubicBezTo>
                      <a:pt x="337" y="6269"/>
                      <a:pt x="7198" y="77"/>
                      <a:pt x="15748" y="77"/>
                    </a:cubicBezTo>
                    <a:cubicBezTo>
                      <a:pt x="24298" y="77"/>
                      <a:pt x="31159" y="6269"/>
                      <a:pt x="31159" y="13984"/>
                    </a:cubicBezTo>
                    <a:lnTo>
                      <a:pt x="31159" y="13984"/>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95" name="Freeform: Shape 394">
                <a:extLst>
                  <a:ext uri="{FF2B5EF4-FFF2-40B4-BE49-F238E27FC236}">
                    <a16:creationId xmlns:a16="http://schemas.microsoft.com/office/drawing/2014/main" id="{F9408FF2-BF03-8813-FFD1-DE3615962323}"/>
                  </a:ext>
                </a:extLst>
              </p:cNvPr>
              <p:cNvSpPr/>
              <p:nvPr/>
            </p:nvSpPr>
            <p:spPr>
              <a:xfrm>
                <a:off x="10811300" y="2918182"/>
                <a:ext cx="30821" cy="27813"/>
              </a:xfrm>
              <a:custGeom>
                <a:avLst/>
                <a:gdLst>
                  <a:gd name="connsiteX0" fmla="*/ 31162 w 30821"/>
                  <a:gd name="connsiteY0" fmla="*/ 13984 h 27813"/>
                  <a:gd name="connsiteX1" fmla="*/ 15751 w 30821"/>
                  <a:gd name="connsiteY1" fmla="*/ 27890 h 27813"/>
                  <a:gd name="connsiteX2" fmla="*/ 340 w 30821"/>
                  <a:gd name="connsiteY2" fmla="*/ 13984 h 27813"/>
                  <a:gd name="connsiteX3" fmla="*/ 15751 w 30821"/>
                  <a:gd name="connsiteY3" fmla="*/ 77 h 27813"/>
                  <a:gd name="connsiteX4" fmla="*/ 31162 w 30821"/>
                  <a:gd name="connsiteY4" fmla="*/ 13984 h 27813"/>
                  <a:gd name="connsiteX5" fmla="*/ 31162 w 30821"/>
                  <a:gd name="connsiteY5" fmla="*/ 1398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62" y="13984"/>
                    </a:moveTo>
                    <a:cubicBezTo>
                      <a:pt x="31162" y="21699"/>
                      <a:pt x="24301" y="27890"/>
                      <a:pt x="15751" y="27890"/>
                    </a:cubicBezTo>
                    <a:cubicBezTo>
                      <a:pt x="7201" y="27890"/>
                      <a:pt x="340" y="21699"/>
                      <a:pt x="340" y="13984"/>
                    </a:cubicBezTo>
                    <a:cubicBezTo>
                      <a:pt x="340" y="6269"/>
                      <a:pt x="7201" y="77"/>
                      <a:pt x="15751" y="77"/>
                    </a:cubicBezTo>
                    <a:cubicBezTo>
                      <a:pt x="24301" y="77"/>
                      <a:pt x="31162" y="6269"/>
                      <a:pt x="31162" y="13984"/>
                    </a:cubicBezTo>
                    <a:lnTo>
                      <a:pt x="31162" y="13984"/>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96" name="Freeform: Shape 395">
                <a:extLst>
                  <a:ext uri="{FF2B5EF4-FFF2-40B4-BE49-F238E27FC236}">
                    <a16:creationId xmlns:a16="http://schemas.microsoft.com/office/drawing/2014/main" id="{12A9D1E7-3E0D-D76D-A4DC-A28D620DF1F4}"/>
                  </a:ext>
                </a:extLst>
              </p:cNvPr>
              <p:cNvSpPr/>
              <p:nvPr/>
            </p:nvSpPr>
            <p:spPr>
              <a:xfrm>
                <a:off x="10842966" y="2918182"/>
                <a:ext cx="30821" cy="27813"/>
              </a:xfrm>
              <a:custGeom>
                <a:avLst/>
                <a:gdLst>
                  <a:gd name="connsiteX0" fmla="*/ 31165 w 30821"/>
                  <a:gd name="connsiteY0" fmla="*/ 13984 h 27813"/>
                  <a:gd name="connsiteX1" fmla="*/ 15754 w 30821"/>
                  <a:gd name="connsiteY1" fmla="*/ 27890 h 27813"/>
                  <a:gd name="connsiteX2" fmla="*/ 343 w 30821"/>
                  <a:gd name="connsiteY2" fmla="*/ 13984 h 27813"/>
                  <a:gd name="connsiteX3" fmla="*/ 15754 w 30821"/>
                  <a:gd name="connsiteY3" fmla="*/ 77 h 27813"/>
                  <a:gd name="connsiteX4" fmla="*/ 31165 w 30821"/>
                  <a:gd name="connsiteY4" fmla="*/ 13984 h 27813"/>
                  <a:gd name="connsiteX5" fmla="*/ 31165 w 30821"/>
                  <a:gd name="connsiteY5" fmla="*/ 1398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65" y="13984"/>
                    </a:moveTo>
                    <a:cubicBezTo>
                      <a:pt x="31165" y="21699"/>
                      <a:pt x="24304" y="27890"/>
                      <a:pt x="15754" y="27890"/>
                    </a:cubicBezTo>
                    <a:cubicBezTo>
                      <a:pt x="7204" y="27890"/>
                      <a:pt x="343" y="21699"/>
                      <a:pt x="343" y="13984"/>
                    </a:cubicBezTo>
                    <a:cubicBezTo>
                      <a:pt x="343" y="6269"/>
                      <a:pt x="7204" y="77"/>
                      <a:pt x="15754" y="77"/>
                    </a:cubicBezTo>
                    <a:cubicBezTo>
                      <a:pt x="24304" y="77"/>
                      <a:pt x="31165" y="6269"/>
                      <a:pt x="31165" y="13984"/>
                    </a:cubicBezTo>
                    <a:lnTo>
                      <a:pt x="31165" y="13984"/>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97" name="Freeform: Shape 396">
                <a:extLst>
                  <a:ext uri="{FF2B5EF4-FFF2-40B4-BE49-F238E27FC236}">
                    <a16:creationId xmlns:a16="http://schemas.microsoft.com/office/drawing/2014/main" id="{A588F642-46AB-3097-5049-2059338162A5}"/>
                  </a:ext>
                </a:extLst>
              </p:cNvPr>
              <p:cNvSpPr/>
              <p:nvPr/>
            </p:nvSpPr>
            <p:spPr>
              <a:xfrm>
                <a:off x="10874632" y="2918182"/>
                <a:ext cx="30821" cy="27813"/>
              </a:xfrm>
              <a:custGeom>
                <a:avLst/>
                <a:gdLst>
                  <a:gd name="connsiteX0" fmla="*/ 31168 w 30821"/>
                  <a:gd name="connsiteY0" fmla="*/ 13984 h 27813"/>
                  <a:gd name="connsiteX1" fmla="*/ 15757 w 30821"/>
                  <a:gd name="connsiteY1" fmla="*/ 27890 h 27813"/>
                  <a:gd name="connsiteX2" fmla="*/ 346 w 30821"/>
                  <a:gd name="connsiteY2" fmla="*/ 13984 h 27813"/>
                  <a:gd name="connsiteX3" fmla="*/ 15757 w 30821"/>
                  <a:gd name="connsiteY3" fmla="*/ 77 h 27813"/>
                  <a:gd name="connsiteX4" fmla="*/ 31168 w 30821"/>
                  <a:gd name="connsiteY4" fmla="*/ 13984 h 27813"/>
                  <a:gd name="connsiteX5" fmla="*/ 31168 w 30821"/>
                  <a:gd name="connsiteY5" fmla="*/ 1398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68" y="13984"/>
                    </a:moveTo>
                    <a:cubicBezTo>
                      <a:pt x="31168" y="21699"/>
                      <a:pt x="24307" y="27890"/>
                      <a:pt x="15757" y="27890"/>
                    </a:cubicBezTo>
                    <a:cubicBezTo>
                      <a:pt x="7207" y="27890"/>
                      <a:pt x="346" y="21699"/>
                      <a:pt x="346" y="13984"/>
                    </a:cubicBezTo>
                    <a:cubicBezTo>
                      <a:pt x="346" y="6269"/>
                      <a:pt x="7207" y="77"/>
                      <a:pt x="15757" y="77"/>
                    </a:cubicBezTo>
                    <a:cubicBezTo>
                      <a:pt x="24307" y="77"/>
                      <a:pt x="31168" y="6269"/>
                      <a:pt x="31168" y="13984"/>
                    </a:cubicBezTo>
                    <a:lnTo>
                      <a:pt x="31168" y="13984"/>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98" name="Freeform: Shape 397">
                <a:extLst>
                  <a:ext uri="{FF2B5EF4-FFF2-40B4-BE49-F238E27FC236}">
                    <a16:creationId xmlns:a16="http://schemas.microsoft.com/office/drawing/2014/main" id="{B6F9CB5E-2286-1924-3DBB-9C4329D13AF6}"/>
                  </a:ext>
                </a:extLst>
              </p:cNvPr>
              <p:cNvSpPr/>
              <p:nvPr/>
            </p:nvSpPr>
            <p:spPr>
              <a:xfrm>
                <a:off x="10906298" y="2918182"/>
                <a:ext cx="30821" cy="27813"/>
              </a:xfrm>
              <a:custGeom>
                <a:avLst/>
                <a:gdLst>
                  <a:gd name="connsiteX0" fmla="*/ 31171 w 30821"/>
                  <a:gd name="connsiteY0" fmla="*/ 13984 h 27813"/>
                  <a:gd name="connsiteX1" fmla="*/ 15760 w 30821"/>
                  <a:gd name="connsiteY1" fmla="*/ 27890 h 27813"/>
                  <a:gd name="connsiteX2" fmla="*/ 349 w 30821"/>
                  <a:gd name="connsiteY2" fmla="*/ 13984 h 27813"/>
                  <a:gd name="connsiteX3" fmla="*/ 15760 w 30821"/>
                  <a:gd name="connsiteY3" fmla="*/ 77 h 27813"/>
                  <a:gd name="connsiteX4" fmla="*/ 31171 w 30821"/>
                  <a:gd name="connsiteY4" fmla="*/ 13984 h 27813"/>
                  <a:gd name="connsiteX5" fmla="*/ 31171 w 30821"/>
                  <a:gd name="connsiteY5" fmla="*/ 1398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71" y="13984"/>
                    </a:moveTo>
                    <a:cubicBezTo>
                      <a:pt x="31171" y="21699"/>
                      <a:pt x="24310" y="27890"/>
                      <a:pt x="15760" y="27890"/>
                    </a:cubicBezTo>
                    <a:cubicBezTo>
                      <a:pt x="7210" y="27890"/>
                      <a:pt x="349" y="21699"/>
                      <a:pt x="349" y="13984"/>
                    </a:cubicBezTo>
                    <a:cubicBezTo>
                      <a:pt x="349" y="6269"/>
                      <a:pt x="7210" y="77"/>
                      <a:pt x="15760" y="77"/>
                    </a:cubicBezTo>
                    <a:cubicBezTo>
                      <a:pt x="24310" y="77"/>
                      <a:pt x="31171" y="6269"/>
                      <a:pt x="31171" y="13984"/>
                    </a:cubicBezTo>
                    <a:lnTo>
                      <a:pt x="31171" y="13984"/>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99" name="Freeform: Shape 398">
                <a:extLst>
                  <a:ext uri="{FF2B5EF4-FFF2-40B4-BE49-F238E27FC236}">
                    <a16:creationId xmlns:a16="http://schemas.microsoft.com/office/drawing/2014/main" id="{AB891173-F7DF-3CF0-C8C5-BDE6C919DE4F}"/>
                  </a:ext>
                </a:extLst>
              </p:cNvPr>
              <p:cNvSpPr/>
              <p:nvPr/>
            </p:nvSpPr>
            <p:spPr>
              <a:xfrm>
                <a:off x="10927408" y="2938185"/>
                <a:ext cx="30821" cy="27813"/>
              </a:xfrm>
              <a:custGeom>
                <a:avLst/>
                <a:gdLst>
                  <a:gd name="connsiteX0" fmla="*/ 31173 w 30821"/>
                  <a:gd name="connsiteY0" fmla="*/ 13986 h 27813"/>
                  <a:gd name="connsiteX1" fmla="*/ 15762 w 30821"/>
                  <a:gd name="connsiteY1" fmla="*/ 27892 h 27813"/>
                  <a:gd name="connsiteX2" fmla="*/ 351 w 30821"/>
                  <a:gd name="connsiteY2" fmla="*/ 13986 h 27813"/>
                  <a:gd name="connsiteX3" fmla="*/ 15762 w 30821"/>
                  <a:gd name="connsiteY3" fmla="*/ 79 h 27813"/>
                  <a:gd name="connsiteX4" fmla="*/ 31173 w 30821"/>
                  <a:gd name="connsiteY4" fmla="*/ 13986 h 27813"/>
                  <a:gd name="connsiteX5" fmla="*/ 31173 w 30821"/>
                  <a:gd name="connsiteY5" fmla="*/ 13986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73" y="13986"/>
                    </a:moveTo>
                    <a:cubicBezTo>
                      <a:pt x="31173" y="21701"/>
                      <a:pt x="24312" y="27892"/>
                      <a:pt x="15762" y="27892"/>
                    </a:cubicBezTo>
                    <a:cubicBezTo>
                      <a:pt x="7212" y="27892"/>
                      <a:pt x="351" y="21701"/>
                      <a:pt x="351" y="13986"/>
                    </a:cubicBezTo>
                    <a:cubicBezTo>
                      <a:pt x="351" y="6271"/>
                      <a:pt x="7212" y="79"/>
                      <a:pt x="15762" y="79"/>
                    </a:cubicBezTo>
                    <a:cubicBezTo>
                      <a:pt x="24312" y="79"/>
                      <a:pt x="31173" y="6271"/>
                      <a:pt x="31173" y="13986"/>
                    </a:cubicBezTo>
                    <a:lnTo>
                      <a:pt x="31173" y="13986"/>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00" name="Freeform: Shape 399">
                <a:extLst>
                  <a:ext uri="{FF2B5EF4-FFF2-40B4-BE49-F238E27FC236}">
                    <a16:creationId xmlns:a16="http://schemas.microsoft.com/office/drawing/2014/main" id="{BCBD9D85-8E69-CE9A-046F-9C3457501CB1}"/>
                  </a:ext>
                </a:extLst>
              </p:cNvPr>
              <p:cNvSpPr/>
              <p:nvPr/>
            </p:nvSpPr>
            <p:spPr>
              <a:xfrm>
                <a:off x="10950524" y="2950758"/>
                <a:ext cx="30821" cy="27813"/>
              </a:xfrm>
              <a:custGeom>
                <a:avLst/>
                <a:gdLst>
                  <a:gd name="connsiteX0" fmla="*/ 31175 w 30821"/>
                  <a:gd name="connsiteY0" fmla="*/ 13987 h 27813"/>
                  <a:gd name="connsiteX1" fmla="*/ 15764 w 30821"/>
                  <a:gd name="connsiteY1" fmla="*/ 27894 h 27813"/>
                  <a:gd name="connsiteX2" fmla="*/ 353 w 30821"/>
                  <a:gd name="connsiteY2" fmla="*/ 13987 h 27813"/>
                  <a:gd name="connsiteX3" fmla="*/ 15764 w 30821"/>
                  <a:gd name="connsiteY3" fmla="*/ 81 h 27813"/>
                  <a:gd name="connsiteX4" fmla="*/ 31175 w 30821"/>
                  <a:gd name="connsiteY4" fmla="*/ 13987 h 27813"/>
                  <a:gd name="connsiteX5" fmla="*/ 31175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75" y="13987"/>
                    </a:moveTo>
                    <a:cubicBezTo>
                      <a:pt x="31175" y="21702"/>
                      <a:pt x="24314" y="27894"/>
                      <a:pt x="15764" y="27894"/>
                    </a:cubicBezTo>
                    <a:cubicBezTo>
                      <a:pt x="7214" y="27894"/>
                      <a:pt x="353" y="21702"/>
                      <a:pt x="353" y="13987"/>
                    </a:cubicBezTo>
                    <a:cubicBezTo>
                      <a:pt x="353" y="6272"/>
                      <a:pt x="7214" y="81"/>
                      <a:pt x="15764" y="81"/>
                    </a:cubicBezTo>
                    <a:cubicBezTo>
                      <a:pt x="24314" y="81"/>
                      <a:pt x="31175" y="6272"/>
                      <a:pt x="31175" y="13987"/>
                    </a:cubicBezTo>
                    <a:lnTo>
                      <a:pt x="31175" y="1398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01" name="Freeform: Shape 400">
                <a:extLst>
                  <a:ext uri="{FF2B5EF4-FFF2-40B4-BE49-F238E27FC236}">
                    <a16:creationId xmlns:a16="http://schemas.microsoft.com/office/drawing/2014/main" id="{CF0D4241-E8E2-97BC-5AF0-4E700D3F3340}"/>
                  </a:ext>
                </a:extLst>
              </p:cNvPr>
              <p:cNvSpPr/>
              <p:nvPr/>
            </p:nvSpPr>
            <p:spPr>
              <a:xfrm>
                <a:off x="10982190" y="2950758"/>
                <a:ext cx="30821" cy="27813"/>
              </a:xfrm>
              <a:custGeom>
                <a:avLst/>
                <a:gdLst>
                  <a:gd name="connsiteX0" fmla="*/ 31178 w 30821"/>
                  <a:gd name="connsiteY0" fmla="*/ 13987 h 27813"/>
                  <a:gd name="connsiteX1" fmla="*/ 15767 w 30821"/>
                  <a:gd name="connsiteY1" fmla="*/ 27894 h 27813"/>
                  <a:gd name="connsiteX2" fmla="*/ 356 w 30821"/>
                  <a:gd name="connsiteY2" fmla="*/ 13987 h 27813"/>
                  <a:gd name="connsiteX3" fmla="*/ 15767 w 30821"/>
                  <a:gd name="connsiteY3" fmla="*/ 81 h 27813"/>
                  <a:gd name="connsiteX4" fmla="*/ 31178 w 30821"/>
                  <a:gd name="connsiteY4" fmla="*/ 13987 h 27813"/>
                  <a:gd name="connsiteX5" fmla="*/ 31178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78" y="13987"/>
                    </a:moveTo>
                    <a:cubicBezTo>
                      <a:pt x="31178" y="21702"/>
                      <a:pt x="24317" y="27894"/>
                      <a:pt x="15767" y="27894"/>
                    </a:cubicBezTo>
                    <a:cubicBezTo>
                      <a:pt x="7217" y="27894"/>
                      <a:pt x="356" y="21702"/>
                      <a:pt x="356" y="13987"/>
                    </a:cubicBezTo>
                    <a:cubicBezTo>
                      <a:pt x="356" y="6272"/>
                      <a:pt x="7217" y="81"/>
                      <a:pt x="15767" y="81"/>
                    </a:cubicBezTo>
                    <a:cubicBezTo>
                      <a:pt x="24317" y="81"/>
                      <a:pt x="31178" y="6272"/>
                      <a:pt x="31178" y="13987"/>
                    </a:cubicBezTo>
                    <a:lnTo>
                      <a:pt x="31178" y="1398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02" name="Freeform: Shape 401">
                <a:extLst>
                  <a:ext uri="{FF2B5EF4-FFF2-40B4-BE49-F238E27FC236}">
                    <a16:creationId xmlns:a16="http://schemas.microsoft.com/office/drawing/2014/main" id="{413DBEFC-72D8-6DB9-3FE6-CDFEED8D197F}"/>
                  </a:ext>
                </a:extLst>
              </p:cNvPr>
              <p:cNvSpPr/>
              <p:nvPr/>
            </p:nvSpPr>
            <p:spPr>
              <a:xfrm>
                <a:off x="11013856" y="2950758"/>
                <a:ext cx="30821" cy="27813"/>
              </a:xfrm>
              <a:custGeom>
                <a:avLst/>
                <a:gdLst>
                  <a:gd name="connsiteX0" fmla="*/ 31181 w 30821"/>
                  <a:gd name="connsiteY0" fmla="*/ 13987 h 27813"/>
                  <a:gd name="connsiteX1" fmla="*/ 15770 w 30821"/>
                  <a:gd name="connsiteY1" fmla="*/ 27894 h 27813"/>
                  <a:gd name="connsiteX2" fmla="*/ 359 w 30821"/>
                  <a:gd name="connsiteY2" fmla="*/ 13987 h 27813"/>
                  <a:gd name="connsiteX3" fmla="*/ 15770 w 30821"/>
                  <a:gd name="connsiteY3" fmla="*/ 81 h 27813"/>
                  <a:gd name="connsiteX4" fmla="*/ 31181 w 30821"/>
                  <a:gd name="connsiteY4" fmla="*/ 13987 h 27813"/>
                  <a:gd name="connsiteX5" fmla="*/ 31181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81" y="13987"/>
                    </a:moveTo>
                    <a:cubicBezTo>
                      <a:pt x="31181" y="21702"/>
                      <a:pt x="24320" y="27894"/>
                      <a:pt x="15770" y="27894"/>
                    </a:cubicBezTo>
                    <a:cubicBezTo>
                      <a:pt x="7220" y="27894"/>
                      <a:pt x="359" y="21702"/>
                      <a:pt x="359" y="13987"/>
                    </a:cubicBezTo>
                    <a:cubicBezTo>
                      <a:pt x="359" y="6272"/>
                      <a:pt x="7220" y="81"/>
                      <a:pt x="15770" y="81"/>
                    </a:cubicBezTo>
                    <a:cubicBezTo>
                      <a:pt x="24320" y="81"/>
                      <a:pt x="31181" y="6272"/>
                      <a:pt x="31181" y="13987"/>
                    </a:cubicBezTo>
                    <a:lnTo>
                      <a:pt x="31181" y="1398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03" name="Freeform: Shape 402">
                <a:extLst>
                  <a:ext uri="{FF2B5EF4-FFF2-40B4-BE49-F238E27FC236}">
                    <a16:creationId xmlns:a16="http://schemas.microsoft.com/office/drawing/2014/main" id="{74346D32-20FF-1312-E2F3-D22D0EE70101}"/>
                  </a:ext>
                </a:extLst>
              </p:cNvPr>
              <p:cNvSpPr/>
              <p:nvPr/>
            </p:nvSpPr>
            <p:spPr>
              <a:xfrm>
                <a:off x="11045522" y="2950758"/>
                <a:ext cx="30821" cy="27813"/>
              </a:xfrm>
              <a:custGeom>
                <a:avLst/>
                <a:gdLst>
                  <a:gd name="connsiteX0" fmla="*/ 31184 w 30821"/>
                  <a:gd name="connsiteY0" fmla="*/ 13987 h 27813"/>
                  <a:gd name="connsiteX1" fmla="*/ 15773 w 30821"/>
                  <a:gd name="connsiteY1" fmla="*/ 27894 h 27813"/>
                  <a:gd name="connsiteX2" fmla="*/ 362 w 30821"/>
                  <a:gd name="connsiteY2" fmla="*/ 13987 h 27813"/>
                  <a:gd name="connsiteX3" fmla="*/ 15773 w 30821"/>
                  <a:gd name="connsiteY3" fmla="*/ 81 h 27813"/>
                  <a:gd name="connsiteX4" fmla="*/ 31184 w 30821"/>
                  <a:gd name="connsiteY4" fmla="*/ 13987 h 27813"/>
                  <a:gd name="connsiteX5" fmla="*/ 31184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84" y="13987"/>
                    </a:moveTo>
                    <a:cubicBezTo>
                      <a:pt x="31184" y="21702"/>
                      <a:pt x="24323" y="27894"/>
                      <a:pt x="15773" y="27894"/>
                    </a:cubicBezTo>
                    <a:cubicBezTo>
                      <a:pt x="7223" y="27894"/>
                      <a:pt x="362" y="21702"/>
                      <a:pt x="362" y="13987"/>
                    </a:cubicBezTo>
                    <a:cubicBezTo>
                      <a:pt x="362" y="6272"/>
                      <a:pt x="7223" y="81"/>
                      <a:pt x="15773" y="81"/>
                    </a:cubicBezTo>
                    <a:cubicBezTo>
                      <a:pt x="24323" y="81"/>
                      <a:pt x="31184" y="6272"/>
                      <a:pt x="31184" y="13987"/>
                    </a:cubicBezTo>
                    <a:lnTo>
                      <a:pt x="31184" y="1398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04" name="Freeform: Shape 403">
                <a:extLst>
                  <a:ext uri="{FF2B5EF4-FFF2-40B4-BE49-F238E27FC236}">
                    <a16:creationId xmlns:a16="http://schemas.microsoft.com/office/drawing/2014/main" id="{596173BB-70B3-D84C-C8EC-3439E4AA5E42}"/>
                  </a:ext>
                </a:extLst>
              </p:cNvPr>
              <p:cNvSpPr/>
              <p:nvPr/>
            </p:nvSpPr>
            <p:spPr>
              <a:xfrm>
                <a:off x="11077187" y="2950758"/>
                <a:ext cx="30821" cy="27813"/>
              </a:xfrm>
              <a:custGeom>
                <a:avLst/>
                <a:gdLst>
                  <a:gd name="connsiteX0" fmla="*/ 31187 w 30821"/>
                  <a:gd name="connsiteY0" fmla="*/ 13987 h 27813"/>
                  <a:gd name="connsiteX1" fmla="*/ 15776 w 30821"/>
                  <a:gd name="connsiteY1" fmla="*/ 27894 h 27813"/>
                  <a:gd name="connsiteX2" fmla="*/ 365 w 30821"/>
                  <a:gd name="connsiteY2" fmla="*/ 13987 h 27813"/>
                  <a:gd name="connsiteX3" fmla="*/ 15776 w 30821"/>
                  <a:gd name="connsiteY3" fmla="*/ 81 h 27813"/>
                  <a:gd name="connsiteX4" fmla="*/ 31187 w 30821"/>
                  <a:gd name="connsiteY4" fmla="*/ 13987 h 27813"/>
                  <a:gd name="connsiteX5" fmla="*/ 31187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87" y="13987"/>
                    </a:moveTo>
                    <a:cubicBezTo>
                      <a:pt x="31187" y="21702"/>
                      <a:pt x="24326" y="27894"/>
                      <a:pt x="15776" y="27894"/>
                    </a:cubicBezTo>
                    <a:cubicBezTo>
                      <a:pt x="7226" y="27894"/>
                      <a:pt x="365" y="21702"/>
                      <a:pt x="365" y="13987"/>
                    </a:cubicBezTo>
                    <a:cubicBezTo>
                      <a:pt x="365" y="6272"/>
                      <a:pt x="7226" y="81"/>
                      <a:pt x="15776" y="81"/>
                    </a:cubicBezTo>
                    <a:cubicBezTo>
                      <a:pt x="24326" y="81"/>
                      <a:pt x="31187" y="6272"/>
                      <a:pt x="31187" y="13987"/>
                    </a:cubicBezTo>
                    <a:lnTo>
                      <a:pt x="31187" y="1398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05" name="Freeform: Shape 404">
                <a:extLst>
                  <a:ext uri="{FF2B5EF4-FFF2-40B4-BE49-F238E27FC236}">
                    <a16:creationId xmlns:a16="http://schemas.microsoft.com/office/drawing/2014/main" id="{B3F7B985-F6B7-2953-0DF9-715293399E2E}"/>
                  </a:ext>
                </a:extLst>
              </p:cNvPr>
              <p:cNvSpPr/>
              <p:nvPr/>
            </p:nvSpPr>
            <p:spPr>
              <a:xfrm>
                <a:off x="11119408" y="2950758"/>
                <a:ext cx="30821" cy="27813"/>
              </a:xfrm>
              <a:custGeom>
                <a:avLst/>
                <a:gdLst>
                  <a:gd name="connsiteX0" fmla="*/ 31191 w 30821"/>
                  <a:gd name="connsiteY0" fmla="*/ 13987 h 27813"/>
                  <a:gd name="connsiteX1" fmla="*/ 15780 w 30821"/>
                  <a:gd name="connsiteY1" fmla="*/ 27894 h 27813"/>
                  <a:gd name="connsiteX2" fmla="*/ 369 w 30821"/>
                  <a:gd name="connsiteY2" fmla="*/ 13987 h 27813"/>
                  <a:gd name="connsiteX3" fmla="*/ 15780 w 30821"/>
                  <a:gd name="connsiteY3" fmla="*/ 81 h 27813"/>
                  <a:gd name="connsiteX4" fmla="*/ 31191 w 30821"/>
                  <a:gd name="connsiteY4" fmla="*/ 13987 h 27813"/>
                  <a:gd name="connsiteX5" fmla="*/ 31191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91" y="13987"/>
                    </a:moveTo>
                    <a:cubicBezTo>
                      <a:pt x="31191" y="21702"/>
                      <a:pt x="24330" y="27894"/>
                      <a:pt x="15780" y="27894"/>
                    </a:cubicBezTo>
                    <a:cubicBezTo>
                      <a:pt x="7230" y="27894"/>
                      <a:pt x="369" y="21702"/>
                      <a:pt x="369" y="13987"/>
                    </a:cubicBezTo>
                    <a:cubicBezTo>
                      <a:pt x="369" y="6272"/>
                      <a:pt x="7230" y="81"/>
                      <a:pt x="15780" y="81"/>
                    </a:cubicBezTo>
                    <a:cubicBezTo>
                      <a:pt x="24330" y="81"/>
                      <a:pt x="31191" y="6272"/>
                      <a:pt x="31191" y="13987"/>
                    </a:cubicBezTo>
                    <a:lnTo>
                      <a:pt x="31191" y="1398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06" name="Freeform: Shape 405">
                <a:extLst>
                  <a:ext uri="{FF2B5EF4-FFF2-40B4-BE49-F238E27FC236}">
                    <a16:creationId xmlns:a16="http://schemas.microsoft.com/office/drawing/2014/main" id="{61F0E2FB-C6EB-51DB-8076-2B9BB4DD229C}"/>
                  </a:ext>
                </a:extLst>
              </p:cNvPr>
              <p:cNvSpPr/>
              <p:nvPr/>
            </p:nvSpPr>
            <p:spPr>
              <a:xfrm>
                <a:off x="11151074" y="2950758"/>
                <a:ext cx="30821" cy="27813"/>
              </a:xfrm>
              <a:custGeom>
                <a:avLst/>
                <a:gdLst>
                  <a:gd name="connsiteX0" fmla="*/ 31194 w 30821"/>
                  <a:gd name="connsiteY0" fmla="*/ 13987 h 27813"/>
                  <a:gd name="connsiteX1" fmla="*/ 15783 w 30821"/>
                  <a:gd name="connsiteY1" fmla="*/ 27894 h 27813"/>
                  <a:gd name="connsiteX2" fmla="*/ 372 w 30821"/>
                  <a:gd name="connsiteY2" fmla="*/ 13987 h 27813"/>
                  <a:gd name="connsiteX3" fmla="*/ 15783 w 30821"/>
                  <a:gd name="connsiteY3" fmla="*/ 81 h 27813"/>
                  <a:gd name="connsiteX4" fmla="*/ 31194 w 30821"/>
                  <a:gd name="connsiteY4" fmla="*/ 13987 h 27813"/>
                  <a:gd name="connsiteX5" fmla="*/ 31194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94" y="13987"/>
                    </a:moveTo>
                    <a:cubicBezTo>
                      <a:pt x="31194" y="21702"/>
                      <a:pt x="24333" y="27894"/>
                      <a:pt x="15783" y="27894"/>
                    </a:cubicBezTo>
                    <a:cubicBezTo>
                      <a:pt x="7233" y="27894"/>
                      <a:pt x="372" y="21702"/>
                      <a:pt x="372" y="13987"/>
                    </a:cubicBezTo>
                    <a:cubicBezTo>
                      <a:pt x="372" y="6272"/>
                      <a:pt x="7233" y="81"/>
                      <a:pt x="15783" y="81"/>
                    </a:cubicBezTo>
                    <a:cubicBezTo>
                      <a:pt x="24333" y="81"/>
                      <a:pt x="31194" y="6272"/>
                      <a:pt x="31194" y="13987"/>
                    </a:cubicBezTo>
                    <a:lnTo>
                      <a:pt x="31194" y="1398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07" name="Freeform: Shape 406">
                <a:extLst>
                  <a:ext uri="{FF2B5EF4-FFF2-40B4-BE49-F238E27FC236}">
                    <a16:creationId xmlns:a16="http://schemas.microsoft.com/office/drawing/2014/main" id="{EC2A5644-05A2-19EA-1D73-FA5A0F9F597B}"/>
                  </a:ext>
                </a:extLst>
              </p:cNvPr>
              <p:cNvSpPr/>
              <p:nvPr/>
            </p:nvSpPr>
            <p:spPr>
              <a:xfrm>
                <a:off x="11182740" y="2950758"/>
                <a:ext cx="30821" cy="27813"/>
              </a:xfrm>
              <a:custGeom>
                <a:avLst/>
                <a:gdLst>
                  <a:gd name="connsiteX0" fmla="*/ 31197 w 30821"/>
                  <a:gd name="connsiteY0" fmla="*/ 13987 h 27813"/>
                  <a:gd name="connsiteX1" fmla="*/ 15786 w 30821"/>
                  <a:gd name="connsiteY1" fmla="*/ 27894 h 27813"/>
                  <a:gd name="connsiteX2" fmla="*/ 375 w 30821"/>
                  <a:gd name="connsiteY2" fmla="*/ 13987 h 27813"/>
                  <a:gd name="connsiteX3" fmla="*/ 15786 w 30821"/>
                  <a:gd name="connsiteY3" fmla="*/ 81 h 27813"/>
                  <a:gd name="connsiteX4" fmla="*/ 31197 w 30821"/>
                  <a:gd name="connsiteY4" fmla="*/ 13987 h 27813"/>
                  <a:gd name="connsiteX5" fmla="*/ 31197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97" y="13987"/>
                    </a:moveTo>
                    <a:cubicBezTo>
                      <a:pt x="31197" y="21702"/>
                      <a:pt x="24336" y="27894"/>
                      <a:pt x="15786" y="27894"/>
                    </a:cubicBezTo>
                    <a:cubicBezTo>
                      <a:pt x="7236" y="27894"/>
                      <a:pt x="375" y="21702"/>
                      <a:pt x="375" y="13987"/>
                    </a:cubicBezTo>
                    <a:cubicBezTo>
                      <a:pt x="375" y="6272"/>
                      <a:pt x="7236" y="81"/>
                      <a:pt x="15786" y="81"/>
                    </a:cubicBezTo>
                    <a:cubicBezTo>
                      <a:pt x="24336" y="81"/>
                      <a:pt x="31197" y="6272"/>
                      <a:pt x="31197" y="13987"/>
                    </a:cubicBezTo>
                    <a:lnTo>
                      <a:pt x="31197" y="1398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08" name="Freeform: Shape 407">
                <a:extLst>
                  <a:ext uri="{FF2B5EF4-FFF2-40B4-BE49-F238E27FC236}">
                    <a16:creationId xmlns:a16="http://schemas.microsoft.com/office/drawing/2014/main" id="{9FD98E31-2F00-FA4D-C94C-2046ABAC29AA}"/>
                  </a:ext>
                </a:extLst>
              </p:cNvPr>
              <p:cNvSpPr/>
              <p:nvPr/>
            </p:nvSpPr>
            <p:spPr>
              <a:xfrm>
                <a:off x="11214406" y="2950758"/>
                <a:ext cx="30821" cy="27813"/>
              </a:xfrm>
              <a:custGeom>
                <a:avLst/>
                <a:gdLst>
                  <a:gd name="connsiteX0" fmla="*/ 31200 w 30821"/>
                  <a:gd name="connsiteY0" fmla="*/ 13987 h 27813"/>
                  <a:gd name="connsiteX1" fmla="*/ 15789 w 30821"/>
                  <a:gd name="connsiteY1" fmla="*/ 27894 h 27813"/>
                  <a:gd name="connsiteX2" fmla="*/ 378 w 30821"/>
                  <a:gd name="connsiteY2" fmla="*/ 13987 h 27813"/>
                  <a:gd name="connsiteX3" fmla="*/ 15789 w 30821"/>
                  <a:gd name="connsiteY3" fmla="*/ 81 h 27813"/>
                  <a:gd name="connsiteX4" fmla="*/ 31200 w 30821"/>
                  <a:gd name="connsiteY4" fmla="*/ 13987 h 27813"/>
                  <a:gd name="connsiteX5" fmla="*/ 31200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00" y="13987"/>
                    </a:moveTo>
                    <a:cubicBezTo>
                      <a:pt x="31200" y="21702"/>
                      <a:pt x="24339" y="27894"/>
                      <a:pt x="15789" y="27894"/>
                    </a:cubicBezTo>
                    <a:cubicBezTo>
                      <a:pt x="7239" y="27894"/>
                      <a:pt x="378" y="21702"/>
                      <a:pt x="378" y="13987"/>
                    </a:cubicBezTo>
                    <a:cubicBezTo>
                      <a:pt x="378" y="6272"/>
                      <a:pt x="7239" y="81"/>
                      <a:pt x="15789" y="81"/>
                    </a:cubicBezTo>
                    <a:cubicBezTo>
                      <a:pt x="24339" y="81"/>
                      <a:pt x="31200" y="6272"/>
                      <a:pt x="31200" y="13987"/>
                    </a:cubicBezTo>
                    <a:lnTo>
                      <a:pt x="31200" y="1398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09" name="Freeform: Shape 408">
                <a:extLst>
                  <a:ext uri="{FF2B5EF4-FFF2-40B4-BE49-F238E27FC236}">
                    <a16:creationId xmlns:a16="http://schemas.microsoft.com/office/drawing/2014/main" id="{3D684108-1CFD-A821-2C4F-243E2135EE66}"/>
                  </a:ext>
                </a:extLst>
              </p:cNvPr>
              <p:cNvSpPr/>
              <p:nvPr/>
            </p:nvSpPr>
            <p:spPr>
              <a:xfrm>
                <a:off x="11272038" y="2950758"/>
                <a:ext cx="30821" cy="27813"/>
              </a:xfrm>
              <a:custGeom>
                <a:avLst/>
                <a:gdLst>
                  <a:gd name="connsiteX0" fmla="*/ 31205 w 30821"/>
                  <a:gd name="connsiteY0" fmla="*/ 13987 h 27813"/>
                  <a:gd name="connsiteX1" fmla="*/ 15795 w 30821"/>
                  <a:gd name="connsiteY1" fmla="*/ 27894 h 27813"/>
                  <a:gd name="connsiteX2" fmla="*/ 384 w 30821"/>
                  <a:gd name="connsiteY2" fmla="*/ 13987 h 27813"/>
                  <a:gd name="connsiteX3" fmla="*/ 15795 w 30821"/>
                  <a:gd name="connsiteY3" fmla="*/ 81 h 27813"/>
                  <a:gd name="connsiteX4" fmla="*/ 31205 w 30821"/>
                  <a:gd name="connsiteY4" fmla="*/ 13987 h 27813"/>
                  <a:gd name="connsiteX5" fmla="*/ 31205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05" y="13987"/>
                    </a:moveTo>
                    <a:cubicBezTo>
                      <a:pt x="31205" y="21702"/>
                      <a:pt x="24344" y="27894"/>
                      <a:pt x="15795" y="27894"/>
                    </a:cubicBezTo>
                    <a:cubicBezTo>
                      <a:pt x="7245" y="27894"/>
                      <a:pt x="384" y="21702"/>
                      <a:pt x="384" y="13987"/>
                    </a:cubicBezTo>
                    <a:cubicBezTo>
                      <a:pt x="384" y="6272"/>
                      <a:pt x="7245" y="81"/>
                      <a:pt x="15795" y="81"/>
                    </a:cubicBezTo>
                    <a:cubicBezTo>
                      <a:pt x="24344" y="81"/>
                      <a:pt x="31205" y="6272"/>
                      <a:pt x="31205" y="13987"/>
                    </a:cubicBezTo>
                    <a:lnTo>
                      <a:pt x="31205" y="1398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10" name="Freeform: Shape 409">
                <a:extLst>
                  <a:ext uri="{FF2B5EF4-FFF2-40B4-BE49-F238E27FC236}">
                    <a16:creationId xmlns:a16="http://schemas.microsoft.com/office/drawing/2014/main" id="{069E13BD-0B5D-4F6A-BC27-2AD642501A59}"/>
                  </a:ext>
                </a:extLst>
              </p:cNvPr>
              <p:cNvSpPr/>
              <p:nvPr/>
            </p:nvSpPr>
            <p:spPr>
              <a:xfrm>
                <a:off x="11303703" y="2950758"/>
                <a:ext cx="30821" cy="27813"/>
              </a:xfrm>
              <a:custGeom>
                <a:avLst/>
                <a:gdLst>
                  <a:gd name="connsiteX0" fmla="*/ 31208 w 30821"/>
                  <a:gd name="connsiteY0" fmla="*/ 13987 h 27813"/>
                  <a:gd name="connsiteX1" fmla="*/ 15798 w 30821"/>
                  <a:gd name="connsiteY1" fmla="*/ 27894 h 27813"/>
                  <a:gd name="connsiteX2" fmla="*/ 387 w 30821"/>
                  <a:gd name="connsiteY2" fmla="*/ 13987 h 27813"/>
                  <a:gd name="connsiteX3" fmla="*/ 15798 w 30821"/>
                  <a:gd name="connsiteY3" fmla="*/ 81 h 27813"/>
                  <a:gd name="connsiteX4" fmla="*/ 31208 w 30821"/>
                  <a:gd name="connsiteY4" fmla="*/ 13987 h 27813"/>
                  <a:gd name="connsiteX5" fmla="*/ 31208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08" y="13987"/>
                    </a:moveTo>
                    <a:cubicBezTo>
                      <a:pt x="31208" y="21702"/>
                      <a:pt x="24347" y="27894"/>
                      <a:pt x="15798" y="27894"/>
                    </a:cubicBezTo>
                    <a:cubicBezTo>
                      <a:pt x="7248" y="27894"/>
                      <a:pt x="387" y="21702"/>
                      <a:pt x="387" y="13987"/>
                    </a:cubicBezTo>
                    <a:cubicBezTo>
                      <a:pt x="387" y="6272"/>
                      <a:pt x="7248" y="81"/>
                      <a:pt x="15798" y="81"/>
                    </a:cubicBezTo>
                    <a:cubicBezTo>
                      <a:pt x="24347" y="81"/>
                      <a:pt x="31208" y="6272"/>
                      <a:pt x="31208" y="13987"/>
                    </a:cubicBezTo>
                    <a:lnTo>
                      <a:pt x="31208" y="1398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11" name="Freeform: Shape 410">
                <a:extLst>
                  <a:ext uri="{FF2B5EF4-FFF2-40B4-BE49-F238E27FC236}">
                    <a16:creationId xmlns:a16="http://schemas.microsoft.com/office/drawing/2014/main" id="{A0FBC1AF-1910-9994-F5E3-279ADFAF92B0}"/>
                  </a:ext>
                </a:extLst>
              </p:cNvPr>
              <p:cNvSpPr/>
              <p:nvPr/>
            </p:nvSpPr>
            <p:spPr>
              <a:xfrm>
                <a:off x="11335369" y="2950758"/>
                <a:ext cx="30821" cy="27813"/>
              </a:xfrm>
              <a:custGeom>
                <a:avLst/>
                <a:gdLst>
                  <a:gd name="connsiteX0" fmla="*/ 31211 w 30821"/>
                  <a:gd name="connsiteY0" fmla="*/ 13987 h 27813"/>
                  <a:gd name="connsiteX1" fmla="*/ 15801 w 30821"/>
                  <a:gd name="connsiteY1" fmla="*/ 27894 h 27813"/>
                  <a:gd name="connsiteX2" fmla="*/ 390 w 30821"/>
                  <a:gd name="connsiteY2" fmla="*/ 13987 h 27813"/>
                  <a:gd name="connsiteX3" fmla="*/ 15801 w 30821"/>
                  <a:gd name="connsiteY3" fmla="*/ 81 h 27813"/>
                  <a:gd name="connsiteX4" fmla="*/ 31211 w 30821"/>
                  <a:gd name="connsiteY4" fmla="*/ 13987 h 27813"/>
                  <a:gd name="connsiteX5" fmla="*/ 31211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11" y="13987"/>
                    </a:moveTo>
                    <a:cubicBezTo>
                      <a:pt x="31211" y="21702"/>
                      <a:pt x="24350" y="27894"/>
                      <a:pt x="15801" y="27894"/>
                    </a:cubicBezTo>
                    <a:cubicBezTo>
                      <a:pt x="7251" y="27894"/>
                      <a:pt x="390" y="21702"/>
                      <a:pt x="390" y="13987"/>
                    </a:cubicBezTo>
                    <a:cubicBezTo>
                      <a:pt x="390" y="6272"/>
                      <a:pt x="7251" y="81"/>
                      <a:pt x="15801" y="81"/>
                    </a:cubicBezTo>
                    <a:cubicBezTo>
                      <a:pt x="24350" y="81"/>
                      <a:pt x="31211" y="6272"/>
                      <a:pt x="31211" y="13987"/>
                    </a:cubicBezTo>
                    <a:lnTo>
                      <a:pt x="31211" y="1398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12" name="Freeform: Shape 411">
                <a:extLst>
                  <a:ext uri="{FF2B5EF4-FFF2-40B4-BE49-F238E27FC236}">
                    <a16:creationId xmlns:a16="http://schemas.microsoft.com/office/drawing/2014/main" id="{88DC807E-231F-1408-5E2B-53381C690B17}"/>
                  </a:ext>
                </a:extLst>
              </p:cNvPr>
              <p:cNvSpPr/>
              <p:nvPr/>
            </p:nvSpPr>
            <p:spPr>
              <a:xfrm>
                <a:off x="11367035" y="2950758"/>
                <a:ext cx="30821" cy="27813"/>
              </a:xfrm>
              <a:custGeom>
                <a:avLst/>
                <a:gdLst>
                  <a:gd name="connsiteX0" fmla="*/ 31214 w 30821"/>
                  <a:gd name="connsiteY0" fmla="*/ 13987 h 27813"/>
                  <a:gd name="connsiteX1" fmla="*/ 15804 w 30821"/>
                  <a:gd name="connsiteY1" fmla="*/ 27894 h 27813"/>
                  <a:gd name="connsiteX2" fmla="*/ 393 w 30821"/>
                  <a:gd name="connsiteY2" fmla="*/ 13987 h 27813"/>
                  <a:gd name="connsiteX3" fmla="*/ 15804 w 30821"/>
                  <a:gd name="connsiteY3" fmla="*/ 81 h 27813"/>
                  <a:gd name="connsiteX4" fmla="*/ 31214 w 30821"/>
                  <a:gd name="connsiteY4" fmla="*/ 13987 h 27813"/>
                  <a:gd name="connsiteX5" fmla="*/ 31214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14" y="13987"/>
                    </a:moveTo>
                    <a:cubicBezTo>
                      <a:pt x="31214" y="21702"/>
                      <a:pt x="24353" y="27894"/>
                      <a:pt x="15804" y="27894"/>
                    </a:cubicBezTo>
                    <a:cubicBezTo>
                      <a:pt x="7254" y="27894"/>
                      <a:pt x="393" y="21702"/>
                      <a:pt x="393" y="13987"/>
                    </a:cubicBezTo>
                    <a:cubicBezTo>
                      <a:pt x="393" y="6272"/>
                      <a:pt x="7254" y="81"/>
                      <a:pt x="15804" y="81"/>
                    </a:cubicBezTo>
                    <a:cubicBezTo>
                      <a:pt x="24353" y="81"/>
                      <a:pt x="31214" y="6272"/>
                      <a:pt x="31214" y="13987"/>
                    </a:cubicBezTo>
                    <a:lnTo>
                      <a:pt x="31214" y="1398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13" name="Freeform: Shape 412">
                <a:extLst>
                  <a:ext uri="{FF2B5EF4-FFF2-40B4-BE49-F238E27FC236}">
                    <a16:creationId xmlns:a16="http://schemas.microsoft.com/office/drawing/2014/main" id="{DDE3A2B9-1869-7647-0F89-B1DA97D8D3D6}"/>
                  </a:ext>
                </a:extLst>
              </p:cNvPr>
              <p:cNvSpPr/>
              <p:nvPr/>
            </p:nvSpPr>
            <p:spPr>
              <a:xfrm>
                <a:off x="11398701" y="2950758"/>
                <a:ext cx="30821" cy="27813"/>
              </a:xfrm>
              <a:custGeom>
                <a:avLst/>
                <a:gdLst>
                  <a:gd name="connsiteX0" fmla="*/ 31217 w 30821"/>
                  <a:gd name="connsiteY0" fmla="*/ 13987 h 27813"/>
                  <a:gd name="connsiteX1" fmla="*/ 15807 w 30821"/>
                  <a:gd name="connsiteY1" fmla="*/ 27894 h 27813"/>
                  <a:gd name="connsiteX2" fmla="*/ 396 w 30821"/>
                  <a:gd name="connsiteY2" fmla="*/ 13987 h 27813"/>
                  <a:gd name="connsiteX3" fmla="*/ 15807 w 30821"/>
                  <a:gd name="connsiteY3" fmla="*/ 81 h 27813"/>
                  <a:gd name="connsiteX4" fmla="*/ 31217 w 30821"/>
                  <a:gd name="connsiteY4" fmla="*/ 13987 h 27813"/>
                  <a:gd name="connsiteX5" fmla="*/ 31217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17" y="13987"/>
                    </a:moveTo>
                    <a:cubicBezTo>
                      <a:pt x="31217" y="21702"/>
                      <a:pt x="24356" y="27894"/>
                      <a:pt x="15807" y="27894"/>
                    </a:cubicBezTo>
                    <a:cubicBezTo>
                      <a:pt x="7257" y="27894"/>
                      <a:pt x="396" y="21702"/>
                      <a:pt x="396" y="13987"/>
                    </a:cubicBezTo>
                    <a:cubicBezTo>
                      <a:pt x="396" y="6272"/>
                      <a:pt x="7257" y="81"/>
                      <a:pt x="15807" y="81"/>
                    </a:cubicBezTo>
                    <a:cubicBezTo>
                      <a:pt x="24356" y="81"/>
                      <a:pt x="31217" y="6272"/>
                      <a:pt x="31217" y="13987"/>
                    </a:cubicBezTo>
                    <a:lnTo>
                      <a:pt x="31217" y="1398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14" name="Freeform: Shape 413">
                <a:extLst>
                  <a:ext uri="{FF2B5EF4-FFF2-40B4-BE49-F238E27FC236}">
                    <a16:creationId xmlns:a16="http://schemas.microsoft.com/office/drawing/2014/main" id="{539EDA97-50F3-9558-1F37-ACFFD24FEB9A}"/>
                  </a:ext>
                </a:extLst>
              </p:cNvPr>
              <p:cNvSpPr/>
              <p:nvPr/>
            </p:nvSpPr>
            <p:spPr>
              <a:xfrm>
                <a:off x="11440922" y="2950758"/>
                <a:ext cx="30821" cy="27813"/>
              </a:xfrm>
              <a:custGeom>
                <a:avLst/>
                <a:gdLst>
                  <a:gd name="connsiteX0" fmla="*/ 31221 w 30821"/>
                  <a:gd name="connsiteY0" fmla="*/ 13987 h 27813"/>
                  <a:gd name="connsiteX1" fmla="*/ 15811 w 30821"/>
                  <a:gd name="connsiteY1" fmla="*/ 27894 h 27813"/>
                  <a:gd name="connsiteX2" fmla="*/ 400 w 30821"/>
                  <a:gd name="connsiteY2" fmla="*/ 13987 h 27813"/>
                  <a:gd name="connsiteX3" fmla="*/ 15811 w 30821"/>
                  <a:gd name="connsiteY3" fmla="*/ 81 h 27813"/>
                  <a:gd name="connsiteX4" fmla="*/ 31221 w 30821"/>
                  <a:gd name="connsiteY4" fmla="*/ 13987 h 27813"/>
                  <a:gd name="connsiteX5" fmla="*/ 31221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21" y="13987"/>
                    </a:moveTo>
                    <a:cubicBezTo>
                      <a:pt x="31221" y="21702"/>
                      <a:pt x="24360" y="27894"/>
                      <a:pt x="15811" y="27894"/>
                    </a:cubicBezTo>
                    <a:cubicBezTo>
                      <a:pt x="7261" y="27894"/>
                      <a:pt x="400" y="21702"/>
                      <a:pt x="400" y="13987"/>
                    </a:cubicBezTo>
                    <a:cubicBezTo>
                      <a:pt x="400" y="6272"/>
                      <a:pt x="7261" y="81"/>
                      <a:pt x="15811" y="81"/>
                    </a:cubicBezTo>
                    <a:cubicBezTo>
                      <a:pt x="24360" y="81"/>
                      <a:pt x="31221" y="6272"/>
                      <a:pt x="31221" y="13987"/>
                    </a:cubicBezTo>
                    <a:lnTo>
                      <a:pt x="31221" y="1398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15" name="Freeform: Shape 414">
                <a:extLst>
                  <a:ext uri="{FF2B5EF4-FFF2-40B4-BE49-F238E27FC236}">
                    <a16:creationId xmlns:a16="http://schemas.microsoft.com/office/drawing/2014/main" id="{BEFA2F84-C14D-E5FC-AB1F-71DD0D840D53}"/>
                  </a:ext>
                </a:extLst>
              </p:cNvPr>
              <p:cNvSpPr/>
              <p:nvPr/>
            </p:nvSpPr>
            <p:spPr>
              <a:xfrm>
                <a:off x="11512909" y="2952663"/>
                <a:ext cx="30821" cy="27813"/>
              </a:xfrm>
              <a:custGeom>
                <a:avLst/>
                <a:gdLst>
                  <a:gd name="connsiteX0" fmla="*/ 31228 w 30821"/>
                  <a:gd name="connsiteY0" fmla="*/ 13987 h 27813"/>
                  <a:gd name="connsiteX1" fmla="*/ 15817 w 30821"/>
                  <a:gd name="connsiteY1" fmla="*/ 27894 h 27813"/>
                  <a:gd name="connsiteX2" fmla="*/ 407 w 30821"/>
                  <a:gd name="connsiteY2" fmla="*/ 13987 h 27813"/>
                  <a:gd name="connsiteX3" fmla="*/ 15817 w 30821"/>
                  <a:gd name="connsiteY3" fmla="*/ 81 h 27813"/>
                  <a:gd name="connsiteX4" fmla="*/ 31228 w 30821"/>
                  <a:gd name="connsiteY4" fmla="*/ 13987 h 27813"/>
                  <a:gd name="connsiteX5" fmla="*/ 31228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28" y="13987"/>
                    </a:moveTo>
                    <a:cubicBezTo>
                      <a:pt x="31228" y="21703"/>
                      <a:pt x="24367" y="27894"/>
                      <a:pt x="15817" y="27894"/>
                    </a:cubicBezTo>
                    <a:cubicBezTo>
                      <a:pt x="7268" y="27894"/>
                      <a:pt x="407" y="21703"/>
                      <a:pt x="407" y="13987"/>
                    </a:cubicBezTo>
                    <a:cubicBezTo>
                      <a:pt x="407" y="6272"/>
                      <a:pt x="7268" y="81"/>
                      <a:pt x="15817" y="81"/>
                    </a:cubicBezTo>
                    <a:cubicBezTo>
                      <a:pt x="24367" y="81"/>
                      <a:pt x="31228" y="6272"/>
                      <a:pt x="31228" y="13987"/>
                    </a:cubicBezTo>
                    <a:lnTo>
                      <a:pt x="31228" y="13987"/>
                    </a:lnTo>
                    <a:close/>
                  </a:path>
                </a:pathLst>
              </a:custGeom>
              <a:noFill/>
              <a:ln w="1270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grpSp>
        <p:grpSp>
          <p:nvGrpSpPr>
            <p:cNvPr id="232" name="Graphic 60">
              <a:extLst>
                <a:ext uri="{FF2B5EF4-FFF2-40B4-BE49-F238E27FC236}">
                  <a16:creationId xmlns:a16="http://schemas.microsoft.com/office/drawing/2014/main" id="{000E404E-3A29-3BE7-4BE4-531729D6CDC0}"/>
                </a:ext>
              </a:extLst>
            </p:cNvPr>
            <p:cNvGrpSpPr/>
            <p:nvPr/>
          </p:nvGrpSpPr>
          <p:grpSpPr>
            <a:xfrm>
              <a:off x="7273389" y="2182090"/>
              <a:ext cx="4121195" cy="918782"/>
              <a:chOff x="7273389" y="2182090"/>
              <a:chExt cx="4121195" cy="918782"/>
            </a:xfrm>
          </p:grpSpPr>
          <p:sp>
            <p:nvSpPr>
              <p:cNvPr id="233" name="Freeform: Shape 232">
                <a:extLst>
                  <a:ext uri="{FF2B5EF4-FFF2-40B4-BE49-F238E27FC236}">
                    <a16:creationId xmlns:a16="http://schemas.microsoft.com/office/drawing/2014/main" id="{5C2E2E6D-D48E-991E-C025-789DBD56F784}"/>
                  </a:ext>
                </a:extLst>
              </p:cNvPr>
              <p:cNvSpPr/>
              <p:nvPr/>
            </p:nvSpPr>
            <p:spPr>
              <a:xfrm>
                <a:off x="7273389" y="2182090"/>
                <a:ext cx="30821" cy="27813"/>
              </a:xfrm>
              <a:custGeom>
                <a:avLst/>
                <a:gdLst>
                  <a:gd name="connsiteX0" fmla="*/ 30826 w 30821"/>
                  <a:gd name="connsiteY0" fmla="*/ 13907 h 27813"/>
                  <a:gd name="connsiteX1" fmla="*/ 15416 w 30821"/>
                  <a:gd name="connsiteY1" fmla="*/ 27813 h 27813"/>
                  <a:gd name="connsiteX2" fmla="*/ 5 w 30821"/>
                  <a:gd name="connsiteY2" fmla="*/ 13907 h 27813"/>
                  <a:gd name="connsiteX3" fmla="*/ 15416 w 30821"/>
                  <a:gd name="connsiteY3" fmla="*/ 0 h 27813"/>
                  <a:gd name="connsiteX4" fmla="*/ 30826 w 30821"/>
                  <a:gd name="connsiteY4" fmla="*/ 13907 h 27813"/>
                  <a:gd name="connsiteX5" fmla="*/ 30826 w 30821"/>
                  <a:gd name="connsiteY5" fmla="*/ 1390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26" y="13907"/>
                    </a:moveTo>
                    <a:cubicBezTo>
                      <a:pt x="30826" y="21622"/>
                      <a:pt x="23965" y="27813"/>
                      <a:pt x="15416" y="27813"/>
                    </a:cubicBezTo>
                    <a:cubicBezTo>
                      <a:pt x="6866" y="27813"/>
                      <a:pt x="5" y="21622"/>
                      <a:pt x="5" y="13907"/>
                    </a:cubicBezTo>
                    <a:cubicBezTo>
                      <a:pt x="5" y="6191"/>
                      <a:pt x="6866" y="0"/>
                      <a:pt x="15416" y="0"/>
                    </a:cubicBezTo>
                    <a:cubicBezTo>
                      <a:pt x="23965" y="0"/>
                      <a:pt x="30826" y="6191"/>
                      <a:pt x="30826" y="13907"/>
                    </a:cubicBezTo>
                    <a:lnTo>
                      <a:pt x="30826" y="1390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34" name="Freeform: Shape 233">
                <a:extLst>
                  <a:ext uri="{FF2B5EF4-FFF2-40B4-BE49-F238E27FC236}">
                    <a16:creationId xmlns:a16="http://schemas.microsoft.com/office/drawing/2014/main" id="{9D14BF80-9650-EB64-3FB9-D27A1A181DA6}"/>
                  </a:ext>
                </a:extLst>
              </p:cNvPr>
              <p:cNvSpPr/>
              <p:nvPr/>
            </p:nvSpPr>
            <p:spPr>
              <a:xfrm>
                <a:off x="7357831" y="2182090"/>
                <a:ext cx="30821" cy="27813"/>
              </a:xfrm>
              <a:custGeom>
                <a:avLst/>
                <a:gdLst>
                  <a:gd name="connsiteX0" fmla="*/ 30834 w 30821"/>
                  <a:gd name="connsiteY0" fmla="*/ 13907 h 27813"/>
                  <a:gd name="connsiteX1" fmla="*/ 15424 w 30821"/>
                  <a:gd name="connsiteY1" fmla="*/ 27813 h 27813"/>
                  <a:gd name="connsiteX2" fmla="*/ 13 w 30821"/>
                  <a:gd name="connsiteY2" fmla="*/ 13907 h 27813"/>
                  <a:gd name="connsiteX3" fmla="*/ 15424 w 30821"/>
                  <a:gd name="connsiteY3" fmla="*/ 0 h 27813"/>
                  <a:gd name="connsiteX4" fmla="*/ 30834 w 30821"/>
                  <a:gd name="connsiteY4" fmla="*/ 13907 h 27813"/>
                  <a:gd name="connsiteX5" fmla="*/ 30834 w 30821"/>
                  <a:gd name="connsiteY5" fmla="*/ 1390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34" y="13907"/>
                    </a:moveTo>
                    <a:cubicBezTo>
                      <a:pt x="30834" y="21622"/>
                      <a:pt x="23973" y="27813"/>
                      <a:pt x="15424" y="27813"/>
                    </a:cubicBezTo>
                    <a:cubicBezTo>
                      <a:pt x="6874" y="27813"/>
                      <a:pt x="13" y="21622"/>
                      <a:pt x="13" y="13907"/>
                    </a:cubicBezTo>
                    <a:cubicBezTo>
                      <a:pt x="13" y="6191"/>
                      <a:pt x="6874" y="0"/>
                      <a:pt x="15424" y="0"/>
                    </a:cubicBezTo>
                    <a:cubicBezTo>
                      <a:pt x="23973" y="0"/>
                      <a:pt x="30834" y="6191"/>
                      <a:pt x="30834" y="13907"/>
                    </a:cubicBezTo>
                    <a:lnTo>
                      <a:pt x="30834" y="1390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35" name="Freeform: Shape 234">
                <a:extLst>
                  <a:ext uri="{FF2B5EF4-FFF2-40B4-BE49-F238E27FC236}">
                    <a16:creationId xmlns:a16="http://schemas.microsoft.com/office/drawing/2014/main" id="{A400563C-69DA-BA63-8CB7-DC8147E9BF1A}"/>
                  </a:ext>
                </a:extLst>
              </p:cNvPr>
              <p:cNvSpPr/>
              <p:nvPr/>
            </p:nvSpPr>
            <p:spPr>
              <a:xfrm>
                <a:off x="7410607" y="2191615"/>
                <a:ext cx="30821" cy="27813"/>
              </a:xfrm>
              <a:custGeom>
                <a:avLst/>
                <a:gdLst>
                  <a:gd name="connsiteX0" fmla="*/ 30839 w 30821"/>
                  <a:gd name="connsiteY0" fmla="*/ 13908 h 27813"/>
                  <a:gd name="connsiteX1" fmla="*/ 15429 w 30821"/>
                  <a:gd name="connsiteY1" fmla="*/ 27814 h 27813"/>
                  <a:gd name="connsiteX2" fmla="*/ 18 w 30821"/>
                  <a:gd name="connsiteY2" fmla="*/ 13908 h 27813"/>
                  <a:gd name="connsiteX3" fmla="*/ 15429 w 30821"/>
                  <a:gd name="connsiteY3" fmla="*/ 1 h 27813"/>
                  <a:gd name="connsiteX4" fmla="*/ 30839 w 30821"/>
                  <a:gd name="connsiteY4" fmla="*/ 13908 h 27813"/>
                  <a:gd name="connsiteX5" fmla="*/ 30839 w 30821"/>
                  <a:gd name="connsiteY5" fmla="*/ 1390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39" y="13908"/>
                    </a:moveTo>
                    <a:cubicBezTo>
                      <a:pt x="30839" y="21623"/>
                      <a:pt x="23978" y="27814"/>
                      <a:pt x="15429" y="27814"/>
                    </a:cubicBezTo>
                    <a:cubicBezTo>
                      <a:pt x="6879" y="27814"/>
                      <a:pt x="18" y="21623"/>
                      <a:pt x="18" y="13908"/>
                    </a:cubicBezTo>
                    <a:cubicBezTo>
                      <a:pt x="18" y="6192"/>
                      <a:pt x="6879" y="1"/>
                      <a:pt x="15429" y="1"/>
                    </a:cubicBezTo>
                    <a:cubicBezTo>
                      <a:pt x="23978" y="1"/>
                      <a:pt x="30839" y="6192"/>
                      <a:pt x="30839" y="13908"/>
                    </a:cubicBezTo>
                    <a:lnTo>
                      <a:pt x="30839" y="1390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36" name="Freeform: Shape 235">
                <a:extLst>
                  <a:ext uri="{FF2B5EF4-FFF2-40B4-BE49-F238E27FC236}">
                    <a16:creationId xmlns:a16="http://schemas.microsoft.com/office/drawing/2014/main" id="{ABC9E0EF-C725-283E-AD71-778E414522FA}"/>
                  </a:ext>
                </a:extLst>
              </p:cNvPr>
              <p:cNvSpPr/>
              <p:nvPr/>
            </p:nvSpPr>
            <p:spPr>
              <a:xfrm>
                <a:off x="7452934" y="2191615"/>
                <a:ext cx="30821" cy="27813"/>
              </a:xfrm>
              <a:custGeom>
                <a:avLst/>
                <a:gdLst>
                  <a:gd name="connsiteX0" fmla="*/ 30843 w 30821"/>
                  <a:gd name="connsiteY0" fmla="*/ 13908 h 27813"/>
                  <a:gd name="connsiteX1" fmla="*/ 15433 w 30821"/>
                  <a:gd name="connsiteY1" fmla="*/ 27814 h 27813"/>
                  <a:gd name="connsiteX2" fmla="*/ 22 w 30821"/>
                  <a:gd name="connsiteY2" fmla="*/ 13908 h 27813"/>
                  <a:gd name="connsiteX3" fmla="*/ 15433 w 30821"/>
                  <a:gd name="connsiteY3" fmla="*/ 1 h 27813"/>
                  <a:gd name="connsiteX4" fmla="*/ 30843 w 30821"/>
                  <a:gd name="connsiteY4" fmla="*/ 13908 h 27813"/>
                  <a:gd name="connsiteX5" fmla="*/ 30843 w 30821"/>
                  <a:gd name="connsiteY5" fmla="*/ 1390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43" y="13908"/>
                    </a:moveTo>
                    <a:cubicBezTo>
                      <a:pt x="30843" y="21623"/>
                      <a:pt x="23983" y="27814"/>
                      <a:pt x="15433" y="27814"/>
                    </a:cubicBezTo>
                    <a:cubicBezTo>
                      <a:pt x="6883" y="27814"/>
                      <a:pt x="22" y="21623"/>
                      <a:pt x="22" y="13908"/>
                    </a:cubicBezTo>
                    <a:cubicBezTo>
                      <a:pt x="22" y="6192"/>
                      <a:pt x="6883" y="1"/>
                      <a:pt x="15433" y="1"/>
                    </a:cubicBezTo>
                    <a:cubicBezTo>
                      <a:pt x="23983" y="1"/>
                      <a:pt x="30843" y="6192"/>
                      <a:pt x="30843" y="13908"/>
                    </a:cubicBezTo>
                    <a:lnTo>
                      <a:pt x="30843" y="1390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37" name="Freeform: Shape 236">
                <a:extLst>
                  <a:ext uri="{FF2B5EF4-FFF2-40B4-BE49-F238E27FC236}">
                    <a16:creationId xmlns:a16="http://schemas.microsoft.com/office/drawing/2014/main" id="{595E0312-91E3-59E2-C59A-F875C758F52E}"/>
                  </a:ext>
                </a:extLst>
              </p:cNvPr>
              <p:cNvSpPr/>
              <p:nvPr/>
            </p:nvSpPr>
            <p:spPr>
              <a:xfrm>
                <a:off x="7528509" y="2220190"/>
                <a:ext cx="30821" cy="27813"/>
              </a:xfrm>
              <a:custGeom>
                <a:avLst/>
                <a:gdLst>
                  <a:gd name="connsiteX0" fmla="*/ 30851 w 30821"/>
                  <a:gd name="connsiteY0" fmla="*/ 13911 h 27813"/>
                  <a:gd name="connsiteX1" fmla="*/ 15440 w 30821"/>
                  <a:gd name="connsiteY1" fmla="*/ 27817 h 27813"/>
                  <a:gd name="connsiteX2" fmla="*/ 29 w 30821"/>
                  <a:gd name="connsiteY2" fmla="*/ 13911 h 27813"/>
                  <a:gd name="connsiteX3" fmla="*/ 15440 w 30821"/>
                  <a:gd name="connsiteY3" fmla="*/ 4 h 27813"/>
                  <a:gd name="connsiteX4" fmla="*/ 30851 w 30821"/>
                  <a:gd name="connsiteY4" fmla="*/ 13911 h 27813"/>
                  <a:gd name="connsiteX5" fmla="*/ 30851 w 30821"/>
                  <a:gd name="connsiteY5" fmla="*/ 1391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51" y="13911"/>
                    </a:moveTo>
                    <a:cubicBezTo>
                      <a:pt x="30851" y="21626"/>
                      <a:pt x="23990" y="27817"/>
                      <a:pt x="15440" y="27817"/>
                    </a:cubicBezTo>
                    <a:cubicBezTo>
                      <a:pt x="6890" y="27817"/>
                      <a:pt x="29" y="21626"/>
                      <a:pt x="29" y="13911"/>
                    </a:cubicBezTo>
                    <a:cubicBezTo>
                      <a:pt x="29" y="6195"/>
                      <a:pt x="6890" y="4"/>
                      <a:pt x="15440" y="4"/>
                    </a:cubicBezTo>
                    <a:cubicBezTo>
                      <a:pt x="23990" y="4"/>
                      <a:pt x="30851" y="6195"/>
                      <a:pt x="30851" y="13911"/>
                    </a:cubicBezTo>
                    <a:lnTo>
                      <a:pt x="30851" y="13911"/>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38" name="Freeform: Shape 237">
                <a:extLst>
                  <a:ext uri="{FF2B5EF4-FFF2-40B4-BE49-F238E27FC236}">
                    <a16:creationId xmlns:a16="http://schemas.microsoft.com/office/drawing/2014/main" id="{D6A00114-9918-7DF5-0A10-36FA6B635496}"/>
                  </a:ext>
                </a:extLst>
              </p:cNvPr>
              <p:cNvSpPr/>
              <p:nvPr/>
            </p:nvSpPr>
            <p:spPr>
              <a:xfrm>
                <a:off x="7579597" y="2220190"/>
                <a:ext cx="30821" cy="27813"/>
              </a:xfrm>
              <a:custGeom>
                <a:avLst/>
                <a:gdLst>
                  <a:gd name="connsiteX0" fmla="*/ 30855 w 30821"/>
                  <a:gd name="connsiteY0" fmla="*/ 13911 h 27813"/>
                  <a:gd name="connsiteX1" fmla="*/ 15445 w 30821"/>
                  <a:gd name="connsiteY1" fmla="*/ 27817 h 27813"/>
                  <a:gd name="connsiteX2" fmla="*/ 34 w 30821"/>
                  <a:gd name="connsiteY2" fmla="*/ 13911 h 27813"/>
                  <a:gd name="connsiteX3" fmla="*/ 15445 w 30821"/>
                  <a:gd name="connsiteY3" fmla="*/ 4 h 27813"/>
                  <a:gd name="connsiteX4" fmla="*/ 30855 w 30821"/>
                  <a:gd name="connsiteY4" fmla="*/ 13911 h 27813"/>
                  <a:gd name="connsiteX5" fmla="*/ 30855 w 30821"/>
                  <a:gd name="connsiteY5" fmla="*/ 1391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55" y="13911"/>
                    </a:moveTo>
                    <a:cubicBezTo>
                      <a:pt x="30855" y="21626"/>
                      <a:pt x="23995" y="27817"/>
                      <a:pt x="15445" y="27817"/>
                    </a:cubicBezTo>
                    <a:cubicBezTo>
                      <a:pt x="6895" y="27817"/>
                      <a:pt x="34" y="21626"/>
                      <a:pt x="34" y="13911"/>
                    </a:cubicBezTo>
                    <a:cubicBezTo>
                      <a:pt x="34" y="6195"/>
                      <a:pt x="6895" y="4"/>
                      <a:pt x="15445" y="4"/>
                    </a:cubicBezTo>
                    <a:cubicBezTo>
                      <a:pt x="23995" y="4"/>
                      <a:pt x="30855" y="6195"/>
                      <a:pt x="30855" y="13911"/>
                    </a:cubicBezTo>
                    <a:lnTo>
                      <a:pt x="30855" y="13911"/>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39" name="Freeform: Shape 238">
                <a:extLst>
                  <a:ext uri="{FF2B5EF4-FFF2-40B4-BE49-F238E27FC236}">
                    <a16:creationId xmlns:a16="http://schemas.microsoft.com/office/drawing/2014/main" id="{C746FEDD-6EE2-E706-91E6-6BC95A70E177}"/>
                  </a:ext>
                </a:extLst>
              </p:cNvPr>
              <p:cNvSpPr/>
              <p:nvPr/>
            </p:nvSpPr>
            <p:spPr>
              <a:xfrm>
                <a:off x="7615590" y="2229715"/>
                <a:ext cx="30821" cy="27813"/>
              </a:xfrm>
              <a:custGeom>
                <a:avLst/>
                <a:gdLst>
                  <a:gd name="connsiteX0" fmla="*/ 30859 w 30821"/>
                  <a:gd name="connsiteY0" fmla="*/ 13912 h 27813"/>
                  <a:gd name="connsiteX1" fmla="*/ 15448 w 30821"/>
                  <a:gd name="connsiteY1" fmla="*/ 27818 h 27813"/>
                  <a:gd name="connsiteX2" fmla="*/ 37 w 30821"/>
                  <a:gd name="connsiteY2" fmla="*/ 13912 h 27813"/>
                  <a:gd name="connsiteX3" fmla="*/ 15448 w 30821"/>
                  <a:gd name="connsiteY3" fmla="*/ 5 h 27813"/>
                  <a:gd name="connsiteX4" fmla="*/ 30859 w 30821"/>
                  <a:gd name="connsiteY4" fmla="*/ 13912 h 27813"/>
                  <a:gd name="connsiteX5" fmla="*/ 30859 w 30821"/>
                  <a:gd name="connsiteY5" fmla="*/ 1391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59" y="13912"/>
                    </a:moveTo>
                    <a:cubicBezTo>
                      <a:pt x="30859" y="21627"/>
                      <a:pt x="23998" y="27818"/>
                      <a:pt x="15448" y="27818"/>
                    </a:cubicBezTo>
                    <a:cubicBezTo>
                      <a:pt x="6898" y="27818"/>
                      <a:pt x="37" y="21627"/>
                      <a:pt x="37" y="13912"/>
                    </a:cubicBezTo>
                    <a:cubicBezTo>
                      <a:pt x="37" y="6196"/>
                      <a:pt x="6898" y="5"/>
                      <a:pt x="15448" y="5"/>
                    </a:cubicBezTo>
                    <a:cubicBezTo>
                      <a:pt x="23998" y="5"/>
                      <a:pt x="30859" y="6196"/>
                      <a:pt x="30859" y="13912"/>
                    </a:cubicBezTo>
                    <a:lnTo>
                      <a:pt x="30859" y="13912"/>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40" name="Freeform: Shape 239">
                <a:extLst>
                  <a:ext uri="{FF2B5EF4-FFF2-40B4-BE49-F238E27FC236}">
                    <a16:creationId xmlns:a16="http://schemas.microsoft.com/office/drawing/2014/main" id="{2028F16D-08EC-B02D-204B-086AF9ABA018}"/>
                  </a:ext>
                </a:extLst>
              </p:cNvPr>
              <p:cNvSpPr/>
              <p:nvPr/>
            </p:nvSpPr>
            <p:spPr>
              <a:xfrm>
                <a:off x="7641978" y="2238859"/>
                <a:ext cx="30821" cy="27813"/>
              </a:xfrm>
              <a:custGeom>
                <a:avLst/>
                <a:gdLst>
                  <a:gd name="connsiteX0" fmla="*/ 30861 w 30821"/>
                  <a:gd name="connsiteY0" fmla="*/ 13912 h 27813"/>
                  <a:gd name="connsiteX1" fmla="*/ 15451 w 30821"/>
                  <a:gd name="connsiteY1" fmla="*/ 27819 h 27813"/>
                  <a:gd name="connsiteX2" fmla="*/ 40 w 30821"/>
                  <a:gd name="connsiteY2" fmla="*/ 13912 h 27813"/>
                  <a:gd name="connsiteX3" fmla="*/ 15451 w 30821"/>
                  <a:gd name="connsiteY3" fmla="*/ 6 h 27813"/>
                  <a:gd name="connsiteX4" fmla="*/ 30861 w 30821"/>
                  <a:gd name="connsiteY4" fmla="*/ 13912 h 27813"/>
                  <a:gd name="connsiteX5" fmla="*/ 30861 w 30821"/>
                  <a:gd name="connsiteY5" fmla="*/ 1391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61" y="13912"/>
                    </a:moveTo>
                    <a:cubicBezTo>
                      <a:pt x="30861" y="21628"/>
                      <a:pt x="24000" y="27819"/>
                      <a:pt x="15451" y="27819"/>
                    </a:cubicBezTo>
                    <a:cubicBezTo>
                      <a:pt x="6901" y="27819"/>
                      <a:pt x="40" y="21628"/>
                      <a:pt x="40" y="13912"/>
                    </a:cubicBezTo>
                    <a:cubicBezTo>
                      <a:pt x="40" y="6197"/>
                      <a:pt x="6901" y="6"/>
                      <a:pt x="15451" y="6"/>
                    </a:cubicBezTo>
                    <a:cubicBezTo>
                      <a:pt x="24000" y="6"/>
                      <a:pt x="30861" y="6197"/>
                      <a:pt x="30861" y="13912"/>
                    </a:cubicBezTo>
                    <a:lnTo>
                      <a:pt x="30861" y="13912"/>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41" name="Freeform: Shape 240">
                <a:extLst>
                  <a:ext uri="{FF2B5EF4-FFF2-40B4-BE49-F238E27FC236}">
                    <a16:creationId xmlns:a16="http://schemas.microsoft.com/office/drawing/2014/main" id="{F8639283-496B-BAAB-A90D-843491CDE7A2}"/>
                  </a:ext>
                </a:extLst>
              </p:cNvPr>
              <p:cNvSpPr/>
              <p:nvPr/>
            </p:nvSpPr>
            <p:spPr>
              <a:xfrm>
                <a:off x="7737503" y="2243622"/>
                <a:ext cx="30821" cy="27813"/>
              </a:xfrm>
              <a:custGeom>
                <a:avLst/>
                <a:gdLst>
                  <a:gd name="connsiteX0" fmla="*/ 30870 w 30821"/>
                  <a:gd name="connsiteY0" fmla="*/ 13913 h 27813"/>
                  <a:gd name="connsiteX1" fmla="*/ 15460 w 30821"/>
                  <a:gd name="connsiteY1" fmla="*/ 27819 h 27813"/>
                  <a:gd name="connsiteX2" fmla="*/ 49 w 30821"/>
                  <a:gd name="connsiteY2" fmla="*/ 13913 h 27813"/>
                  <a:gd name="connsiteX3" fmla="*/ 15460 w 30821"/>
                  <a:gd name="connsiteY3" fmla="*/ 6 h 27813"/>
                  <a:gd name="connsiteX4" fmla="*/ 30870 w 30821"/>
                  <a:gd name="connsiteY4" fmla="*/ 13913 h 27813"/>
                  <a:gd name="connsiteX5" fmla="*/ 30870 w 30821"/>
                  <a:gd name="connsiteY5" fmla="*/ 1391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70" y="13913"/>
                    </a:moveTo>
                    <a:cubicBezTo>
                      <a:pt x="30870" y="21628"/>
                      <a:pt x="24009" y="27819"/>
                      <a:pt x="15460" y="27819"/>
                    </a:cubicBezTo>
                    <a:cubicBezTo>
                      <a:pt x="6910" y="27819"/>
                      <a:pt x="49" y="21628"/>
                      <a:pt x="49" y="13913"/>
                    </a:cubicBezTo>
                    <a:cubicBezTo>
                      <a:pt x="49" y="6198"/>
                      <a:pt x="6910" y="6"/>
                      <a:pt x="15460" y="6"/>
                    </a:cubicBezTo>
                    <a:cubicBezTo>
                      <a:pt x="24009" y="6"/>
                      <a:pt x="30870" y="6198"/>
                      <a:pt x="30870" y="13913"/>
                    </a:cubicBezTo>
                    <a:lnTo>
                      <a:pt x="30870" y="13913"/>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42" name="Freeform: Shape 241">
                <a:extLst>
                  <a:ext uri="{FF2B5EF4-FFF2-40B4-BE49-F238E27FC236}">
                    <a16:creationId xmlns:a16="http://schemas.microsoft.com/office/drawing/2014/main" id="{017093E8-9EBA-1753-0617-5E6B91C24446}"/>
                  </a:ext>
                </a:extLst>
              </p:cNvPr>
              <p:cNvSpPr/>
              <p:nvPr/>
            </p:nvSpPr>
            <p:spPr>
              <a:xfrm>
                <a:off x="7771808" y="2243622"/>
                <a:ext cx="30821" cy="27813"/>
              </a:xfrm>
              <a:custGeom>
                <a:avLst/>
                <a:gdLst>
                  <a:gd name="connsiteX0" fmla="*/ 30874 w 30821"/>
                  <a:gd name="connsiteY0" fmla="*/ 13913 h 27813"/>
                  <a:gd name="connsiteX1" fmla="*/ 15463 w 30821"/>
                  <a:gd name="connsiteY1" fmla="*/ 27819 h 27813"/>
                  <a:gd name="connsiteX2" fmla="*/ 52 w 30821"/>
                  <a:gd name="connsiteY2" fmla="*/ 13913 h 27813"/>
                  <a:gd name="connsiteX3" fmla="*/ 15463 w 30821"/>
                  <a:gd name="connsiteY3" fmla="*/ 6 h 27813"/>
                  <a:gd name="connsiteX4" fmla="*/ 30874 w 30821"/>
                  <a:gd name="connsiteY4" fmla="*/ 13913 h 27813"/>
                  <a:gd name="connsiteX5" fmla="*/ 30874 w 30821"/>
                  <a:gd name="connsiteY5" fmla="*/ 1391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74" y="13913"/>
                    </a:moveTo>
                    <a:cubicBezTo>
                      <a:pt x="30874" y="21628"/>
                      <a:pt x="24013" y="27819"/>
                      <a:pt x="15463" y="27819"/>
                    </a:cubicBezTo>
                    <a:cubicBezTo>
                      <a:pt x="6913" y="27819"/>
                      <a:pt x="52" y="21628"/>
                      <a:pt x="52" y="13913"/>
                    </a:cubicBezTo>
                    <a:cubicBezTo>
                      <a:pt x="52" y="6198"/>
                      <a:pt x="6913" y="6"/>
                      <a:pt x="15463" y="6"/>
                    </a:cubicBezTo>
                    <a:cubicBezTo>
                      <a:pt x="24013" y="6"/>
                      <a:pt x="30874" y="6198"/>
                      <a:pt x="30874" y="13913"/>
                    </a:cubicBezTo>
                    <a:lnTo>
                      <a:pt x="30874" y="13913"/>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43" name="Freeform: Shape 242">
                <a:extLst>
                  <a:ext uri="{FF2B5EF4-FFF2-40B4-BE49-F238E27FC236}">
                    <a16:creationId xmlns:a16="http://schemas.microsoft.com/office/drawing/2014/main" id="{794A66C9-5100-7C33-1B6B-025C5344CE3B}"/>
                  </a:ext>
                </a:extLst>
              </p:cNvPr>
              <p:cNvSpPr/>
              <p:nvPr/>
            </p:nvSpPr>
            <p:spPr>
              <a:xfrm>
                <a:off x="7795874" y="2248384"/>
                <a:ext cx="30821" cy="27813"/>
              </a:xfrm>
              <a:custGeom>
                <a:avLst/>
                <a:gdLst>
                  <a:gd name="connsiteX0" fmla="*/ 30876 w 30821"/>
                  <a:gd name="connsiteY0" fmla="*/ 13913 h 27813"/>
                  <a:gd name="connsiteX1" fmla="*/ 15465 w 30821"/>
                  <a:gd name="connsiteY1" fmla="*/ 27820 h 27813"/>
                  <a:gd name="connsiteX2" fmla="*/ 55 w 30821"/>
                  <a:gd name="connsiteY2" fmla="*/ 13913 h 27813"/>
                  <a:gd name="connsiteX3" fmla="*/ 15465 w 30821"/>
                  <a:gd name="connsiteY3" fmla="*/ 7 h 27813"/>
                  <a:gd name="connsiteX4" fmla="*/ 30876 w 30821"/>
                  <a:gd name="connsiteY4" fmla="*/ 13913 h 27813"/>
                  <a:gd name="connsiteX5" fmla="*/ 30876 w 30821"/>
                  <a:gd name="connsiteY5" fmla="*/ 1391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76" y="13913"/>
                    </a:moveTo>
                    <a:cubicBezTo>
                      <a:pt x="30876" y="21629"/>
                      <a:pt x="24015" y="27820"/>
                      <a:pt x="15465" y="27820"/>
                    </a:cubicBezTo>
                    <a:cubicBezTo>
                      <a:pt x="6915" y="27820"/>
                      <a:pt x="55" y="21629"/>
                      <a:pt x="55" y="13913"/>
                    </a:cubicBezTo>
                    <a:cubicBezTo>
                      <a:pt x="55" y="6198"/>
                      <a:pt x="6915" y="7"/>
                      <a:pt x="15465" y="7"/>
                    </a:cubicBezTo>
                    <a:cubicBezTo>
                      <a:pt x="24015" y="7"/>
                      <a:pt x="30876" y="6198"/>
                      <a:pt x="30876" y="13913"/>
                    </a:cubicBezTo>
                    <a:lnTo>
                      <a:pt x="30876" y="13913"/>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44" name="Freeform: Shape 243">
                <a:extLst>
                  <a:ext uri="{FF2B5EF4-FFF2-40B4-BE49-F238E27FC236}">
                    <a16:creationId xmlns:a16="http://schemas.microsoft.com/office/drawing/2014/main" id="{095468C1-E68A-503F-3A4D-E5E7D1FCF497}"/>
                  </a:ext>
                </a:extLst>
              </p:cNvPr>
              <p:cNvSpPr/>
              <p:nvPr/>
            </p:nvSpPr>
            <p:spPr>
              <a:xfrm>
                <a:off x="7821418" y="2252766"/>
                <a:ext cx="30821" cy="27813"/>
              </a:xfrm>
              <a:custGeom>
                <a:avLst/>
                <a:gdLst>
                  <a:gd name="connsiteX0" fmla="*/ 30878 w 30821"/>
                  <a:gd name="connsiteY0" fmla="*/ 13914 h 27813"/>
                  <a:gd name="connsiteX1" fmla="*/ 15468 w 30821"/>
                  <a:gd name="connsiteY1" fmla="*/ 27820 h 27813"/>
                  <a:gd name="connsiteX2" fmla="*/ 57 w 30821"/>
                  <a:gd name="connsiteY2" fmla="*/ 13914 h 27813"/>
                  <a:gd name="connsiteX3" fmla="*/ 15468 w 30821"/>
                  <a:gd name="connsiteY3" fmla="*/ 7 h 27813"/>
                  <a:gd name="connsiteX4" fmla="*/ 30878 w 30821"/>
                  <a:gd name="connsiteY4" fmla="*/ 13914 h 27813"/>
                  <a:gd name="connsiteX5" fmla="*/ 30878 w 30821"/>
                  <a:gd name="connsiteY5" fmla="*/ 1391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78" y="13914"/>
                    </a:moveTo>
                    <a:cubicBezTo>
                      <a:pt x="30878" y="21629"/>
                      <a:pt x="24017" y="27820"/>
                      <a:pt x="15468" y="27820"/>
                    </a:cubicBezTo>
                    <a:cubicBezTo>
                      <a:pt x="6918" y="27820"/>
                      <a:pt x="57" y="21629"/>
                      <a:pt x="57" y="13914"/>
                    </a:cubicBezTo>
                    <a:cubicBezTo>
                      <a:pt x="57" y="6199"/>
                      <a:pt x="6918" y="7"/>
                      <a:pt x="15468" y="7"/>
                    </a:cubicBezTo>
                    <a:cubicBezTo>
                      <a:pt x="24017" y="7"/>
                      <a:pt x="30878" y="6199"/>
                      <a:pt x="30878" y="13914"/>
                    </a:cubicBezTo>
                    <a:lnTo>
                      <a:pt x="30878" y="13914"/>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45" name="Freeform: Shape 244">
                <a:extLst>
                  <a:ext uri="{FF2B5EF4-FFF2-40B4-BE49-F238E27FC236}">
                    <a16:creationId xmlns:a16="http://schemas.microsoft.com/office/drawing/2014/main" id="{913F5B25-49F4-9032-8305-2D7305432643}"/>
                  </a:ext>
                </a:extLst>
              </p:cNvPr>
              <p:cNvSpPr/>
              <p:nvPr/>
            </p:nvSpPr>
            <p:spPr>
              <a:xfrm>
                <a:off x="7896957" y="2269008"/>
                <a:ext cx="44368" cy="35384"/>
              </a:xfrm>
              <a:custGeom>
                <a:avLst/>
                <a:gdLst>
                  <a:gd name="connsiteX0" fmla="*/ 30887 w 30821"/>
                  <a:gd name="connsiteY0" fmla="*/ 13916 h 27813"/>
                  <a:gd name="connsiteX1" fmla="*/ 15476 w 30821"/>
                  <a:gd name="connsiteY1" fmla="*/ 27823 h 27813"/>
                  <a:gd name="connsiteX2" fmla="*/ 65 w 30821"/>
                  <a:gd name="connsiteY2" fmla="*/ 13916 h 27813"/>
                  <a:gd name="connsiteX3" fmla="*/ 15476 w 30821"/>
                  <a:gd name="connsiteY3" fmla="*/ 10 h 27813"/>
                  <a:gd name="connsiteX4" fmla="*/ 30887 w 30821"/>
                  <a:gd name="connsiteY4" fmla="*/ 13916 h 27813"/>
                  <a:gd name="connsiteX5" fmla="*/ 30887 w 30821"/>
                  <a:gd name="connsiteY5" fmla="*/ 13916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87" y="13916"/>
                    </a:moveTo>
                    <a:cubicBezTo>
                      <a:pt x="30887" y="21632"/>
                      <a:pt x="24026" y="27823"/>
                      <a:pt x="15476" y="27823"/>
                    </a:cubicBezTo>
                    <a:cubicBezTo>
                      <a:pt x="6926" y="27823"/>
                      <a:pt x="65" y="21632"/>
                      <a:pt x="65" y="13916"/>
                    </a:cubicBezTo>
                    <a:cubicBezTo>
                      <a:pt x="65" y="6201"/>
                      <a:pt x="6926" y="10"/>
                      <a:pt x="15476" y="10"/>
                    </a:cubicBezTo>
                    <a:cubicBezTo>
                      <a:pt x="24026" y="10"/>
                      <a:pt x="30887" y="6201"/>
                      <a:pt x="30887" y="13916"/>
                    </a:cubicBezTo>
                    <a:lnTo>
                      <a:pt x="30887" y="13916"/>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46" name="Freeform: Shape 245">
                <a:extLst>
                  <a:ext uri="{FF2B5EF4-FFF2-40B4-BE49-F238E27FC236}">
                    <a16:creationId xmlns:a16="http://schemas.microsoft.com/office/drawing/2014/main" id="{8D40764E-3628-F16E-574A-2CCD43127986}"/>
                  </a:ext>
                </a:extLst>
              </p:cNvPr>
              <p:cNvSpPr/>
              <p:nvPr/>
            </p:nvSpPr>
            <p:spPr>
              <a:xfrm>
                <a:off x="7934887" y="2281341"/>
                <a:ext cx="30821" cy="27813"/>
              </a:xfrm>
              <a:custGeom>
                <a:avLst/>
                <a:gdLst>
                  <a:gd name="connsiteX0" fmla="*/ 30889 w 30821"/>
                  <a:gd name="connsiteY0" fmla="*/ 13917 h 27813"/>
                  <a:gd name="connsiteX1" fmla="*/ 15478 w 30821"/>
                  <a:gd name="connsiteY1" fmla="*/ 27823 h 27813"/>
                  <a:gd name="connsiteX2" fmla="*/ 68 w 30821"/>
                  <a:gd name="connsiteY2" fmla="*/ 13917 h 27813"/>
                  <a:gd name="connsiteX3" fmla="*/ 15478 w 30821"/>
                  <a:gd name="connsiteY3" fmla="*/ 10 h 27813"/>
                  <a:gd name="connsiteX4" fmla="*/ 30889 w 30821"/>
                  <a:gd name="connsiteY4" fmla="*/ 13917 h 27813"/>
                  <a:gd name="connsiteX5" fmla="*/ 30889 w 30821"/>
                  <a:gd name="connsiteY5" fmla="*/ 1391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89" y="13917"/>
                    </a:moveTo>
                    <a:cubicBezTo>
                      <a:pt x="30889" y="21632"/>
                      <a:pt x="24028" y="27823"/>
                      <a:pt x="15478" y="27823"/>
                    </a:cubicBezTo>
                    <a:cubicBezTo>
                      <a:pt x="6929" y="27823"/>
                      <a:pt x="68" y="21632"/>
                      <a:pt x="68" y="13917"/>
                    </a:cubicBezTo>
                    <a:cubicBezTo>
                      <a:pt x="68" y="6202"/>
                      <a:pt x="6929" y="10"/>
                      <a:pt x="15478" y="10"/>
                    </a:cubicBezTo>
                    <a:cubicBezTo>
                      <a:pt x="24028" y="10"/>
                      <a:pt x="30889" y="6202"/>
                      <a:pt x="30889" y="13917"/>
                    </a:cubicBezTo>
                    <a:lnTo>
                      <a:pt x="30889" y="1391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47" name="Freeform: Shape 246">
                <a:extLst>
                  <a:ext uri="{FF2B5EF4-FFF2-40B4-BE49-F238E27FC236}">
                    <a16:creationId xmlns:a16="http://schemas.microsoft.com/office/drawing/2014/main" id="{9A9D4B05-C4C6-EBCF-A89A-2A69484AC1C2}"/>
                  </a:ext>
                </a:extLst>
              </p:cNvPr>
              <p:cNvSpPr/>
              <p:nvPr/>
            </p:nvSpPr>
            <p:spPr>
              <a:xfrm>
                <a:off x="7977108" y="2300391"/>
                <a:ext cx="30821" cy="27813"/>
              </a:xfrm>
              <a:custGeom>
                <a:avLst/>
                <a:gdLst>
                  <a:gd name="connsiteX0" fmla="*/ 30893 w 30821"/>
                  <a:gd name="connsiteY0" fmla="*/ 13919 h 27813"/>
                  <a:gd name="connsiteX1" fmla="*/ 15482 w 30821"/>
                  <a:gd name="connsiteY1" fmla="*/ 27825 h 27813"/>
                  <a:gd name="connsiteX2" fmla="*/ 72 w 30821"/>
                  <a:gd name="connsiteY2" fmla="*/ 13919 h 27813"/>
                  <a:gd name="connsiteX3" fmla="*/ 15482 w 30821"/>
                  <a:gd name="connsiteY3" fmla="*/ 12 h 27813"/>
                  <a:gd name="connsiteX4" fmla="*/ 30893 w 30821"/>
                  <a:gd name="connsiteY4" fmla="*/ 13919 h 27813"/>
                  <a:gd name="connsiteX5" fmla="*/ 30893 w 30821"/>
                  <a:gd name="connsiteY5" fmla="*/ 1391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93" y="13919"/>
                    </a:moveTo>
                    <a:cubicBezTo>
                      <a:pt x="30893" y="21634"/>
                      <a:pt x="24032" y="27825"/>
                      <a:pt x="15482" y="27825"/>
                    </a:cubicBezTo>
                    <a:cubicBezTo>
                      <a:pt x="6933" y="27825"/>
                      <a:pt x="72" y="21634"/>
                      <a:pt x="72" y="13919"/>
                    </a:cubicBezTo>
                    <a:cubicBezTo>
                      <a:pt x="72" y="6204"/>
                      <a:pt x="6933" y="12"/>
                      <a:pt x="15482" y="12"/>
                    </a:cubicBezTo>
                    <a:cubicBezTo>
                      <a:pt x="24032" y="12"/>
                      <a:pt x="30893" y="6204"/>
                      <a:pt x="30893" y="13919"/>
                    </a:cubicBezTo>
                    <a:lnTo>
                      <a:pt x="30893" y="13919"/>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48" name="Freeform: Shape 247">
                <a:extLst>
                  <a:ext uri="{FF2B5EF4-FFF2-40B4-BE49-F238E27FC236}">
                    <a16:creationId xmlns:a16="http://schemas.microsoft.com/office/drawing/2014/main" id="{BC1014F2-88A4-D13A-1F4D-0CEEBA8558F4}"/>
                  </a:ext>
                </a:extLst>
              </p:cNvPr>
              <p:cNvSpPr/>
              <p:nvPr/>
            </p:nvSpPr>
            <p:spPr>
              <a:xfrm>
                <a:off x="8008774" y="2319441"/>
                <a:ext cx="30821" cy="27813"/>
              </a:xfrm>
              <a:custGeom>
                <a:avLst/>
                <a:gdLst>
                  <a:gd name="connsiteX0" fmla="*/ 30896 w 30821"/>
                  <a:gd name="connsiteY0" fmla="*/ 13921 h 27813"/>
                  <a:gd name="connsiteX1" fmla="*/ 15485 w 30821"/>
                  <a:gd name="connsiteY1" fmla="*/ 27827 h 27813"/>
                  <a:gd name="connsiteX2" fmla="*/ 75 w 30821"/>
                  <a:gd name="connsiteY2" fmla="*/ 13921 h 27813"/>
                  <a:gd name="connsiteX3" fmla="*/ 15485 w 30821"/>
                  <a:gd name="connsiteY3" fmla="*/ 14 h 27813"/>
                  <a:gd name="connsiteX4" fmla="*/ 30896 w 30821"/>
                  <a:gd name="connsiteY4" fmla="*/ 13921 h 27813"/>
                  <a:gd name="connsiteX5" fmla="*/ 30896 w 30821"/>
                  <a:gd name="connsiteY5" fmla="*/ 1392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96" y="13921"/>
                    </a:moveTo>
                    <a:cubicBezTo>
                      <a:pt x="30896" y="21636"/>
                      <a:pt x="24035" y="27827"/>
                      <a:pt x="15485" y="27827"/>
                    </a:cubicBezTo>
                    <a:cubicBezTo>
                      <a:pt x="6936" y="27827"/>
                      <a:pt x="75" y="21636"/>
                      <a:pt x="75" y="13921"/>
                    </a:cubicBezTo>
                    <a:cubicBezTo>
                      <a:pt x="75" y="6206"/>
                      <a:pt x="6936" y="14"/>
                      <a:pt x="15485" y="14"/>
                    </a:cubicBezTo>
                    <a:cubicBezTo>
                      <a:pt x="24035" y="14"/>
                      <a:pt x="30896" y="6206"/>
                      <a:pt x="30896" y="13921"/>
                    </a:cubicBezTo>
                    <a:lnTo>
                      <a:pt x="30896" y="13921"/>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49" name="Freeform: Shape 248">
                <a:extLst>
                  <a:ext uri="{FF2B5EF4-FFF2-40B4-BE49-F238E27FC236}">
                    <a16:creationId xmlns:a16="http://schemas.microsoft.com/office/drawing/2014/main" id="{27E25A75-7FBA-3FBE-7645-56EB3357A063}"/>
                  </a:ext>
                </a:extLst>
              </p:cNvPr>
              <p:cNvSpPr/>
              <p:nvPr/>
            </p:nvSpPr>
            <p:spPr>
              <a:xfrm>
                <a:off x="8029884" y="2328966"/>
                <a:ext cx="30821" cy="27813"/>
              </a:xfrm>
              <a:custGeom>
                <a:avLst/>
                <a:gdLst>
                  <a:gd name="connsiteX0" fmla="*/ 30898 w 30821"/>
                  <a:gd name="connsiteY0" fmla="*/ 13922 h 27813"/>
                  <a:gd name="connsiteX1" fmla="*/ 15487 w 30821"/>
                  <a:gd name="connsiteY1" fmla="*/ 27828 h 27813"/>
                  <a:gd name="connsiteX2" fmla="*/ 77 w 30821"/>
                  <a:gd name="connsiteY2" fmla="*/ 13922 h 27813"/>
                  <a:gd name="connsiteX3" fmla="*/ 15487 w 30821"/>
                  <a:gd name="connsiteY3" fmla="*/ 15 h 27813"/>
                  <a:gd name="connsiteX4" fmla="*/ 30898 w 30821"/>
                  <a:gd name="connsiteY4" fmla="*/ 13922 h 27813"/>
                  <a:gd name="connsiteX5" fmla="*/ 30898 w 30821"/>
                  <a:gd name="connsiteY5" fmla="*/ 1392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898" y="13922"/>
                    </a:moveTo>
                    <a:cubicBezTo>
                      <a:pt x="30898" y="21637"/>
                      <a:pt x="24037" y="27828"/>
                      <a:pt x="15487" y="27828"/>
                    </a:cubicBezTo>
                    <a:cubicBezTo>
                      <a:pt x="6938" y="27828"/>
                      <a:pt x="77" y="21637"/>
                      <a:pt x="77" y="13922"/>
                    </a:cubicBezTo>
                    <a:cubicBezTo>
                      <a:pt x="77" y="6207"/>
                      <a:pt x="6938" y="15"/>
                      <a:pt x="15487" y="15"/>
                    </a:cubicBezTo>
                    <a:cubicBezTo>
                      <a:pt x="24037" y="15"/>
                      <a:pt x="30898" y="6207"/>
                      <a:pt x="30898" y="13922"/>
                    </a:cubicBezTo>
                    <a:lnTo>
                      <a:pt x="30898" y="13922"/>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50" name="Freeform: Shape 249">
                <a:extLst>
                  <a:ext uri="{FF2B5EF4-FFF2-40B4-BE49-F238E27FC236}">
                    <a16:creationId xmlns:a16="http://schemas.microsoft.com/office/drawing/2014/main" id="{561EB4CD-7B14-E3B2-EDB4-547F25784E29}"/>
                  </a:ext>
                </a:extLst>
              </p:cNvPr>
              <p:cNvSpPr/>
              <p:nvPr/>
            </p:nvSpPr>
            <p:spPr>
              <a:xfrm>
                <a:off x="8050995" y="2335538"/>
                <a:ext cx="30821" cy="27813"/>
              </a:xfrm>
              <a:custGeom>
                <a:avLst/>
                <a:gdLst>
                  <a:gd name="connsiteX0" fmla="*/ 30900 w 30821"/>
                  <a:gd name="connsiteY0" fmla="*/ 13923 h 27813"/>
                  <a:gd name="connsiteX1" fmla="*/ 15489 w 30821"/>
                  <a:gd name="connsiteY1" fmla="*/ 27829 h 27813"/>
                  <a:gd name="connsiteX2" fmla="*/ 79 w 30821"/>
                  <a:gd name="connsiteY2" fmla="*/ 13923 h 27813"/>
                  <a:gd name="connsiteX3" fmla="*/ 15489 w 30821"/>
                  <a:gd name="connsiteY3" fmla="*/ 16 h 27813"/>
                  <a:gd name="connsiteX4" fmla="*/ 30900 w 30821"/>
                  <a:gd name="connsiteY4" fmla="*/ 13923 h 27813"/>
                  <a:gd name="connsiteX5" fmla="*/ 30900 w 30821"/>
                  <a:gd name="connsiteY5" fmla="*/ 1392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00" y="13923"/>
                    </a:moveTo>
                    <a:cubicBezTo>
                      <a:pt x="30900" y="21638"/>
                      <a:pt x="24039" y="27829"/>
                      <a:pt x="15489" y="27829"/>
                    </a:cubicBezTo>
                    <a:cubicBezTo>
                      <a:pt x="6940" y="27829"/>
                      <a:pt x="79" y="21638"/>
                      <a:pt x="79" y="13923"/>
                    </a:cubicBezTo>
                    <a:cubicBezTo>
                      <a:pt x="79" y="6207"/>
                      <a:pt x="6940" y="16"/>
                      <a:pt x="15489" y="16"/>
                    </a:cubicBezTo>
                    <a:cubicBezTo>
                      <a:pt x="24039" y="16"/>
                      <a:pt x="30900" y="6207"/>
                      <a:pt x="30900" y="13923"/>
                    </a:cubicBezTo>
                    <a:lnTo>
                      <a:pt x="30900" y="13923"/>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51" name="Freeform: Shape 250">
                <a:extLst>
                  <a:ext uri="{FF2B5EF4-FFF2-40B4-BE49-F238E27FC236}">
                    <a16:creationId xmlns:a16="http://schemas.microsoft.com/office/drawing/2014/main" id="{6E4D48CB-12DD-556C-8E75-534A67264F49}"/>
                  </a:ext>
                </a:extLst>
              </p:cNvPr>
              <p:cNvSpPr/>
              <p:nvPr/>
            </p:nvSpPr>
            <p:spPr>
              <a:xfrm>
                <a:off x="8188213" y="2357541"/>
                <a:ext cx="30821" cy="27813"/>
              </a:xfrm>
              <a:custGeom>
                <a:avLst/>
                <a:gdLst>
                  <a:gd name="connsiteX0" fmla="*/ 30913 w 30821"/>
                  <a:gd name="connsiteY0" fmla="*/ 13925 h 27813"/>
                  <a:gd name="connsiteX1" fmla="*/ 15502 w 30821"/>
                  <a:gd name="connsiteY1" fmla="*/ 27831 h 27813"/>
                  <a:gd name="connsiteX2" fmla="*/ 92 w 30821"/>
                  <a:gd name="connsiteY2" fmla="*/ 13925 h 27813"/>
                  <a:gd name="connsiteX3" fmla="*/ 15502 w 30821"/>
                  <a:gd name="connsiteY3" fmla="*/ 18 h 27813"/>
                  <a:gd name="connsiteX4" fmla="*/ 30913 w 30821"/>
                  <a:gd name="connsiteY4" fmla="*/ 13925 h 27813"/>
                  <a:gd name="connsiteX5" fmla="*/ 30913 w 30821"/>
                  <a:gd name="connsiteY5" fmla="*/ 13925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13" y="13925"/>
                    </a:moveTo>
                    <a:cubicBezTo>
                      <a:pt x="30913" y="21640"/>
                      <a:pt x="24052" y="27831"/>
                      <a:pt x="15502" y="27831"/>
                    </a:cubicBezTo>
                    <a:cubicBezTo>
                      <a:pt x="6953" y="27831"/>
                      <a:pt x="92" y="21640"/>
                      <a:pt x="92" y="13925"/>
                    </a:cubicBezTo>
                    <a:cubicBezTo>
                      <a:pt x="92" y="6210"/>
                      <a:pt x="6953" y="18"/>
                      <a:pt x="15502" y="18"/>
                    </a:cubicBezTo>
                    <a:cubicBezTo>
                      <a:pt x="24052" y="18"/>
                      <a:pt x="30913" y="6210"/>
                      <a:pt x="30913" y="13925"/>
                    </a:cubicBezTo>
                    <a:lnTo>
                      <a:pt x="30913" y="13925"/>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52" name="Freeform: Shape 251">
                <a:extLst>
                  <a:ext uri="{FF2B5EF4-FFF2-40B4-BE49-F238E27FC236}">
                    <a16:creationId xmlns:a16="http://schemas.microsoft.com/office/drawing/2014/main" id="{779FB735-1A47-3C45-52DC-45376ED5F879}"/>
                  </a:ext>
                </a:extLst>
              </p:cNvPr>
              <p:cNvSpPr/>
              <p:nvPr/>
            </p:nvSpPr>
            <p:spPr>
              <a:xfrm>
                <a:off x="8251545" y="2376591"/>
                <a:ext cx="30821" cy="27813"/>
              </a:xfrm>
              <a:custGeom>
                <a:avLst/>
                <a:gdLst>
                  <a:gd name="connsiteX0" fmla="*/ 30919 w 30821"/>
                  <a:gd name="connsiteY0" fmla="*/ 13927 h 27813"/>
                  <a:gd name="connsiteX1" fmla="*/ 15508 w 30821"/>
                  <a:gd name="connsiteY1" fmla="*/ 27833 h 27813"/>
                  <a:gd name="connsiteX2" fmla="*/ 98 w 30821"/>
                  <a:gd name="connsiteY2" fmla="*/ 13927 h 27813"/>
                  <a:gd name="connsiteX3" fmla="*/ 15508 w 30821"/>
                  <a:gd name="connsiteY3" fmla="*/ 20 h 27813"/>
                  <a:gd name="connsiteX4" fmla="*/ 30919 w 30821"/>
                  <a:gd name="connsiteY4" fmla="*/ 13927 h 27813"/>
                  <a:gd name="connsiteX5" fmla="*/ 30919 w 30821"/>
                  <a:gd name="connsiteY5" fmla="*/ 1392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19" y="13927"/>
                    </a:moveTo>
                    <a:cubicBezTo>
                      <a:pt x="30919" y="21642"/>
                      <a:pt x="24058" y="27833"/>
                      <a:pt x="15508" y="27833"/>
                    </a:cubicBezTo>
                    <a:cubicBezTo>
                      <a:pt x="6959" y="27833"/>
                      <a:pt x="98" y="21642"/>
                      <a:pt x="98" y="13927"/>
                    </a:cubicBezTo>
                    <a:cubicBezTo>
                      <a:pt x="98" y="6212"/>
                      <a:pt x="6959" y="20"/>
                      <a:pt x="15508" y="20"/>
                    </a:cubicBezTo>
                    <a:cubicBezTo>
                      <a:pt x="24058" y="20"/>
                      <a:pt x="30919" y="6212"/>
                      <a:pt x="30919" y="13927"/>
                    </a:cubicBezTo>
                    <a:lnTo>
                      <a:pt x="30919" y="1392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53" name="Freeform: Shape 252">
                <a:extLst>
                  <a:ext uri="{FF2B5EF4-FFF2-40B4-BE49-F238E27FC236}">
                    <a16:creationId xmlns:a16="http://schemas.microsoft.com/office/drawing/2014/main" id="{C0B5EE4D-6DB6-175B-4C8F-FB579DE99CFE}"/>
                  </a:ext>
                </a:extLst>
              </p:cNvPr>
              <p:cNvSpPr/>
              <p:nvPr/>
            </p:nvSpPr>
            <p:spPr>
              <a:xfrm>
                <a:off x="8272655" y="2386116"/>
                <a:ext cx="30821" cy="27813"/>
              </a:xfrm>
              <a:custGeom>
                <a:avLst/>
                <a:gdLst>
                  <a:gd name="connsiteX0" fmla="*/ 30921 w 30821"/>
                  <a:gd name="connsiteY0" fmla="*/ 13928 h 27813"/>
                  <a:gd name="connsiteX1" fmla="*/ 15510 w 30821"/>
                  <a:gd name="connsiteY1" fmla="*/ 27834 h 27813"/>
                  <a:gd name="connsiteX2" fmla="*/ 100 w 30821"/>
                  <a:gd name="connsiteY2" fmla="*/ 13928 h 27813"/>
                  <a:gd name="connsiteX3" fmla="*/ 15510 w 30821"/>
                  <a:gd name="connsiteY3" fmla="*/ 21 h 27813"/>
                  <a:gd name="connsiteX4" fmla="*/ 30921 w 30821"/>
                  <a:gd name="connsiteY4" fmla="*/ 13928 h 27813"/>
                  <a:gd name="connsiteX5" fmla="*/ 30921 w 30821"/>
                  <a:gd name="connsiteY5" fmla="*/ 1392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21" y="13928"/>
                    </a:moveTo>
                    <a:cubicBezTo>
                      <a:pt x="30921" y="21643"/>
                      <a:pt x="24060" y="27834"/>
                      <a:pt x="15510" y="27834"/>
                    </a:cubicBezTo>
                    <a:cubicBezTo>
                      <a:pt x="6961" y="27834"/>
                      <a:pt x="100" y="21643"/>
                      <a:pt x="100" y="13928"/>
                    </a:cubicBezTo>
                    <a:cubicBezTo>
                      <a:pt x="100" y="6213"/>
                      <a:pt x="6961" y="21"/>
                      <a:pt x="15510" y="21"/>
                    </a:cubicBezTo>
                    <a:cubicBezTo>
                      <a:pt x="24060" y="21"/>
                      <a:pt x="30921" y="6213"/>
                      <a:pt x="30921" y="13928"/>
                    </a:cubicBezTo>
                    <a:lnTo>
                      <a:pt x="30921" y="1392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54" name="Freeform: Shape 253">
                <a:extLst>
                  <a:ext uri="{FF2B5EF4-FFF2-40B4-BE49-F238E27FC236}">
                    <a16:creationId xmlns:a16="http://schemas.microsoft.com/office/drawing/2014/main" id="{4F89A7CF-030B-9ACF-66FC-04E7B18DA72C}"/>
                  </a:ext>
                </a:extLst>
              </p:cNvPr>
              <p:cNvSpPr/>
              <p:nvPr/>
            </p:nvSpPr>
            <p:spPr>
              <a:xfrm>
                <a:off x="8325431" y="2414691"/>
                <a:ext cx="30821" cy="27813"/>
              </a:xfrm>
              <a:custGeom>
                <a:avLst/>
                <a:gdLst>
                  <a:gd name="connsiteX0" fmla="*/ 30926 w 30821"/>
                  <a:gd name="connsiteY0" fmla="*/ 13931 h 27813"/>
                  <a:gd name="connsiteX1" fmla="*/ 15515 w 30821"/>
                  <a:gd name="connsiteY1" fmla="*/ 27837 h 27813"/>
                  <a:gd name="connsiteX2" fmla="*/ 105 w 30821"/>
                  <a:gd name="connsiteY2" fmla="*/ 13931 h 27813"/>
                  <a:gd name="connsiteX3" fmla="*/ 15515 w 30821"/>
                  <a:gd name="connsiteY3" fmla="*/ 24 h 27813"/>
                  <a:gd name="connsiteX4" fmla="*/ 30926 w 30821"/>
                  <a:gd name="connsiteY4" fmla="*/ 13931 h 27813"/>
                  <a:gd name="connsiteX5" fmla="*/ 30926 w 30821"/>
                  <a:gd name="connsiteY5" fmla="*/ 1393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26" y="13931"/>
                    </a:moveTo>
                    <a:cubicBezTo>
                      <a:pt x="30926" y="21646"/>
                      <a:pt x="24065" y="27837"/>
                      <a:pt x="15515" y="27837"/>
                    </a:cubicBezTo>
                    <a:cubicBezTo>
                      <a:pt x="6966" y="27837"/>
                      <a:pt x="105" y="21646"/>
                      <a:pt x="105" y="13931"/>
                    </a:cubicBezTo>
                    <a:cubicBezTo>
                      <a:pt x="105" y="6216"/>
                      <a:pt x="6966" y="24"/>
                      <a:pt x="15515" y="24"/>
                    </a:cubicBezTo>
                    <a:cubicBezTo>
                      <a:pt x="24065" y="24"/>
                      <a:pt x="30926" y="6216"/>
                      <a:pt x="30926" y="13931"/>
                    </a:cubicBezTo>
                    <a:lnTo>
                      <a:pt x="30926" y="13931"/>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55" name="Freeform: Shape 254">
                <a:extLst>
                  <a:ext uri="{FF2B5EF4-FFF2-40B4-BE49-F238E27FC236}">
                    <a16:creationId xmlns:a16="http://schemas.microsoft.com/office/drawing/2014/main" id="{FA22D3B2-E63A-E779-52B8-C91AF7E0E754}"/>
                  </a:ext>
                </a:extLst>
              </p:cNvPr>
              <p:cNvSpPr/>
              <p:nvPr/>
            </p:nvSpPr>
            <p:spPr>
              <a:xfrm>
                <a:off x="8378208" y="2433741"/>
                <a:ext cx="30821" cy="27813"/>
              </a:xfrm>
              <a:custGeom>
                <a:avLst/>
                <a:gdLst>
                  <a:gd name="connsiteX0" fmla="*/ 30931 w 30821"/>
                  <a:gd name="connsiteY0" fmla="*/ 13933 h 27813"/>
                  <a:gd name="connsiteX1" fmla="*/ 15520 w 30821"/>
                  <a:gd name="connsiteY1" fmla="*/ 27839 h 27813"/>
                  <a:gd name="connsiteX2" fmla="*/ 110 w 30821"/>
                  <a:gd name="connsiteY2" fmla="*/ 13933 h 27813"/>
                  <a:gd name="connsiteX3" fmla="*/ 15520 w 30821"/>
                  <a:gd name="connsiteY3" fmla="*/ 26 h 27813"/>
                  <a:gd name="connsiteX4" fmla="*/ 30931 w 30821"/>
                  <a:gd name="connsiteY4" fmla="*/ 13933 h 27813"/>
                  <a:gd name="connsiteX5" fmla="*/ 30931 w 30821"/>
                  <a:gd name="connsiteY5" fmla="*/ 1393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31" y="13933"/>
                    </a:moveTo>
                    <a:cubicBezTo>
                      <a:pt x="30931" y="21648"/>
                      <a:pt x="24070" y="27839"/>
                      <a:pt x="15520" y="27839"/>
                    </a:cubicBezTo>
                    <a:cubicBezTo>
                      <a:pt x="6971" y="27839"/>
                      <a:pt x="110" y="21648"/>
                      <a:pt x="110" y="13933"/>
                    </a:cubicBezTo>
                    <a:cubicBezTo>
                      <a:pt x="110" y="6218"/>
                      <a:pt x="6971" y="26"/>
                      <a:pt x="15520" y="26"/>
                    </a:cubicBezTo>
                    <a:cubicBezTo>
                      <a:pt x="24070" y="26"/>
                      <a:pt x="30931" y="6218"/>
                      <a:pt x="30931" y="13933"/>
                    </a:cubicBezTo>
                    <a:lnTo>
                      <a:pt x="30931" y="13933"/>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56" name="Freeform: Shape 255">
                <a:extLst>
                  <a:ext uri="{FF2B5EF4-FFF2-40B4-BE49-F238E27FC236}">
                    <a16:creationId xmlns:a16="http://schemas.microsoft.com/office/drawing/2014/main" id="{26C31704-9C3F-C39C-9F72-12DCBF858478}"/>
                  </a:ext>
                </a:extLst>
              </p:cNvPr>
              <p:cNvSpPr/>
              <p:nvPr/>
            </p:nvSpPr>
            <p:spPr>
              <a:xfrm>
                <a:off x="8499593" y="2471841"/>
                <a:ext cx="30821" cy="27813"/>
              </a:xfrm>
              <a:custGeom>
                <a:avLst/>
                <a:gdLst>
                  <a:gd name="connsiteX0" fmla="*/ 30943 w 30821"/>
                  <a:gd name="connsiteY0" fmla="*/ 13937 h 27813"/>
                  <a:gd name="connsiteX1" fmla="*/ 15532 w 30821"/>
                  <a:gd name="connsiteY1" fmla="*/ 27843 h 27813"/>
                  <a:gd name="connsiteX2" fmla="*/ 121 w 30821"/>
                  <a:gd name="connsiteY2" fmla="*/ 13937 h 27813"/>
                  <a:gd name="connsiteX3" fmla="*/ 15532 w 30821"/>
                  <a:gd name="connsiteY3" fmla="*/ 30 h 27813"/>
                  <a:gd name="connsiteX4" fmla="*/ 30943 w 30821"/>
                  <a:gd name="connsiteY4" fmla="*/ 13937 h 27813"/>
                  <a:gd name="connsiteX5" fmla="*/ 30943 w 30821"/>
                  <a:gd name="connsiteY5" fmla="*/ 1393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43" y="13937"/>
                    </a:moveTo>
                    <a:cubicBezTo>
                      <a:pt x="30943" y="21652"/>
                      <a:pt x="24082" y="27843"/>
                      <a:pt x="15532" y="27843"/>
                    </a:cubicBezTo>
                    <a:cubicBezTo>
                      <a:pt x="6982" y="27843"/>
                      <a:pt x="121" y="21652"/>
                      <a:pt x="121" y="13937"/>
                    </a:cubicBezTo>
                    <a:cubicBezTo>
                      <a:pt x="121" y="6222"/>
                      <a:pt x="6982" y="30"/>
                      <a:pt x="15532" y="30"/>
                    </a:cubicBezTo>
                    <a:cubicBezTo>
                      <a:pt x="24082" y="30"/>
                      <a:pt x="30943" y="6222"/>
                      <a:pt x="30943" y="13937"/>
                    </a:cubicBezTo>
                    <a:lnTo>
                      <a:pt x="30943" y="1393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57" name="Freeform: Shape 256">
                <a:extLst>
                  <a:ext uri="{FF2B5EF4-FFF2-40B4-BE49-F238E27FC236}">
                    <a16:creationId xmlns:a16="http://schemas.microsoft.com/office/drawing/2014/main" id="{02478E8C-E007-AE36-E39F-A51C9C042C5E}"/>
                  </a:ext>
                </a:extLst>
              </p:cNvPr>
              <p:cNvSpPr/>
              <p:nvPr/>
            </p:nvSpPr>
            <p:spPr>
              <a:xfrm>
                <a:off x="8510148" y="2490891"/>
                <a:ext cx="30821" cy="27813"/>
              </a:xfrm>
              <a:custGeom>
                <a:avLst/>
                <a:gdLst>
                  <a:gd name="connsiteX0" fmla="*/ 30944 w 30821"/>
                  <a:gd name="connsiteY0" fmla="*/ 13939 h 27813"/>
                  <a:gd name="connsiteX1" fmla="*/ 15533 w 30821"/>
                  <a:gd name="connsiteY1" fmla="*/ 27845 h 27813"/>
                  <a:gd name="connsiteX2" fmla="*/ 122 w 30821"/>
                  <a:gd name="connsiteY2" fmla="*/ 13939 h 27813"/>
                  <a:gd name="connsiteX3" fmla="*/ 15533 w 30821"/>
                  <a:gd name="connsiteY3" fmla="*/ 32 h 27813"/>
                  <a:gd name="connsiteX4" fmla="*/ 30944 w 30821"/>
                  <a:gd name="connsiteY4" fmla="*/ 13939 h 27813"/>
                  <a:gd name="connsiteX5" fmla="*/ 30944 w 30821"/>
                  <a:gd name="connsiteY5" fmla="*/ 1393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44" y="13939"/>
                    </a:moveTo>
                    <a:cubicBezTo>
                      <a:pt x="30944" y="21654"/>
                      <a:pt x="24083" y="27845"/>
                      <a:pt x="15533" y="27845"/>
                    </a:cubicBezTo>
                    <a:cubicBezTo>
                      <a:pt x="6983" y="27845"/>
                      <a:pt x="122" y="21654"/>
                      <a:pt x="122" y="13939"/>
                    </a:cubicBezTo>
                    <a:cubicBezTo>
                      <a:pt x="122" y="6224"/>
                      <a:pt x="6983" y="32"/>
                      <a:pt x="15533" y="32"/>
                    </a:cubicBezTo>
                    <a:cubicBezTo>
                      <a:pt x="24083" y="32"/>
                      <a:pt x="30944" y="6224"/>
                      <a:pt x="30944" y="13939"/>
                    </a:cubicBezTo>
                    <a:lnTo>
                      <a:pt x="30944" y="13939"/>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58" name="Freeform: Shape 257">
                <a:extLst>
                  <a:ext uri="{FF2B5EF4-FFF2-40B4-BE49-F238E27FC236}">
                    <a16:creationId xmlns:a16="http://schemas.microsoft.com/office/drawing/2014/main" id="{3CAD2B7B-1629-B0F4-58BF-70503F2EA259}"/>
                  </a:ext>
                </a:extLst>
              </p:cNvPr>
              <p:cNvSpPr/>
              <p:nvPr/>
            </p:nvSpPr>
            <p:spPr>
              <a:xfrm>
                <a:off x="8531259" y="2490891"/>
                <a:ext cx="30821" cy="27813"/>
              </a:xfrm>
              <a:custGeom>
                <a:avLst/>
                <a:gdLst>
                  <a:gd name="connsiteX0" fmla="*/ 30946 w 30821"/>
                  <a:gd name="connsiteY0" fmla="*/ 13939 h 27813"/>
                  <a:gd name="connsiteX1" fmla="*/ 15535 w 30821"/>
                  <a:gd name="connsiteY1" fmla="*/ 27845 h 27813"/>
                  <a:gd name="connsiteX2" fmla="*/ 124 w 30821"/>
                  <a:gd name="connsiteY2" fmla="*/ 13939 h 27813"/>
                  <a:gd name="connsiteX3" fmla="*/ 15535 w 30821"/>
                  <a:gd name="connsiteY3" fmla="*/ 32 h 27813"/>
                  <a:gd name="connsiteX4" fmla="*/ 30946 w 30821"/>
                  <a:gd name="connsiteY4" fmla="*/ 13939 h 27813"/>
                  <a:gd name="connsiteX5" fmla="*/ 30946 w 30821"/>
                  <a:gd name="connsiteY5" fmla="*/ 1393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46" y="13939"/>
                    </a:moveTo>
                    <a:cubicBezTo>
                      <a:pt x="30946" y="21654"/>
                      <a:pt x="24085" y="27845"/>
                      <a:pt x="15535" y="27845"/>
                    </a:cubicBezTo>
                    <a:cubicBezTo>
                      <a:pt x="6985" y="27845"/>
                      <a:pt x="124" y="21654"/>
                      <a:pt x="124" y="13939"/>
                    </a:cubicBezTo>
                    <a:cubicBezTo>
                      <a:pt x="124" y="6224"/>
                      <a:pt x="6985" y="32"/>
                      <a:pt x="15535" y="32"/>
                    </a:cubicBezTo>
                    <a:cubicBezTo>
                      <a:pt x="24085" y="32"/>
                      <a:pt x="30946" y="6224"/>
                      <a:pt x="30946" y="13939"/>
                    </a:cubicBezTo>
                    <a:lnTo>
                      <a:pt x="30946" y="13939"/>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59" name="Freeform: Shape 258">
                <a:extLst>
                  <a:ext uri="{FF2B5EF4-FFF2-40B4-BE49-F238E27FC236}">
                    <a16:creationId xmlns:a16="http://schemas.microsoft.com/office/drawing/2014/main" id="{7019EA6F-26E0-6DB7-1621-32E26B97A87E}"/>
                  </a:ext>
                </a:extLst>
              </p:cNvPr>
              <p:cNvSpPr/>
              <p:nvPr/>
            </p:nvSpPr>
            <p:spPr>
              <a:xfrm>
                <a:off x="8552475" y="2500416"/>
                <a:ext cx="30821" cy="27813"/>
              </a:xfrm>
              <a:custGeom>
                <a:avLst/>
                <a:gdLst>
                  <a:gd name="connsiteX0" fmla="*/ 30948 w 30821"/>
                  <a:gd name="connsiteY0" fmla="*/ 13940 h 27813"/>
                  <a:gd name="connsiteX1" fmla="*/ 15537 w 30821"/>
                  <a:gd name="connsiteY1" fmla="*/ 27846 h 27813"/>
                  <a:gd name="connsiteX2" fmla="*/ 126 w 30821"/>
                  <a:gd name="connsiteY2" fmla="*/ 13940 h 27813"/>
                  <a:gd name="connsiteX3" fmla="*/ 15537 w 30821"/>
                  <a:gd name="connsiteY3" fmla="*/ 33 h 27813"/>
                  <a:gd name="connsiteX4" fmla="*/ 30948 w 30821"/>
                  <a:gd name="connsiteY4" fmla="*/ 13940 h 27813"/>
                  <a:gd name="connsiteX5" fmla="*/ 30948 w 30821"/>
                  <a:gd name="connsiteY5" fmla="*/ 1394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48" y="13940"/>
                    </a:moveTo>
                    <a:cubicBezTo>
                      <a:pt x="30948" y="21655"/>
                      <a:pt x="24087" y="27846"/>
                      <a:pt x="15537" y="27846"/>
                    </a:cubicBezTo>
                    <a:cubicBezTo>
                      <a:pt x="6987" y="27846"/>
                      <a:pt x="126" y="21655"/>
                      <a:pt x="126" y="13940"/>
                    </a:cubicBezTo>
                    <a:cubicBezTo>
                      <a:pt x="126" y="6225"/>
                      <a:pt x="6987" y="33"/>
                      <a:pt x="15537" y="33"/>
                    </a:cubicBezTo>
                    <a:cubicBezTo>
                      <a:pt x="24087" y="33"/>
                      <a:pt x="30948" y="6225"/>
                      <a:pt x="30948" y="13940"/>
                    </a:cubicBezTo>
                    <a:lnTo>
                      <a:pt x="30948" y="1394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60" name="Freeform: Shape 259">
                <a:extLst>
                  <a:ext uri="{FF2B5EF4-FFF2-40B4-BE49-F238E27FC236}">
                    <a16:creationId xmlns:a16="http://schemas.microsoft.com/office/drawing/2014/main" id="{56442968-C34C-4549-AE08-39C3C56BCF25}"/>
                  </a:ext>
                </a:extLst>
              </p:cNvPr>
              <p:cNvSpPr/>
              <p:nvPr/>
            </p:nvSpPr>
            <p:spPr>
              <a:xfrm>
                <a:off x="8605251" y="2538516"/>
                <a:ext cx="30821" cy="27813"/>
              </a:xfrm>
              <a:custGeom>
                <a:avLst/>
                <a:gdLst>
                  <a:gd name="connsiteX0" fmla="*/ 30953 w 30821"/>
                  <a:gd name="connsiteY0" fmla="*/ 13944 h 27813"/>
                  <a:gd name="connsiteX1" fmla="*/ 15542 w 30821"/>
                  <a:gd name="connsiteY1" fmla="*/ 27850 h 27813"/>
                  <a:gd name="connsiteX2" fmla="*/ 131 w 30821"/>
                  <a:gd name="connsiteY2" fmla="*/ 13944 h 27813"/>
                  <a:gd name="connsiteX3" fmla="*/ 15542 w 30821"/>
                  <a:gd name="connsiteY3" fmla="*/ 37 h 27813"/>
                  <a:gd name="connsiteX4" fmla="*/ 30953 w 30821"/>
                  <a:gd name="connsiteY4" fmla="*/ 13944 h 27813"/>
                  <a:gd name="connsiteX5" fmla="*/ 30953 w 30821"/>
                  <a:gd name="connsiteY5" fmla="*/ 1394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53" y="13944"/>
                    </a:moveTo>
                    <a:cubicBezTo>
                      <a:pt x="30953" y="21659"/>
                      <a:pt x="24092" y="27850"/>
                      <a:pt x="15542" y="27850"/>
                    </a:cubicBezTo>
                    <a:cubicBezTo>
                      <a:pt x="6992" y="27850"/>
                      <a:pt x="131" y="21659"/>
                      <a:pt x="131" y="13944"/>
                    </a:cubicBezTo>
                    <a:cubicBezTo>
                      <a:pt x="131" y="6229"/>
                      <a:pt x="6992" y="37"/>
                      <a:pt x="15542" y="37"/>
                    </a:cubicBezTo>
                    <a:cubicBezTo>
                      <a:pt x="24092" y="37"/>
                      <a:pt x="30953" y="6229"/>
                      <a:pt x="30953" y="13944"/>
                    </a:cubicBezTo>
                    <a:lnTo>
                      <a:pt x="30953" y="13944"/>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61" name="Freeform: Shape 260">
                <a:extLst>
                  <a:ext uri="{FF2B5EF4-FFF2-40B4-BE49-F238E27FC236}">
                    <a16:creationId xmlns:a16="http://schemas.microsoft.com/office/drawing/2014/main" id="{2F208E6C-B4E5-3584-A9B5-F8FEC3ECC88D}"/>
                  </a:ext>
                </a:extLst>
              </p:cNvPr>
              <p:cNvSpPr/>
              <p:nvPr/>
            </p:nvSpPr>
            <p:spPr>
              <a:xfrm>
                <a:off x="8626362" y="2557566"/>
                <a:ext cx="30821" cy="27813"/>
              </a:xfrm>
              <a:custGeom>
                <a:avLst/>
                <a:gdLst>
                  <a:gd name="connsiteX0" fmla="*/ 30955 w 30821"/>
                  <a:gd name="connsiteY0" fmla="*/ 13946 h 27813"/>
                  <a:gd name="connsiteX1" fmla="*/ 15544 w 30821"/>
                  <a:gd name="connsiteY1" fmla="*/ 27852 h 27813"/>
                  <a:gd name="connsiteX2" fmla="*/ 133 w 30821"/>
                  <a:gd name="connsiteY2" fmla="*/ 13946 h 27813"/>
                  <a:gd name="connsiteX3" fmla="*/ 15544 w 30821"/>
                  <a:gd name="connsiteY3" fmla="*/ 39 h 27813"/>
                  <a:gd name="connsiteX4" fmla="*/ 30955 w 30821"/>
                  <a:gd name="connsiteY4" fmla="*/ 13946 h 27813"/>
                  <a:gd name="connsiteX5" fmla="*/ 30955 w 30821"/>
                  <a:gd name="connsiteY5" fmla="*/ 13946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55" y="13946"/>
                    </a:moveTo>
                    <a:cubicBezTo>
                      <a:pt x="30955" y="21661"/>
                      <a:pt x="24094" y="27852"/>
                      <a:pt x="15544" y="27852"/>
                    </a:cubicBezTo>
                    <a:cubicBezTo>
                      <a:pt x="6994" y="27852"/>
                      <a:pt x="133" y="21661"/>
                      <a:pt x="133" y="13946"/>
                    </a:cubicBezTo>
                    <a:cubicBezTo>
                      <a:pt x="133" y="6231"/>
                      <a:pt x="6994" y="39"/>
                      <a:pt x="15544" y="39"/>
                    </a:cubicBezTo>
                    <a:cubicBezTo>
                      <a:pt x="24094" y="39"/>
                      <a:pt x="30955" y="6231"/>
                      <a:pt x="30955" y="13946"/>
                    </a:cubicBezTo>
                    <a:lnTo>
                      <a:pt x="30955" y="13946"/>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62" name="Freeform: Shape 261">
                <a:extLst>
                  <a:ext uri="{FF2B5EF4-FFF2-40B4-BE49-F238E27FC236}">
                    <a16:creationId xmlns:a16="http://schemas.microsoft.com/office/drawing/2014/main" id="{FE235EC8-BCD7-ADB2-AA37-4C52D4B20AD6}"/>
                  </a:ext>
                </a:extLst>
              </p:cNvPr>
              <p:cNvSpPr/>
              <p:nvPr/>
            </p:nvSpPr>
            <p:spPr>
              <a:xfrm>
                <a:off x="8658028" y="2586141"/>
                <a:ext cx="30821" cy="27813"/>
              </a:xfrm>
              <a:custGeom>
                <a:avLst/>
                <a:gdLst>
                  <a:gd name="connsiteX0" fmla="*/ 30958 w 30821"/>
                  <a:gd name="connsiteY0" fmla="*/ 13949 h 27813"/>
                  <a:gd name="connsiteX1" fmla="*/ 15547 w 30821"/>
                  <a:gd name="connsiteY1" fmla="*/ 27855 h 27813"/>
                  <a:gd name="connsiteX2" fmla="*/ 136 w 30821"/>
                  <a:gd name="connsiteY2" fmla="*/ 13949 h 27813"/>
                  <a:gd name="connsiteX3" fmla="*/ 15547 w 30821"/>
                  <a:gd name="connsiteY3" fmla="*/ 42 h 27813"/>
                  <a:gd name="connsiteX4" fmla="*/ 30958 w 30821"/>
                  <a:gd name="connsiteY4" fmla="*/ 13949 h 27813"/>
                  <a:gd name="connsiteX5" fmla="*/ 30958 w 30821"/>
                  <a:gd name="connsiteY5" fmla="*/ 1394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58" y="13949"/>
                    </a:moveTo>
                    <a:cubicBezTo>
                      <a:pt x="30958" y="21664"/>
                      <a:pt x="24097" y="27855"/>
                      <a:pt x="15547" y="27855"/>
                    </a:cubicBezTo>
                    <a:cubicBezTo>
                      <a:pt x="6997" y="27855"/>
                      <a:pt x="136" y="21664"/>
                      <a:pt x="136" y="13949"/>
                    </a:cubicBezTo>
                    <a:cubicBezTo>
                      <a:pt x="136" y="6234"/>
                      <a:pt x="6997" y="42"/>
                      <a:pt x="15547" y="42"/>
                    </a:cubicBezTo>
                    <a:cubicBezTo>
                      <a:pt x="24097" y="42"/>
                      <a:pt x="30958" y="6234"/>
                      <a:pt x="30958" y="13949"/>
                    </a:cubicBezTo>
                    <a:lnTo>
                      <a:pt x="30958" y="13949"/>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63" name="Freeform: Shape 262">
                <a:extLst>
                  <a:ext uri="{FF2B5EF4-FFF2-40B4-BE49-F238E27FC236}">
                    <a16:creationId xmlns:a16="http://schemas.microsoft.com/office/drawing/2014/main" id="{980169AB-2AF1-F9BE-213D-D61B4450EAD6}"/>
                  </a:ext>
                </a:extLst>
              </p:cNvPr>
              <p:cNvSpPr/>
              <p:nvPr/>
            </p:nvSpPr>
            <p:spPr>
              <a:xfrm>
                <a:off x="8742470" y="2624241"/>
                <a:ext cx="30821" cy="27813"/>
              </a:xfrm>
              <a:custGeom>
                <a:avLst/>
                <a:gdLst>
                  <a:gd name="connsiteX0" fmla="*/ 30966 w 30821"/>
                  <a:gd name="connsiteY0" fmla="*/ 13953 h 27813"/>
                  <a:gd name="connsiteX1" fmla="*/ 15555 w 30821"/>
                  <a:gd name="connsiteY1" fmla="*/ 27859 h 27813"/>
                  <a:gd name="connsiteX2" fmla="*/ 144 w 30821"/>
                  <a:gd name="connsiteY2" fmla="*/ 13953 h 27813"/>
                  <a:gd name="connsiteX3" fmla="*/ 15555 w 30821"/>
                  <a:gd name="connsiteY3" fmla="*/ 46 h 27813"/>
                  <a:gd name="connsiteX4" fmla="*/ 30966 w 30821"/>
                  <a:gd name="connsiteY4" fmla="*/ 13953 h 27813"/>
                  <a:gd name="connsiteX5" fmla="*/ 30966 w 30821"/>
                  <a:gd name="connsiteY5" fmla="*/ 1395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66" y="13953"/>
                    </a:moveTo>
                    <a:cubicBezTo>
                      <a:pt x="30966" y="21668"/>
                      <a:pt x="24105" y="27859"/>
                      <a:pt x="15555" y="27859"/>
                    </a:cubicBezTo>
                    <a:cubicBezTo>
                      <a:pt x="7005" y="27859"/>
                      <a:pt x="144" y="21668"/>
                      <a:pt x="144" y="13953"/>
                    </a:cubicBezTo>
                    <a:cubicBezTo>
                      <a:pt x="144" y="6238"/>
                      <a:pt x="7005" y="46"/>
                      <a:pt x="15555" y="46"/>
                    </a:cubicBezTo>
                    <a:cubicBezTo>
                      <a:pt x="24105" y="46"/>
                      <a:pt x="30966" y="6238"/>
                      <a:pt x="30966" y="13953"/>
                    </a:cubicBezTo>
                    <a:lnTo>
                      <a:pt x="30966" y="13953"/>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64" name="Freeform: Shape 263">
                <a:extLst>
                  <a:ext uri="{FF2B5EF4-FFF2-40B4-BE49-F238E27FC236}">
                    <a16:creationId xmlns:a16="http://schemas.microsoft.com/office/drawing/2014/main" id="{A3C21320-A93C-2B04-C38B-FD15C99B88ED}"/>
                  </a:ext>
                </a:extLst>
              </p:cNvPr>
              <p:cNvSpPr/>
              <p:nvPr/>
            </p:nvSpPr>
            <p:spPr>
              <a:xfrm>
                <a:off x="8849711" y="2671104"/>
                <a:ext cx="30821" cy="27813"/>
              </a:xfrm>
              <a:custGeom>
                <a:avLst/>
                <a:gdLst>
                  <a:gd name="connsiteX0" fmla="*/ 30976 w 30821"/>
                  <a:gd name="connsiteY0" fmla="*/ 13958 h 27813"/>
                  <a:gd name="connsiteX1" fmla="*/ 15565 w 30821"/>
                  <a:gd name="connsiteY1" fmla="*/ 27864 h 27813"/>
                  <a:gd name="connsiteX2" fmla="*/ 154 w 30821"/>
                  <a:gd name="connsiteY2" fmla="*/ 13958 h 27813"/>
                  <a:gd name="connsiteX3" fmla="*/ 15565 w 30821"/>
                  <a:gd name="connsiteY3" fmla="*/ 51 h 27813"/>
                  <a:gd name="connsiteX4" fmla="*/ 30976 w 30821"/>
                  <a:gd name="connsiteY4" fmla="*/ 13958 h 27813"/>
                  <a:gd name="connsiteX5" fmla="*/ 30976 w 30821"/>
                  <a:gd name="connsiteY5" fmla="*/ 1395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76" y="13958"/>
                    </a:moveTo>
                    <a:cubicBezTo>
                      <a:pt x="30976" y="21673"/>
                      <a:pt x="24115" y="27864"/>
                      <a:pt x="15565" y="27864"/>
                    </a:cubicBezTo>
                    <a:cubicBezTo>
                      <a:pt x="7015" y="27864"/>
                      <a:pt x="154" y="21673"/>
                      <a:pt x="154" y="13958"/>
                    </a:cubicBezTo>
                    <a:cubicBezTo>
                      <a:pt x="154" y="6243"/>
                      <a:pt x="7015" y="51"/>
                      <a:pt x="15565" y="51"/>
                    </a:cubicBezTo>
                    <a:cubicBezTo>
                      <a:pt x="24115" y="51"/>
                      <a:pt x="30976" y="6243"/>
                      <a:pt x="30976" y="13958"/>
                    </a:cubicBezTo>
                    <a:lnTo>
                      <a:pt x="30976" y="1395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65" name="Freeform: Shape 264">
                <a:extLst>
                  <a:ext uri="{FF2B5EF4-FFF2-40B4-BE49-F238E27FC236}">
                    <a16:creationId xmlns:a16="http://schemas.microsoft.com/office/drawing/2014/main" id="{00E67CAD-F8B8-1135-412A-EA8F09DE2E66}"/>
                  </a:ext>
                </a:extLst>
              </p:cNvPr>
              <p:cNvSpPr/>
              <p:nvPr/>
            </p:nvSpPr>
            <p:spPr>
              <a:xfrm>
                <a:off x="8975530" y="2714728"/>
                <a:ext cx="30821" cy="27813"/>
              </a:xfrm>
              <a:custGeom>
                <a:avLst/>
                <a:gdLst>
                  <a:gd name="connsiteX0" fmla="*/ 30988 w 30821"/>
                  <a:gd name="connsiteY0" fmla="*/ 13962 h 27813"/>
                  <a:gd name="connsiteX1" fmla="*/ 15577 w 30821"/>
                  <a:gd name="connsiteY1" fmla="*/ 27869 h 27813"/>
                  <a:gd name="connsiteX2" fmla="*/ 166 w 30821"/>
                  <a:gd name="connsiteY2" fmla="*/ 13962 h 27813"/>
                  <a:gd name="connsiteX3" fmla="*/ 15577 w 30821"/>
                  <a:gd name="connsiteY3" fmla="*/ 56 h 27813"/>
                  <a:gd name="connsiteX4" fmla="*/ 30988 w 30821"/>
                  <a:gd name="connsiteY4" fmla="*/ 13962 h 27813"/>
                  <a:gd name="connsiteX5" fmla="*/ 30988 w 30821"/>
                  <a:gd name="connsiteY5" fmla="*/ 1396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88" y="13962"/>
                    </a:moveTo>
                    <a:cubicBezTo>
                      <a:pt x="30988" y="21678"/>
                      <a:pt x="24127" y="27869"/>
                      <a:pt x="15577" y="27869"/>
                    </a:cubicBezTo>
                    <a:cubicBezTo>
                      <a:pt x="7027" y="27869"/>
                      <a:pt x="166" y="21678"/>
                      <a:pt x="166" y="13962"/>
                    </a:cubicBezTo>
                    <a:cubicBezTo>
                      <a:pt x="166" y="6247"/>
                      <a:pt x="7027" y="56"/>
                      <a:pt x="15577" y="56"/>
                    </a:cubicBezTo>
                    <a:cubicBezTo>
                      <a:pt x="24127" y="56"/>
                      <a:pt x="30988" y="6247"/>
                      <a:pt x="30988" y="13962"/>
                    </a:cubicBezTo>
                    <a:lnTo>
                      <a:pt x="30988" y="13962"/>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66" name="Freeform: Shape 265">
                <a:extLst>
                  <a:ext uri="{FF2B5EF4-FFF2-40B4-BE49-F238E27FC236}">
                    <a16:creationId xmlns:a16="http://schemas.microsoft.com/office/drawing/2014/main" id="{CE0A6888-CC75-6C3E-832D-0AAEB7D29296}"/>
                  </a:ext>
                </a:extLst>
              </p:cNvPr>
              <p:cNvSpPr/>
              <p:nvPr/>
            </p:nvSpPr>
            <p:spPr>
              <a:xfrm>
                <a:off x="8996640" y="2724253"/>
                <a:ext cx="30821" cy="27813"/>
              </a:xfrm>
              <a:custGeom>
                <a:avLst/>
                <a:gdLst>
                  <a:gd name="connsiteX0" fmla="*/ 30990 w 30821"/>
                  <a:gd name="connsiteY0" fmla="*/ 13963 h 27813"/>
                  <a:gd name="connsiteX1" fmla="*/ 15579 w 30821"/>
                  <a:gd name="connsiteY1" fmla="*/ 27870 h 27813"/>
                  <a:gd name="connsiteX2" fmla="*/ 168 w 30821"/>
                  <a:gd name="connsiteY2" fmla="*/ 13963 h 27813"/>
                  <a:gd name="connsiteX3" fmla="*/ 15579 w 30821"/>
                  <a:gd name="connsiteY3" fmla="*/ 57 h 27813"/>
                  <a:gd name="connsiteX4" fmla="*/ 30990 w 30821"/>
                  <a:gd name="connsiteY4" fmla="*/ 13963 h 27813"/>
                  <a:gd name="connsiteX5" fmla="*/ 30990 w 30821"/>
                  <a:gd name="connsiteY5" fmla="*/ 1396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90" y="13963"/>
                    </a:moveTo>
                    <a:cubicBezTo>
                      <a:pt x="30990" y="21679"/>
                      <a:pt x="24129" y="27870"/>
                      <a:pt x="15579" y="27870"/>
                    </a:cubicBezTo>
                    <a:cubicBezTo>
                      <a:pt x="7029" y="27870"/>
                      <a:pt x="168" y="21679"/>
                      <a:pt x="168" y="13963"/>
                    </a:cubicBezTo>
                    <a:cubicBezTo>
                      <a:pt x="168" y="6248"/>
                      <a:pt x="7029" y="57"/>
                      <a:pt x="15579" y="57"/>
                    </a:cubicBezTo>
                    <a:cubicBezTo>
                      <a:pt x="24129" y="57"/>
                      <a:pt x="30990" y="6248"/>
                      <a:pt x="30990" y="13963"/>
                    </a:cubicBezTo>
                    <a:lnTo>
                      <a:pt x="30990" y="13963"/>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67" name="Freeform: Shape 266">
                <a:extLst>
                  <a:ext uri="{FF2B5EF4-FFF2-40B4-BE49-F238E27FC236}">
                    <a16:creationId xmlns:a16="http://schemas.microsoft.com/office/drawing/2014/main" id="{1E2C2DB2-75B9-2A1A-728C-9278635C79B1}"/>
                  </a:ext>
                </a:extLst>
              </p:cNvPr>
              <p:cNvSpPr/>
              <p:nvPr/>
            </p:nvSpPr>
            <p:spPr>
              <a:xfrm>
                <a:off x="9023028" y="2738160"/>
                <a:ext cx="30821" cy="27813"/>
              </a:xfrm>
              <a:custGeom>
                <a:avLst/>
                <a:gdLst>
                  <a:gd name="connsiteX0" fmla="*/ 30992 w 30821"/>
                  <a:gd name="connsiteY0" fmla="*/ 13965 h 27813"/>
                  <a:gd name="connsiteX1" fmla="*/ 15581 w 30821"/>
                  <a:gd name="connsiteY1" fmla="*/ 27871 h 27813"/>
                  <a:gd name="connsiteX2" fmla="*/ 171 w 30821"/>
                  <a:gd name="connsiteY2" fmla="*/ 13965 h 27813"/>
                  <a:gd name="connsiteX3" fmla="*/ 15581 w 30821"/>
                  <a:gd name="connsiteY3" fmla="*/ 58 h 27813"/>
                  <a:gd name="connsiteX4" fmla="*/ 30992 w 30821"/>
                  <a:gd name="connsiteY4" fmla="*/ 13965 h 27813"/>
                  <a:gd name="connsiteX5" fmla="*/ 30992 w 30821"/>
                  <a:gd name="connsiteY5" fmla="*/ 13965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92" y="13965"/>
                    </a:moveTo>
                    <a:cubicBezTo>
                      <a:pt x="30992" y="21680"/>
                      <a:pt x="24131" y="27871"/>
                      <a:pt x="15581" y="27871"/>
                    </a:cubicBezTo>
                    <a:cubicBezTo>
                      <a:pt x="7032" y="27871"/>
                      <a:pt x="171" y="21680"/>
                      <a:pt x="171" y="13965"/>
                    </a:cubicBezTo>
                    <a:cubicBezTo>
                      <a:pt x="171" y="6250"/>
                      <a:pt x="7032" y="58"/>
                      <a:pt x="15581" y="58"/>
                    </a:cubicBezTo>
                    <a:cubicBezTo>
                      <a:pt x="24131" y="58"/>
                      <a:pt x="30992" y="6250"/>
                      <a:pt x="30992" y="13965"/>
                    </a:cubicBezTo>
                    <a:lnTo>
                      <a:pt x="30992" y="13965"/>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68" name="Freeform: Shape 267">
                <a:extLst>
                  <a:ext uri="{FF2B5EF4-FFF2-40B4-BE49-F238E27FC236}">
                    <a16:creationId xmlns:a16="http://schemas.microsoft.com/office/drawing/2014/main" id="{73ED489C-9FEE-6EAD-A67E-0E58DEE38D0D}"/>
                  </a:ext>
                </a:extLst>
              </p:cNvPr>
              <p:cNvSpPr/>
              <p:nvPr/>
            </p:nvSpPr>
            <p:spPr>
              <a:xfrm>
                <a:off x="9151486" y="2775402"/>
                <a:ext cx="30821" cy="27813"/>
              </a:xfrm>
              <a:custGeom>
                <a:avLst/>
                <a:gdLst>
                  <a:gd name="connsiteX0" fmla="*/ 31004 w 30821"/>
                  <a:gd name="connsiteY0" fmla="*/ 13969 h 27813"/>
                  <a:gd name="connsiteX1" fmla="*/ 15594 w 30821"/>
                  <a:gd name="connsiteY1" fmla="*/ 27875 h 27813"/>
                  <a:gd name="connsiteX2" fmla="*/ 183 w 30821"/>
                  <a:gd name="connsiteY2" fmla="*/ 13969 h 27813"/>
                  <a:gd name="connsiteX3" fmla="*/ 15594 w 30821"/>
                  <a:gd name="connsiteY3" fmla="*/ 62 h 27813"/>
                  <a:gd name="connsiteX4" fmla="*/ 31004 w 30821"/>
                  <a:gd name="connsiteY4" fmla="*/ 13969 h 27813"/>
                  <a:gd name="connsiteX5" fmla="*/ 31004 w 30821"/>
                  <a:gd name="connsiteY5" fmla="*/ 1396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04" y="13969"/>
                    </a:moveTo>
                    <a:cubicBezTo>
                      <a:pt x="31004" y="21684"/>
                      <a:pt x="24143" y="27875"/>
                      <a:pt x="15594" y="27875"/>
                    </a:cubicBezTo>
                    <a:cubicBezTo>
                      <a:pt x="7044" y="27875"/>
                      <a:pt x="183" y="21684"/>
                      <a:pt x="183" y="13969"/>
                    </a:cubicBezTo>
                    <a:cubicBezTo>
                      <a:pt x="183" y="6254"/>
                      <a:pt x="7044" y="62"/>
                      <a:pt x="15594" y="62"/>
                    </a:cubicBezTo>
                    <a:cubicBezTo>
                      <a:pt x="24143" y="62"/>
                      <a:pt x="31004" y="6254"/>
                      <a:pt x="31004" y="13969"/>
                    </a:cubicBezTo>
                    <a:lnTo>
                      <a:pt x="31004" y="13969"/>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69" name="Freeform: Shape 268">
                <a:extLst>
                  <a:ext uri="{FF2B5EF4-FFF2-40B4-BE49-F238E27FC236}">
                    <a16:creationId xmlns:a16="http://schemas.microsoft.com/office/drawing/2014/main" id="{901C7A96-1471-3E19-3868-216F7CAF63B1}"/>
                  </a:ext>
                </a:extLst>
              </p:cNvPr>
              <p:cNvSpPr/>
              <p:nvPr/>
            </p:nvSpPr>
            <p:spPr>
              <a:xfrm>
                <a:off x="9242050" y="2802453"/>
                <a:ext cx="30821" cy="27813"/>
              </a:xfrm>
              <a:custGeom>
                <a:avLst/>
                <a:gdLst>
                  <a:gd name="connsiteX0" fmla="*/ 31013 w 30821"/>
                  <a:gd name="connsiteY0" fmla="*/ 13972 h 27813"/>
                  <a:gd name="connsiteX1" fmla="*/ 15602 w 30821"/>
                  <a:gd name="connsiteY1" fmla="*/ 27878 h 27813"/>
                  <a:gd name="connsiteX2" fmla="*/ 192 w 30821"/>
                  <a:gd name="connsiteY2" fmla="*/ 13972 h 27813"/>
                  <a:gd name="connsiteX3" fmla="*/ 15602 w 30821"/>
                  <a:gd name="connsiteY3" fmla="*/ 65 h 27813"/>
                  <a:gd name="connsiteX4" fmla="*/ 31013 w 30821"/>
                  <a:gd name="connsiteY4" fmla="*/ 13972 h 27813"/>
                  <a:gd name="connsiteX5" fmla="*/ 31013 w 30821"/>
                  <a:gd name="connsiteY5" fmla="*/ 13972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13" y="13972"/>
                    </a:moveTo>
                    <a:cubicBezTo>
                      <a:pt x="31013" y="21687"/>
                      <a:pt x="24152" y="27878"/>
                      <a:pt x="15602" y="27878"/>
                    </a:cubicBezTo>
                    <a:cubicBezTo>
                      <a:pt x="7052" y="27878"/>
                      <a:pt x="192" y="21687"/>
                      <a:pt x="192" y="13972"/>
                    </a:cubicBezTo>
                    <a:cubicBezTo>
                      <a:pt x="192" y="6256"/>
                      <a:pt x="7052" y="65"/>
                      <a:pt x="15602" y="65"/>
                    </a:cubicBezTo>
                    <a:cubicBezTo>
                      <a:pt x="24152" y="65"/>
                      <a:pt x="31013" y="6256"/>
                      <a:pt x="31013" y="13972"/>
                    </a:cubicBezTo>
                    <a:lnTo>
                      <a:pt x="31013" y="13972"/>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70" name="Freeform: Shape 269">
                <a:extLst>
                  <a:ext uri="{FF2B5EF4-FFF2-40B4-BE49-F238E27FC236}">
                    <a16:creationId xmlns:a16="http://schemas.microsoft.com/office/drawing/2014/main" id="{0DBA89CC-F2A6-5C1E-0737-AEA041828DF2}"/>
                  </a:ext>
                </a:extLst>
              </p:cNvPr>
              <p:cNvSpPr/>
              <p:nvPr/>
            </p:nvSpPr>
            <p:spPr>
              <a:xfrm>
                <a:off x="9262738" y="2816360"/>
                <a:ext cx="30821" cy="27813"/>
              </a:xfrm>
              <a:custGeom>
                <a:avLst/>
                <a:gdLst>
                  <a:gd name="connsiteX0" fmla="*/ 31015 w 30821"/>
                  <a:gd name="connsiteY0" fmla="*/ 13973 h 27813"/>
                  <a:gd name="connsiteX1" fmla="*/ 15604 w 30821"/>
                  <a:gd name="connsiteY1" fmla="*/ 27880 h 27813"/>
                  <a:gd name="connsiteX2" fmla="*/ 194 w 30821"/>
                  <a:gd name="connsiteY2" fmla="*/ 13973 h 27813"/>
                  <a:gd name="connsiteX3" fmla="*/ 15604 w 30821"/>
                  <a:gd name="connsiteY3" fmla="*/ 67 h 27813"/>
                  <a:gd name="connsiteX4" fmla="*/ 31015 w 30821"/>
                  <a:gd name="connsiteY4" fmla="*/ 13973 h 27813"/>
                  <a:gd name="connsiteX5" fmla="*/ 31015 w 30821"/>
                  <a:gd name="connsiteY5" fmla="*/ 1397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15" y="13973"/>
                    </a:moveTo>
                    <a:cubicBezTo>
                      <a:pt x="31015" y="21688"/>
                      <a:pt x="24154" y="27880"/>
                      <a:pt x="15604" y="27880"/>
                    </a:cubicBezTo>
                    <a:cubicBezTo>
                      <a:pt x="7054" y="27880"/>
                      <a:pt x="194" y="21688"/>
                      <a:pt x="194" y="13973"/>
                    </a:cubicBezTo>
                    <a:cubicBezTo>
                      <a:pt x="194" y="6258"/>
                      <a:pt x="7054" y="67"/>
                      <a:pt x="15604" y="67"/>
                    </a:cubicBezTo>
                    <a:cubicBezTo>
                      <a:pt x="24154" y="67"/>
                      <a:pt x="31015" y="6258"/>
                      <a:pt x="31015" y="13973"/>
                    </a:cubicBezTo>
                    <a:lnTo>
                      <a:pt x="31015" y="13973"/>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71" name="Freeform: Shape 270">
                <a:extLst>
                  <a:ext uri="{FF2B5EF4-FFF2-40B4-BE49-F238E27FC236}">
                    <a16:creationId xmlns:a16="http://schemas.microsoft.com/office/drawing/2014/main" id="{3DF9F0C2-861A-F82D-8069-71703DF87B46}"/>
                  </a:ext>
                </a:extLst>
              </p:cNvPr>
              <p:cNvSpPr/>
              <p:nvPr/>
            </p:nvSpPr>
            <p:spPr>
              <a:xfrm>
                <a:off x="9278149" y="2830171"/>
                <a:ext cx="30821" cy="27813"/>
              </a:xfrm>
              <a:custGeom>
                <a:avLst/>
                <a:gdLst>
                  <a:gd name="connsiteX0" fmla="*/ 31016 w 30821"/>
                  <a:gd name="connsiteY0" fmla="*/ 13975 h 27813"/>
                  <a:gd name="connsiteX1" fmla="*/ 15606 w 30821"/>
                  <a:gd name="connsiteY1" fmla="*/ 27881 h 27813"/>
                  <a:gd name="connsiteX2" fmla="*/ 195 w 30821"/>
                  <a:gd name="connsiteY2" fmla="*/ 13975 h 27813"/>
                  <a:gd name="connsiteX3" fmla="*/ 15606 w 30821"/>
                  <a:gd name="connsiteY3" fmla="*/ 68 h 27813"/>
                  <a:gd name="connsiteX4" fmla="*/ 31016 w 30821"/>
                  <a:gd name="connsiteY4" fmla="*/ 13975 h 27813"/>
                  <a:gd name="connsiteX5" fmla="*/ 31016 w 30821"/>
                  <a:gd name="connsiteY5" fmla="*/ 13975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16" y="13975"/>
                    </a:moveTo>
                    <a:cubicBezTo>
                      <a:pt x="31016" y="21690"/>
                      <a:pt x="24155" y="27881"/>
                      <a:pt x="15606" y="27881"/>
                    </a:cubicBezTo>
                    <a:cubicBezTo>
                      <a:pt x="7056" y="27881"/>
                      <a:pt x="195" y="21690"/>
                      <a:pt x="195" y="13975"/>
                    </a:cubicBezTo>
                    <a:cubicBezTo>
                      <a:pt x="195" y="6259"/>
                      <a:pt x="7056" y="68"/>
                      <a:pt x="15606" y="68"/>
                    </a:cubicBezTo>
                    <a:cubicBezTo>
                      <a:pt x="24155" y="68"/>
                      <a:pt x="31016" y="6259"/>
                      <a:pt x="31016" y="13975"/>
                    </a:cubicBezTo>
                    <a:lnTo>
                      <a:pt x="31016" y="13975"/>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72" name="Freeform: Shape 271">
                <a:extLst>
                  <a:ext uri="{FF2B5EF4-FFF2-40B4-BE49-F238E27FC236}">
                    <a16:creationId xmlns:a16="http://schemas.microsoft.com/office/drawing/2014/main" id="{43F4D451-A6A9-BFFA-48B3-F939CBAF796D}"/>
                  </a:ext>
                </a:extLst>
              </p:cNvPr>
              <p:cNvSpPr/>
              <p:nvPr/>
            </p:nvSpPr>
            <p:spPr>
              <a:xfrm>
                <a:off x="9334198" y="2874653"/>
                <a:ext cx="30821" cy="27813"/>
              </a:xfrm>
              <a:custGeom>
                <a:avLst/>
                <a:gdLst>
                  <a:gd name="connsiteX0" fmla="*/ 31022 w 30821"/>
                  <a:gd name="connsiteY0" fmla="*/ 13979 h 27813"/>
                  <a:gd name="connsiteX1" fmla="*/ 15611 w 30821"/>
                  <a:gd name="connsiteY1" fmla="*/ 27886 h 27813"/>
                  <a:gd name="connsiteX2" fmla="*/ 200 w 30821"/>
                  <a:gd name="connsiteY2" fmla="*/ 13979 h 27813"/>
                  <a:gd name="connsiteX3" fmla="*/ 15611 w 30821"/>
                  <a:gd name="connsiteY3" fmla="*/ 73 h 27813"/>
                  <a:gd name="connsiteX4" fmla="*/ 31022 w 30821"/>
                  <a:gd name="connsiteY4" fmla="*/ 13979 h 27813"/>
                  <a:gd name="connsiteX5" fmla="*/ 31022 w 30821"/>
                  <a:gd name="connsiteY5" fmla="*/ 1397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22" y="13979"/>
                    </a:moveTo>
                    <a:cubicBezTo>
                      <a:pt x="31022" y="21694"/>
                      <a:pt x="24161" y="27886"/>
                      <a:pt x="15611" y="27886"/>
                    </a:cubicBezTo>
                    <a:cubicBezTo>
                      <a:pt x="7061" y="27886"/>
                      <a:pt x="200" y="21694"/>
                      <a:pt x="200" y="13979"/>
                    </a:cubicBezTo>
                    <a:cubicBezTo>
                      <a:pt x="200" y="6264"/>
                      <a:pt x="7061" y="73"/>
                      <a:pt x="15611" y="73"/>
                    </a:cubicBezTo>
                    <a:cubicBezTo>
                      <a:pt x="24161" y="73"/>
                      <a:pt x="31022" y="6264"/>
                      <a:pt x="31022" y="13979"/>
                    </a:cubicBezTo>
                    <a:lnTo>
                      <a:pt x="31022" y="13979"/>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73" name="Freeform: Shape 272">
                <a:extLst>
                  <a:ext uri="{FF2B5EF4-FFF2-40B4-BE49-F238E27FC236}">
                    <a16:creationId xmlns:a16="http://schemas.microsoft.com/office/drawing/2014/main" id="{29CE32DC-20FE-77D2-E15F-2DF46104E684}"/>
                  </a:ext>
                </a:extLst>
              </p:cNvPr>
              <p:cNvSpPr/>
              <p:nvPr/>
            </p:nvSpPr>
            <p:spPr>
              <a:xfrm>
                <a:off x="9349608" y="2893322"/>
                <a:ext cx="30821" cy="27813"/>
              </a:xfrm>
              <a:custGeom>
                <a:avLst/>
                <a:gdLst>
                  <a:gd name="connsiteX0" fmla="*/ 31023 w 30821"/>
                  <a:gd name="connsiteY0" fmla="*/ 13981 h 27813"/>
                  <a:gd name="connsiteX1" fmla="*/ 15612 w 30821"/>
                  <a:gd name="connsiteY1" fmla="*/ 27888 h 27813"/>
                  <a:gd name="connsiteX2" fmla="*/ 202 w 30821"/>
                  <a:gd name="connsiteY2" fmla="*/ 13981 h 27813"/>
                  <a:gd name="connsiteX3" fmla="*/ 15612 w 30821"/>
                  <a:gd name="connsiteY3" fmla="*/ 75 h 27813"/>
                  <a:gd name="connsiteX4" fmla="*/ 31023 w 30821"/>
                  <a:gd name="connsiteY4" fmla="*/ 13981 h 27813"/>
                  <a:gd name="connsiteX5" fmla="*/ 31023 w 30821"/>
                  <a:gd name="connsiteY5" fmla="*/ 13981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23" y="13981"/>
                    </a:moveTo>
                    <a:cubicBezTo>
                      <a:pt x="31023" y="21696"/>
                      <a:pt x="24162" y="27888"/>
                      <a:pt x="15612" y="27888"/>
                    </a:cubicBezTo>
                    <a:cubicBezTo>
                      <a:pt x="7063" y="27888"/>
                      <a:pt x="202" y="21696"/>
                      <a:pt x="202" y="13981"/>
                    </a:cubicBezTo>
                    <a:cubicBezTo>
                      <a:pt x="202" y="6266"/>
                      <a:pt x="7063" y="75"/>
                      <a:pt x="15612" y="75"/>
                    </a:cubicBezTo>
                    <a:cubicBezTo>
                      <a:pt x="24162" y="75"/>
                      <a:pt x="31023" y="6266"/>
                      <a:pt x="31023" y="13981"/>
                    </a:cubicBezTo>
                    <a:lnTo>
                      <a:pt x="31023" y="13981"/>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74" name="Freeform: Shape 273">
                <a:extLst>
                  <a:ext uri="{FF2B5EF4-FFF2-40B4-BE49-F238E27FC236}">
                    <a16:creationId xmlns:a16="http://schemas.microsoft.com/office/drawing/2014/main" id="{4930264D-B7D1-CD57-C9BE-97D210F2DAE1}"/>
                  </a:ext>
                </a:extLst>
              </p:cNvPr>
              <p:cNvSpPr/>
              <p:nvPr/>
            </p:nvSpPr>
            <p:spPr>
              <a:xfrm>
                <a:off x="9447455" y="2932946"/>
                <a:ext cx="30821" cy="27813"/>
              </a:xfrm>
              <a:custGeom>
                <a:avLst/>
                <a:gdLst>
                  <a:gd name="connsiteX0" fmla="*/ 31032 w 30821"/>
                  <a:gd name="connsiteY0" fmla="*/ 13985 h 27813"/>
                  <a:gd name="connsiteX1" fmla="*/ 15622 w 30821"/>
                  <a:gd name="connsiteY1" fmla="*/ 27892 h 27813"/>
                  <a:gd name="connsiteX2" fmla="*/ 211 w 30821"/>
                  <a:gd name="connsiteY2" fmla="*/ 13985 h 27813"/>
                  <a:gd name="connsiteX3" fmla="*/ 15622 w 30821"/>
                  <a:gd name="connsiteY3" fmla="*/ 79 h 27813"/>
                  <a:gd name="connsiteX4" fmla="*/ 31032 w 30821"/>
                  <a:gd name="connsiteY4" fmla="*/ 13985 h 27813"/>
                  <a:gd name="connsiteX5" fmla="*/ 31032 w 30821"/>
                  <a:gd name="connsiteY5" fmla="*/ 13985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32" y="13985"/>
                    </a:moveTo>
                    <a:cubicBezTo>
                      <a:pt x="31032" y="21701"/>
                      <a:pt x="24171" y="27892"/>
                      <a:pt x="15622" y="27892"/>
                    </a:cubicBezTo>
                    <a:cubicBezTo>
                      <a:pt x="7072" y="27892"/>
                      <a:pt x="211" y="21701"/>
                      <a:pt x="211" y="13985"/>
                    </a:cubicBezTo>
                    <a:cubicBezTo>
                      <a:pt x="211" y="6270"/>
                      <a:pt x="7072" y="79"/>
                      <a:pt x="15622" y="79"/>
                    </a:cubicBezTo>
                    <a:cubicBezTo>
                      <a:pt x="24171" y="79"/>
                      <a:pt x="31032" y="6270"/>
                      <a:pt x="31032" y="13985"/>
                    </a:cubicBezTo>
                    <a:lnTo>
                      <a:pt x="31032" y="13985"/>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75" name="Freeform: Shape 274">
                <a:extLst>
                  <a:ext uri="{FF2B5EF4-FFF2-40B4-BE49-F238E27FC236}">
                    <a16:creationId xmlns:a16="http://schemas.microsoft.com/office/drawing/2014/main" id="{F9DF0FB8-5BB0-633A-30F2-06D50917AC9E}"/>
                  </a:ext>
                </a:extLst>
              </p:cNvPr>
              <p:cNvSpPr/>
              <p:nvPr/>
            </p:nvSpPr>
            <p:spPr>
              <a:xfrm>
                <a:off x="9476482" y="2941709"/>
                <a:ext cx="30821" cy="27813"/>
              </a:xfrm>
              <a:custGeom>
                <a:avLst/>
                <a:gdLst>
                  <a:gd name="connsiteX0" fmla="*/ 31035 w 30821"/>
                  <a:gd name="connsiteY0" fmla="*/ 13986 h 27813"/>
                  <a:gd name="connsiteX1" fmla="*/ 15624 w 30821"/>
                  <a:gd name="connsiteY1" fmla="*/ 27893 h 27813"/>
                  <a:gd name="connsiteX2" fmla="*/ 214 w 30821"/>
                  <a:gd name="connsiteY2" fmla="*/ 13986 h 27813"/>
                  <a:gd name="connsiteX3" fmla="*/ 15624 w 30821"/>
                  <a:gd name="connsiteY3" fmla="*/ 80 h 27813"/>
                  <a:gd name="connsiteX4" fmla="*/ 31035 w 30821"/>
                  <a:gd name="connsiteY4" fmla="*/ 13986 h 27813"/>
                  <a:gd name="connsiteX5" fmla="*/ 31035 w 30821"/>
                  <a:gd name="connsiteY5" fmla="*/ 13986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35" y="13986"/>
                    </a:moveTo>
                    <a:cubicBezTo>
                      <a:pt x="31035" y="21702"/>
                      <a:pt x="24174" y="27893"/>
                      <a:pt x="15624" y="27893"/>
                    </a:cubicBezTo>
                    <a:cubicBezTo>
                      <a:pt x="7075" y="27893"/>
                      <a:pt x="214" y="21702"/>
                      <a:pt x="214" y="13986"/>
                    </a:cubicBezTo>
                    <a:cubicBezTo>
                      <a:pt x="214" y="6271"/>
                      <a:pt x="7075" y="80"/>
                      <a:pt x="15624" y="80"/>
                    </a:cubicBezTo>
                    <a:cubicBezTo>
                      <a:pt x="24174" y="80"/>
                      <a:pt x="31035" y="6271"/>
                      <a:pt x="31035" y="13986"/>
                    </a:cubicBezTo>
                    <a:lnTo>
                      <a:pt x="31035" y="13986"/>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76" name="Freeform: Shape 275">
                <a:extLst>
                  <a:ext uri="{FF2B5EF4-FFF2-40B4-BE49-F238E27FC236}">
                    <a16:creationId xmlns:a16="http://schemas.microsoft.com/office/drawing/2014/main" id="{36B15E6A-F62E-19A0-A123-22415FC8D79E}"/>
                  </a:ext>
                </a:extLst>
              </p:cNvPr>
              <p:cNvSpPr/>
              <p:nvPr/>
            </p:nvSpPr>
            <p:spPr>
              <a:xfrm>
                <a:off x="9534536" y="2955615"/>
                <a:ext cx="30821" cy="27813"/>
              </a:xfrm>
              <a:custGeom>
                <a:avLst/>
                <a:gdLst>
                  <a:gd name="connsiteX0" fmla="*/ 31041 w 30821"/>
                  <a:gd name="connsiteY0" fmla="*/ 13988 h 27813"/>
                  <a:gd name="connsiteX1" fmla="*/ 15630 w 30821"/>
                  <a:gd name="connsiteY1" fmla="*/ 27894 h 27813"/>
                  <a:gd name="connsiteX2" fmla="*/ 219 w 30821"/>
                  <a:gd name="connsiteY2" fmla="*/ 13988 h 27813"/>
                  <a:gd name="connsiteX3" fmla="*/ 15630 w 30821"/>
                  <a:gd name="connsiteY3" fmla="*/ 81 h 27813"/>
                  <a:gd name="connsiteX4" fmla="*/ 31041 w 30821"/>
                  <a:gd name="connsiteY4" fmla="*/ 13988 h 27813"/>
                  <a:gd name="connsiteX5" fmla="*/ 31041 w 30821"/>
                  <a:gd name="connsiteY5" fmla="*/ 1398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41" y="13988"/>
                    </a:moveTo>
                    <a:cubicBezTo>
                      <a:pt x="31041" y="21703"/>
                      <a:pt x="24180" y="27894"/>
                      <a:pt x="15630" y="27894"/>
                    </a:cubicBezTo>
                    <a:cubicBezTo>
                      <a:pt x="7080" y="27894"/>
                      <a:pt x="219" y="21703"/>
                      <a:pt x="219" y="13988"/>
                    </a:cubicBezTo>
                    <a:cubicBezTo>
                      <a:pt x="219" y="6272"/>
                      <a:pt x="7080" y="81"/>
                      <a:pt x="15630" y="81"/>
                    </a:cubicBezTo>
                    <a:cubicBezTo>
                      <a:pt x="24180" y="81"/>
                      <a:pt x="31041" y="6272"/>
                      <a:pt x="31041" y="13988"/>
                    </a:cubicBezTo>
                    <a:lnTo>
                      <a:pt x="31041" y="1398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77" name="Freeform: Shape 276">
                <a:extLst>
                  <a:ext uri="{FF2B5EF4-FFF2-40B4-BE49-F238E27FC236}">
                    <a16:creationId xmlns:a16="http://schemas.microsoft.com/office/drawing/2014/main" id="{D92ABC81-D117-728B-2B6B-D49B3174EE6C}"/>
                  </a:ext>
                </a:extLst>
              </p:cNvPr>
              <p:cNvSpPr/>
              <p:nvPr/>
            </p:nvSpPr>
            <p:spPr>
              <a:xfrm>
                <a:off x="9502871" y="2946852"/>
                <a:ext cx="30821" cy="27813"/>
              </a:xfrm>
              <a:custGeom>
                <a:avLst/>
                <a:gdLst>
                  <a:gd name="connsiteX0" fmla="*/ 31038 w 30821"/>
                  <a:gd name="connsiteY0" fmla="*/ 13987 h 27813"/>
                  <a:gd name="connsiteX1" fmla="*/ 15627 w 30821"/>
                  <a:gd name="connsiteY1" fmla="*/ 27893 h 27813"/>
                  <a:gd name="connsiteX2" fmla="*/ 216 w 30821"/>
                  <a:gd name="connsiteY2" fmla="*/ 13987 h 27813"/>
                  <a:gd name="connsiteX3" fmla="*/ 15627 w 30821"/>
                  <a:gd name="connsiteY3" fmla="*/ 80 h 27813"/>
                  <a:gd name="connsiteX4" fmla="*/ 31038 w 30821"/>
                  <a:gd name="connsiteY4" fmla="*/ 13987 h 27813"/>
                  <a:gd name="connsiteX5" fmla="*/ 31038 w 30821"/>
                  <a:gd name="connsiteY5" fmla="*/ 1398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38" y="13987"/>
                    </a:moveTo>
                    <a:cubicBezTo>
                      <a:pt x="31038" y="21702"/>
                      <a:pt x="24177" y="27893"/>
                      <a:pt x="15627" y="27893"/>
                    </a:cubicBezTo>
                    <a:cubicBezTo>
                      <a:pt x="7077" y="27893"/>
                      <a:pt x="216" y="21702"/>
                      <a:pt x="216" y="13987"/>
                    </a:cubicBezTo>
                    <a:cubicBezTo>
                      <a:pt x="216" y="6272"/>
                      <a:pt x="7077" y="80"/>
                      <a:pt x="15627" y="80"/>
                    </a:cubicBezTo>
                    <a:cubicBezTo>
                      <a:pt x="24177" y="80"/>
                      <a:pt x="31038" y="6272"/>
                      <a:pt x="31038" y="13987"/>
                    </a:cubicBezTo>
                    <a:lnTo>
                      <a:pt x="31038" y="1398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78" name="Freeform: Shape 277">
                <a:extLst>
                  <a:ext uri="{FF2B5EF4-FFF2-40B4-BE49-F238E27FC236}">
                    <a16:creationId xmlns:a16="http://schemas.microsoft.com/office/drawing/2014/main" id="{B0530FD3-1142-9DF2-EB40-77E2A616561C}"/>
                  </a:ext>
                </a:extLst>
              </p:cNvPr>
              <p:cNvSpPr/>
              <p:nvPr/>
            </p:nvSpPr>
            <p:spPr>
              <a:xfrm>
                <a:off x="9596918" y="2974284"/>
                <a:ext cx="30821" cy="27813"/>
              </a:xfrm>
              <a:custGeom>
                <a:avLst/>
                <a:gdLst>
                  <a:gd name="connsiteX0" fmla="*/ 31047 w 30821"/>
                  <a:gd name="connsiteY0" fmla="*/ 13990 h 27813"/>
                  <a:gd name="connsiteX1" fmla="*/ 15636 w 30821"/>
                  <a:gd name="connsiteY1" fmla="*/ 27896 h 27813"/>
                  <a:gd name="connsiteX2" fmla="*/ 225 w 30821"/>
                  <a:gd name="connsiteY2" fmla="*/ 13990 h 27813"/>
                  <a:gd name="connsiteX3" fmla="*/ 15636 w 30821"/>
                  <a:gd name="connsiteY3" fmla="*/ 83 h 27813"/>
                  <a:gd name="connsiteX4" fmla="*/ 31047 w 30821"/>
                  <a:gd name="connsiteY4" fmla="*/ 13990 h 27813"/>
                  <a:gd name="connsiteX5" fmla="*/ 31047 w 30821"/>
                  <a:gd name="connsiteY5" fmla="*/ 1399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47" y="13990"/>
                    </a:moveTo>
                    <a:cubicBezTo>
                      <a:pt x="31047" y="21705"/>
                      <a:pt x="24186" y="27896"/>
                      <a:pt x="15636" y="27896"/>
                    </a:cubicBezTo>
                    <a:cubicBezTo>
                      <a:pt x="7086" y="27896"/>
                      <a:pt x="225" y="21705"/>
                      <a:pt x="225" y="13990"/>
                    </a:cubicBezTo>
                    <a:cubicBezTo>
                      <a:pt x="225" y="6274"/>
                      <a:pt x="7086" y="83"/>
                      <a:pt x="15636" y="83"/>
                    </a:cubicBezTo>
                    <a:cubicBezTo>
                      <a:pt x="24186" y="83"/>
                      <a:pt x="31047" y="6274"/>
                      <a:pt x="31047" y="13990"/>
                    </a:cubicBezTo>
                    <a:lnTo>
                      <a:pt x="31047" y="1399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79" name="Freeform: Shape 278">
                <a:extLst>
                  <a:ext uri="{FF2B5EF4-FFF2-40B4-BE49-F238E27FC236}">
                    <a16:creationId xmlns:a16="http://schemas.microsoft.com/office/drawing/2014/main" id="{529EACB0-7162-7333-BB22-B297BEE6AE6E}"/>
                  </a:ext>
                </a:extLst>
              </p:cNvPr>
              <p:cNvSpPr/>
              <p:nvPr/>
            </p:nvSpPr>
            <p:spPr>
              <a:xfrm>
                <a:off x="9723581" y="3006765"/>
                <a:ext cx="30821" cy="27813"/>
              </a:xfrm>
              <a:custGeom>
                <a:avLst/>
                <a:gdLst>
                  <a:gd name="connsiteX0" fmla="*/ 31059 w 30821"/>
                  <a:gd name="connsiteY0" fmla="*/ 13993 h 27813"/>
                  <a:gd name="connsiteX1" fmla="*/ 15648 w 30821"/>
                  <a:gd name="connsiteY1" fmla="*/ 27900 h 27813"/>
                  <a:gd name="connsiteX2" fmla="*/ 237 w 30821"/>
                  <a:gd name="connsiteY2" fmla="*/ 13993 h 27813"/>
                  <a:gd name="connsiteX3" fmla="*/ 15648 w 30821"/>
                  <a:gd name="connsiteY3" fmla="*/ 87 h 27813"/>
                  <a:gd name="connsiteX4" fmla="*/ 31059 w 30821"/>
                  <a:gd name="connsiteY4" fmla="*/ 13993 h 27813"/>
                  <a:gd name="connsiteX5" fmla="*/ 31059 w 30821"/>
                  <a:gd name="connsiteY5" fmla="*/ 1399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59" y="13993"/>
                    </a:moveTo>
                    <a:cubicBezTo>
                      <a:pt x="31059" y="21708"/>
                      <a:pt x="24198" y="27900"/>
                      <a:pt x="15648" y="27900"/>
                    </a:cubicBezTo>
                    <a:cubicBezTo>
                      <a:pt x="7098" y="27900"/>
                      <a:pt x="237" y="21708"/>
                      <a:pt x="237" y="13993"/>
                    </a:cubicBezTo>
                    <a:cubicBezTo>
                      <a:pt x="237" y="6278"/>
                      <a:pt x="7098" y="87"/>
                      <a:pt x="15648" y="87"/>
                    </a:cubicBezTo>
                    <a:cubicBezTo>
                      <a:pt x="24198" y="87"/>
                      <a:pt x="31059" y="6278"/>
                      <a:pt x="31059" y="13993"/>
                    </a:cubicBezTo>
                    <a:lnTo>
                      <a:pt x="31059" y="13993"/>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80" name="Freeform: Shape 279">
                <a:extLst>
                  <a:ext uri="{FF2B5EF4-FFF2-40B4-BE49-F238E27FC236}">
                    <a16:creationId xmlns:a16="http://schemas.microsoft.com/office/drawing/2014/main" id="{332C59A9-67D9-B27A-F130-5854FC639454}"/>
                  </a:ext>
                </a:extLst>
              </p:cNvPr>
              <p:cNvSpPr/>
              <p:nvPr/>
            </p:nvSpPr>
            <p:spPr>
              <a:xfrm>
                <a:off x="9755247" y="3006765"/>
                <a:ext cx="30821" cy="27813"/>
              </a:xfrm>
              <a:custGeom>
                <a:avLst/>
                <a:gdLst>
                  <a:gd name="connsiteX0" fmla="*/ 31062 w 30821"/>
                  <a:gd name="connsiteY0" fmla="*/ 13993 h 27813"/>
                  <a:gd name="connsiteX1" fmla="*/ 15651 w 30821"/>
                  <a:gd name="connsiteY1" fmla="*/ 27900 h 27813"/>
                  <a:gd name="connsiteX2" fmla="*/ 240 w 30821"/>
                  <a:gd name="connsiteY2" fmla="*/ 13993 h 27813"/>
                  <a:gd name="connsiteX3" fmla="*/ 15651 w 30821"/>
                  <a:gd name="connsiteY3" fmla="*/ 87 h 27813"/>
                  <a:gd name="connsiteX4" fmla="*/ 31062 w 30821"/>
                  <a:gd name="connsiteY4" fmla="*/ 13993 h 27813"/>
                  <a:gd name="connsiteX5" fmla="*/ 31062 w 30821"/>
                  <a:gd name="connsiteY5" fmla="*/ 1399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62" y="13993"/>
                    </a:moveTo>
                    <a:cubicBezTo>
                      <a:pt x="31062" y="21708"/>
                      <a:pt x="24201" y="27900"/>
                      <a:pt x="15651" y="27900"/>
                    </a:cubicBezTo>
                    <a:cubicBezTo>
                      <a:pt x="7101" y="27900"/>
                      <a:pt x="240" y="21708"/>
                      <a:pt x="240" y="13993"/>
                    </a:cubicBezTo>
                    <a:cubicBezTo>
                      <a:pt x="240" y="6278"/>
                      <a:pt x="7101" y="87"/>
                      <a:pt x="15651" y="87"/>
                    </a:cubicBezTo>
                    <a:cubicBezTo>
                      <a:pt x="24201" y="87"/>
                      <a:pt x="31062" y="6278"/>
                      <a:pt x="31062" y="13993"/>
                    </a:cubicBezTo>
                    <a:lnTo>
                      <a:pt x="31062" y="13993"/>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81" name="Freeform: Shape 280">
                <a:extLst>
                  <a:ext uri="{FF2B5EF4-FFF2-40B4-BE49-F238E27FC236}">
                    <a16:creationId xmlns:a16="http://schemas.microsoft.com/office/drawing/2014/main" id="{6C9E1FEF-797C-9C1E-288D-C6917C93E9D2}"/>
                  </a:ext>
                </a:extLst>
              </p:cNvPr>
              <p:cNvSpPr/>
              <p:nvPr/>
            </p:nvSpPr>
            <p:spPr>
              <a:xfrm>
                <a:off x="9797573" y="3006765"/>
                <a:ext cx="30821" cy="27813"/>
              </a:xfrm>
              <a:custGeom>
                <a:avLst/>
                <a:gdLst>
                  <a:gd name="connsiteX0" fmla="*/ 31066 w 30821"/>
                  <a:gd name="connsiteY0" fmla="*/ 13993 h 27813"/>
                  <a:gd name="connsiteX1" fmla="*/ 15655 w 30821"/>
                  <a:gd name="connsiteY1" fmla="*/ 27900 h 27813"/>
                  <a:gd name="connsiteX2" fmla="*/ 244 w 30821"/>
                  <a:gd name="connsiteY2" fmla="*/ 13993 h 27813"/>
                  <a:gd name="connsiteX3" fmla="*/ 15655 w 30821"/>
                  <a:gd name="connsiteY3" fmla="*/ 87 h 27813"/>
                  <a:gd name="connsiteX4" fmla="*/ 31066 w 30821"/>
                  <a:gd name="connsiteY4" fmla="*/ 13993 h 27813"/>
                  <a:gd name="connsiteX5" fmla="*/ 31066 w 30821"/>
                  <a:gd name="connsiteY5" fmla="*/ 13993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66" y="13993"/>
                    </a:moveTo>
                    <a:cubicBezTo>
                      <a:pt x="31066" y="21708"/>
                      <a:pt x="24205" y="27900"/>
                      <a:pt x="15655" y="27900"/>
                    </a:cubicBezTo>
                    <a:cubicBezTo>
                      <a:pt x="7105" y="27900"/>
                      <a:pt x="244" y="21708"/>
                      <a:pt x="244" y="13993"/>
                    </a:cubicBezTo>
                    <a:cubicBezTo>
                      <a:pt x="244" y="6278"/>
                      <a:pt x="7105" y="87"/>
                      <a:pt x="15655" y="87"/>
                    </a:cubicBezTo>
                    <a:cubicBezTo>
                      <a:pt x="24205" y="87"/>
                      <a:pt x="31066" y="6278"/>
                      <a:pt x="31066" y="13993"/>
                    </a:cubicBezTo>
                    <a:lnTo>
                      <a:pt x="31066" y="13993"/>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82" name="Freeform: Shape 281">
                <a:extLst>
                  <a:ext uri="{FF2B5EF4-FFF2-40B4-BE49-F238E27FC236}">
                    <a16:creationId xmlns:a16="http://schemas.microsoft.com/office/drawing/2014/main" id="{792C518D-5B66-E324-BE07-CF6E7907B93C}"/>
                  </a:ext>
                </a:extLst>
              </p:cNvPr>
              <p:cNvSpPr/>
              <p:nvPr/>
            </p:nvSpPr>
            <p:spPr>
              <a:xfrm>
                <a:off x="9850350" y="3020671"/>
                <a:ext cx="30821" cy="27813"/>
              </a:xfrm>
              <a:custGeom>
                <a:avLst/>
                <a:gdLst>
                  <a:gd name="connsiteX0" fmla="*/ 31071 w 30821"/>
                  <a:gd name="connsiteY0" fmla="*/ 13995 h 27813"/>
                  <a:gd name="connsiteX1" fmla="*/ 15660 w 30821"/>
                  <a:gd name="connsiteY1" fmla="*/ 27901 h 27813"/>
                  <a:gd name="connsiteX2" fmla="*/ 249 w 30821"/>
                  <a:gd name="connsiteY2" fmla="*/ 13995 h 27813"/>
                  <a:gd name="connsiteX3" fmla="*/ 15660 w 30821"/>
                  <a:gd name="connsiteY3" fmla="*/ 88 h 27813"/>
                  <a:gd name="connsiteX4" fmla="*/ 31071 w 30821"/>
                  <a:gd name="connsiteY4" fmla="*/ 13995 h 27813"/>
                  <a:gd name="connsiteX5" fmla="*/ 31071 w 30821"/>
                  <a:gd name="connsiteY5" fmla="*/ 13995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71" y="13995"/>
                    </a:moveTo>
                    <a:cubicBezTo>
                      <a:pt x="31071" y="21710"/>
                      <a:pt x="24210" y="27901"/>
                      <a:pt x="15660" y="27901"/>
                    </a:cubicBezTo>
                    <a:cubicBezTo>
                      <a:pt x="7110" y="27901"/>
                      <a:pt x="249" y="21710"/>
                      <a:pt x="249" y="13995"/>
                    </a:cubicBezTo>
                    <a:cubicBezTo>
                      <a:pt x="249" y="6279"/>
                      <a:pt x="7110" y="88"/>
                      <a:pt x="15660" y="88"/>
                    </a:cubicBezTo>
                    <a:cubicBezTo>
                      <a:pt x="24210" y="88"/>
                      <a:pt x="31071" y="6279"/>
                      <a:pt x="31071" y="13995"/>
                    </a:cubicBezTo>
                    <a:lnTo>
                      <a:pt x="31071" y="13995"/>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83" name="Freeform: Shape 282">
                <a:extLst>
                  <a:ext uri="{FF2B5EF4-FFF2-40B4-BE49-F238E27FC236}">
                    <a16:creationId xmlns:a16="http://schemas.microsoft.com/office/drawing/2014/main" id="{88D42618-652E-5E87-2E75-13D5554E5185}"/>
                  </a:ext>
                </a:extLst>
              </p:cNvPr>
              <p:cNvSpPr/>
              <p:nvPr/>
            </p:nvSpPr>
            <p:spPr>
              <a:xfrm>
                <a:off x="10010367" y="3034578"/>
                <a:ext cx="30821" cy="27813"/>
              </a:xfrm>
              <a:custGeom>
                <a:avLst/>
                <a:gdLst>
                  <a:gd name="connsiteX0" fmla="*/ 31086 w 30821"/>
                  <a:gd name="connsiteY0" fmla="*/ 13996 h 27813"/>
                  <a:gd name="connsiteX1" fmla="*/ 15675 w 30821"/>
                  <a:gd name="connsiteY1" fmla="*/ 27903 h 27813"/>
                  <a:gd name="connsiteX2" fmla="*/ 264 w 30821"/>
                  <a:gd name="connsiteY2" fmla="*/ 13996 h 27813"/>
                  <a:gd name="connsiteX3" fmla="*/ 15675 w 30821"/>
                  <a:gd name="connsiteY3" fmla="*/ 90 h 27813"/>
                  <a:gd name="connsiteX4" fmla="*/ 31086 w 30821"/>
                  <a:gd name="connsiteY4" fmla="*/ 13996 h 27813"/>
                  <a:gd name="connsiteX5" fmla="*/ 31086 w 30821"/>
                  <a:gd name="connsiteY5" fmla="*/ 13996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86" y="13996"/>
                    </a:moveTo>
                    <a:cubicBezTo>
                      <a:pt x="31086" y="21711"/>
                      <a:pt x="24225" y="27903"/>
                      <a:pt x="15675" y="27903"/>
                    </a:cubicBezTo>
                    <a:cubicBezTo>
                      <a:pt x="7125" y="27903"/>
                      <a:pt x="264" y="21711"/>
                      <a:pt x="264" y="13996"/>
                    </a:cubicBezTo>
                    <a:cubicBezTo>
                      <a:pt x="264" y="6281"/>
                      <a:pt x="7125" y="90"/>
                      <a:pt x="15675" y="90"/>
                    </a:cubicBezTo>
                    <a:cubicBezTo>
                      <a:pt x="24225" y="90"/>
                      <a:pt x="31086" y="6281"/>
                      <a:pt x="31086" y="13996"/>
                    </a:cubicBezTo>
                    <a:lnTo>
                      <a:pt x="31086" y="13996"/>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84" name="Freeform: Shape 283">
                <a:extLst>
                  <a:ext uri="{FF2B5EF4-FFF2-40B4-BE49-F238E27FC236}">
                    <a16:creationId xmlns:a16="http://schemas.microsoft.com/office/drawing/2014/main" id="{2654B79E-512E-F8E4-D078-25EA02CBAEFE}"/>
                  </a:ext>
                </a:extLst>
              </p:cNvPr>
              <p:cNvSpPr/>
              <p:nvPr/>
            </p:nvSpPr>
            <p:spPr>
              <a:xfrm>
                <a:off x="10052588" y="3044103"/>
                <a:ext cx="30821" cy="27813"/>
              </a:xfrm>
              <a:custGeom>
                <a:avLst/>
                <a:gdLst>
                  <a:gd name="connsiteX0" fmla="*/ 31090 w 30821"/>
                  <a:gd name="connsiteY0" fmla="*/ 13997 h 27813"/>
                  <a:gd name="connsiteX1" fmla="*/ 15679 w 30821"/>
                  <a:gd name="connsiteY1" fmla="*/ 27904 h 27813"/>
                  <a:gd name="connsiteX2" fmla="*/ 268 w 30821"/>
                  <a:gd name="connsiteY2" fmla="*/ 13997 h 27813"/>
                  <a:gd name="connsiteX3" fmla="*/ 15679 w 30821"/>
                  <a:gd name="connsiteY3" fmla="*/ 91 h 27813"/>
                  <a:gd name="connsiteX4" fmla="*/ 31090 w 30821"/>
                  <a:gd name="connsiteY4" fmla="*/ 13997 h 27813"/>
                  <a:gd name="connsiteX5" fmla="*/ 31090 w 30821"/>
                  <a:gd name="connsiteY5" fmla="*/ 1399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90" y="13997"/>
                    </a:moveTo>
                    <a:cubicBezTo>
                      <a:pt x="31090" y="21712"/>
                      <a:pt x="24229" y="27904"/>
                      <a:pt x="15679" y="27904"/>
                    </a:cubicBezTo>
                    <a:cubicBezTo>
                      <a:pt x="7129" y="27904"/>
                      <a:pt x="268" y="21712"/>
                      <a:pt x="268" y="13997"/>
                    </a:cubicBezTo>
                    <a:cubicBezTo>
                      <a:pt x="268" y="6282"/>
                      <a:pt x="7129" y="91"/>
                      <a:pt x="15679" y="91"/>
                    </a:cubicBezTo>
                    <a:cubicBezTo>
                      <a:pt x="24229" y="91"/>
                      <a:pt x="31090" y="6282"/>
                      <a:pt x="31090" y="13997"/>
                    </a:cubicBezTo>
                    <a:lnTo>
                      <a:pt x="31090" y="1399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85" name="Freeform: Shape 284">
                <a:extLst>
                  <a:ext uri="{FF2B5EF4-FFF2-40B4-BE49-F238E27FC236}">
                    <a16:creationId xmlns:a16="http://schemas.microsoft.com/office/drawing/2014/main" id="{F05F2EAE-1CE9-B3D5-9A97-EED7B139E37D}"/>
                  </a:ext>
                </a:extLst>
              </p:cNvPr>
              <p:cNvSpPr/>
              <p:nvPr/>
            </p:nvSpPr>
            <p:spPr>
              <a:xfrm>
                <a:off x="10105365" y="3044103"/>
                <a:ext cx="30821" cy="27813"/>
              </a:xfrm>
              <a:custGeom>
                <a:avLst/>
                <a:gdLst>
                  <a:gd name="connsiteX0" fmla="*/ 31095 w 30821"/>
                  <a:gd name="connsiteY0" fmla="*/ 13997 h 27813"/>
                  <a:gd name="connsiteX1" fmla="*/ 15684 w 30821"/>
                  <a:gd name="connsiteY1" fmla="*/ 27904 h 27813"/>
                  <a:gd name="connsiteX2" fmla="*/ 273 w 30821"/>
                  <a:gd name="connsiteY2" fmla="*/ 13997 h 27813"/>
                  <a:gd name="connsiteX3" fmla="*/ 15684 w 30821"/>
                  <a:gd name="connsiteY3" fmla="*/ 91 h 27813"/>
                  <a:gd name="connsiteX4" fmla="*/ 31095 w 30821"/>
                  <a:gd name="connsiteY4" fmla="*/ 13997 h 27813"/>
                  <a:gd name="connsiteX5" fmla="*/ 31095 w 30821"/>
                  <a:gd name="connsiteY5" fmla="*/ 1399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95" y="13997"/>
                    </a:moveTo>
                    <a:cubicBezTo>
                      <a:pt x="31095" y="21712"/>
                      <a:pt x="24234" y="27904"/>
                      <a:pt x="15684" y="27904"/>
                    </a:cubicBezTo>
                    <a:cubicBezTo>
                      <a:pt x="7134" y="27904"/>
                      <a:pt x="273" y="21712"/>
                      <a:pt x="273" y="13997"/>
                    </a:cubicBezTo>
                    <a:cubicBezTo>
                      <a:pt x="273" y="6282"/>
                      <a:pt x="7134" y="91"/>
                      <a:pt x="15684" y="91"/>
                    </a:cubicBezTo>
                    <a:cubicBezTo>
                      <a:pt x="24234" y="91"/>
                      <a:pt x="31095" y="6282"/>
                      <a:pt x="31095" y="13997"/>
                    </a:cubicBezTo>
                    <a:lnTo>
                      <a:pt x="31095" y="1399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86" name="Freeform: Shape 285">
                <a:extLst>
                  <a:ext uri="{FF2B5EF4-FFF2-40B4-BE49-F238E27FC236}">
                    <a16:creationId xmlns:a16="http://schemas.microsoft.com/office/drawing/2014/main" id="{922D7AC3-3989-FEFB-A6FD-FCA54A0B4CB5}"/>
                  </a:ext>
                </a:extLst>
              </p:cNvPr>
              <p:cNvSpPr/>
              <p:nvPr/>
            </p:nvSpPr>
            <p:spPr>
              <a:xfrm>
                <a:off x="10137031" y="3044103"/>
                <a:ext cx="30821" cy="27813"/>
              </a:xfrm>
              <a:custGeom>
                <a:avLst/>
                <a:gdLst>
                  <a:gd name="connsiteX0" fmla="*/ 31098 w 30821"/>
                  <a:gd name="connsiteY0" fmla="*/ 13997 h 27813"/>
                  <a:gd name="connsiteX1" fmla="*/ 15687 w 30821"/>
                  <a:gd name="connsiteY1" fmla="*/ 27904 h 27813"/>
                  <a:gd name="connsiteX2" fmla="*/ 276 w 30821"/>
                  <a:gd name="connsiteY2" fmla="*/ 13997 h 27813"/>
                  <a:gd name="connsiteX3" fmla="*/ 15687 w 30821"/>
                  <a:gd name="connsiteY3" fmla="*/ 91 h 27813"/>
                  <a:gd name="connsiteX4" fmla="*/ 31098 w 30821"/>
                  <a:gd name="connsiteY4" fmla="*/ 13997 h 27813"/>
                  <a:gd name="connsiteX5" fmla="*/ 31098 w 30821"/>
                  <a:gd name="connsiteY5" fmla="*/ 1399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098" y="13997"/>
                    </a:moveTo>
                    <a:cubicBezTo>
                      <a:pt x="31098" y="21712"/>
                      <a:pt x="24237" y="27904"/>
                      <a:pt x="15687" y="27904"/>
                    </a:cubicBezTo>
                    <a:cubicBezTo>
                      <a:pt x="7137" y="27904"/>
                      <a:pt x="276" y="21712"/>
                      <a:pt x="276" y="13997"/>
                    </a:cubicBezTo>
                    <a:cubicBezTo>
                      <a:pt x="276" y="6282"/>
                      <a:pt x="7137" y="91"/>
                      <a:pt x="15687" y="91"/>
                    </a:cubicBezTo>
                    <a:cubicBezTo>
                      <a:pt x="24237" y="91"/>
                      <a:pt x="31098" y="6282"/>
                      <a:pt x="31098" y="13997"/>
                    </a:cubicBezTo>
                    <a:lnTo>
                      <a:pt x="31098" y="1399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87" name="Freeform: Shape 286">
                <a:extLst>
                  <a:ext uri="{FF2B5EF4-FFF2-40B4-BE49-F238E27FC236}">
                    <a16:creationId xmlns:a16="http://schemas.microsoft.com/office/drawing/2014/main" id="{EB5C71D3-9B80-CB1F-B11C-CDF4F49962FD}"/>
                  </a:ext>
                </a:extLst>
              </p:cNvPr>
              <p:cNvSpPr/>
              <p:nvPr/>
            </p:nvSpPr>
            <p:spPr>
              <a:xfrm>
                <a:off x="10168696" y="3048484"/>
                <a:ext cx="30821" cy="27813"/>
              </a:xfrm>
              <a:custGeom>
                <a:avLst/>
                <a:gdLst>
                  <a:gd name="connsiteX0" fmla="*/ 31101 w 30821"/>
                  <a:gd name="connsiteY0" fmla="*/ 13997 h 27813"/>
                  <a:gd name="connsiteX1" fmla="*/ 15690 w 30821"/>
                  <a:gd name="connsiteY1" fmla="*/ 27904 h 27813"/>
                  <a:gd name="connsiteX2" fmla="*/ 279 w 30821"/>
                  <a:gd name="connsiteY2" fmla="*/ 13997 h 27813"/>
                  <a:gd name="connsiteX3" fmla="*/ 15690 w 30821"/>
                  <a:gd name="connsiteY3" fmla="*/ 91 h 27813"/>
                  <a:gd name="connsiteX4" fmla="*/ 31101 w 30821"/>
                  <a:gd name="connsiteY4" fmla="*/ 13997 h 27813"/>
                  <a:gd name="connsiteX5" fmla="*/ 31101 w 30821"/>
                  <a:gd name="connsiteY5" fmla="*/ 13997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01" y="13997"/>
                    </a:moveTo>
                    <a:cubicBezTo>
                      <a:pt x="31101" y="21713"/>
                      <a:pt x="24240" y="27904"/>
                      <a:pt x="15690" y="27904"/>
                    </a:cubicBezTo>
                    <a:cubicBezTo>
                      <a:pt x="7140" y="27904"/>
                      <a:pt x="279" y="21713"/>
                      <a:pt x="279" y="13997"/>
                    </a:cubicBezTo>
                    <a:cubicBezTo>
                      <a:pt x="279" y="6282"/>
                      <a:pt x="7140" y="91"/>
                      <a:pt x="15690" y="91"/>
                    </a:cubicBezTo>
                    <a:cubicBezTo>
                      <a:pt x="24240" y="91"/>
                      <a:pt x="31101" y="6282"/>
                      <a:pt x="31101" y="13997"/>
                    </a:cubicBezTo>
                    <a:lnTo>
                      <a:pt x="31101" y="13997"/>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88" name="Freeform: Shape 287">
                <a:extLst>
                  <a:ext uri="{FF2B5EF4-FFF2-40B4-BE49-F238E27FC236}">
                    <a16:creationId xmlns:a16="http://schemas.microsoft.com/office/drawing/2014/main" id="{71EB574B-67C1-1648-B37C-4CA3DA19E3D3}"/>
                  </a:ext>
                </a:extLst>
              </p:cNvPr>
              <p:cNvSpPr/>
              <p:nvPr/>
            </p:nvSpPr>
            <p:spPr>
              <a:xfrm>
                <a:off x="10198673" y="3053247"/>
                <a:ext cx="30821" cy="27813"/>
              </a:xfrm>
              <a:custGeom>
                <a:avLst/>
                <a:gdLst>
                  <a:gd name="connsiteX0" fmla="*/ 31104 w 30821"/>
                  <a:gd name="connsiteY0" fmla="*/ 13998 h 27813"/>
                  <a:gd name="connsiteX1" fmla="*/ 15693 w 30821"/>
                  <a:gd name="connsiteY1" fmla="*/ 27904 h 27813"/>
                  <a:gd name="connsiteX2" fmla="*/ 282 w 30821"/>
                  <a:gd name="connsiteY2" fmla="*/ 13998 h 27813"/>
                  <a:gd name="connsiteX3" fmla="*/ 15693 w 30821"/>
                  <a:gd name="connsiteY3" fmla="*/ 91 h 27813"/>
                  <a:gd name="connsiteX4" fmla="*/ 31104 w 30821"/>
                  <a:gd name="connsiteY4" fmla="*/ 13998 h 27813"/>
                  <a:gd name="connsiteX5" fmla="*/ 31104 w 30821"/>
                  <a:gd name="connsiteY5" fmla="*/ 13998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04" y="13998"/>
                    </a:moveTo>
                    <a:cubicBezTo>
                      <a:pt x="31104" y="21713"/>
                      <a:pt x="24243" y="27904"/>
                      <a:pt x="15693" y="27904"/>
                    </a:cubicBezTo>
                    <a:cubicBezTo>
                      <a:pt x="7143" y="27904"/>
                      <a:pt x="282" y="21713"/>
                      <a:pt x="282" y="13998"/>
                    </a:cubicBezTo>
                    <a:cubicBezTo>
                      <a:pt x="282" y="6283"/>
                      <a:pt x="7143" y="91"/>
                      <a:pt x="15693" y="91"/>
                    </a:cubicBezTo>
                    <a:cubicBezTo>
                      <a:pt x="24243" y="91"/>
                      <a:pt x="31104" y="6283"/>
                      <a:pt x="31104" y="13998"/>
                    </a:cubicBezTo>
                    <a:lnTo>
                      <a:pt x="31104" y="13998"/>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89" name="Freeform: Shape 288">
                <a:extLst>
                  <a:ext uri="{FF2B5EF4-FFF2-40B4-BE49-F238E27FC236}">
                    <a16:creationId xmlns:a16="http://schemas.microsoft.com/office/drawing/2014/main" id="{99C427AF-5CB3-4F03-7C46-3F0542FA1A44}"/>
                  </a:ext>
                </a:extLst>
              </p:cNvPr>
              <p:cNvSpPr/>
              <p:nvPr/>
            </p:nvSpPr>
            <p:spPr>
              <a:xfrm>
                <a:off x="10224111" y="3062295"/>
                <a:ext cx="30821" cy="27813"/>
              </a:xfrm>
              <a:custGeom>
                <a:avLst/>
                <a:gdLst>
                  <a:gd name="connsiteX0" fmla="*/ 31106 w 30821"/>
                  <a:gd name="connsiteY0" fmla="*/ 13999 h 27813"/>
                  <a:gd name="connsiteX1" fmla="*/ 15695 w 30821"/>
                  <a:gd name="connsiteY1" fmla="*/ 27905 h 27813"/>
                  <a:gd name="connsiteX2" fmla="*/ 285 w 30821"/>
                  <a:gd name="connsiteY2" fmla="*/ 13999 h 27813"/>
                  <a:gd name="connsiteX3" fmla="*/ 15695 w 30821"/>
                  <a:gd name="connsiteY3" fmla="*/ 92 h 27813"/>
                  <a:gd name="connsiteX4" fmla="*/ 31106 w 30821"/>
                  <a:gd name="connsiteY4" fmla="*/ 13999 h 27813"/>
                  <a:gd name="connsiteX5" fmla="*/ 31106 w 30821"/>
                  <a:gd name="connsiteY5" fmla="*/ 1399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06" y="13999"/>
                    </a:moveTo>
                    <a:cubicBezTo>
                      <a:pt x="31106" y="21714"/>
                      <a:pt x="24245" y="27905"/>
                      <a:pt x="15695" y="27905"/>
                    </a:cubicBezTo>
                    <a:cubicBezTo>
                      <a:pt x="7146" y="27905"/>
                      <a:pt x="285" y="21714"/>
                      <a:pt x="285" y="13999"/>
                    </a:cubicBezTo>
                    <a:cubicBezTo>
                      <a:pt x="285" y="6284"/>
                      <a:pt x="7146" y="92"/>
                      <a:pt x="15695" y="92"/>
                    </a:cubicBezTo>
                    <a:cubicBezTo>
                      <a:pt x="24245" y="92"/>
                      <a:pt x="31106" y="6284"/>
                      <a:pt x="31106" y="13999"/>
                    </a:cubicBezTo>
                    <a:lnTo>
                      <a:pt x="31106" y="13999"/>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90" name="Freeform: Shape 289">
                <a:extLst>
                  <a:ext uri="{FF2B5EF4-FFF2-40B4-BE49-F238E27FC236}">
                    <a16:creationId xmlns:a16="http://schemas.microsoft.com/office/drawing/2014/main" id="{81EE88EE-3755-43CE-D8A3-4A69DD3C3FBD}"/>
                  </a:ext>
                </a:extLst>
              </p:cNvPr>
              <p:cNvSpPr/>
              <p:nvPr/>
            </p:nvSpPr>
            <p:spPr>
              <a:xfrm>
                <a:off x="10255777" y="3062295"/>
                <a:ext cx="30821" cy="27813"/>
              </a:xfrm>
              <a:custGeom>
                <a:avLst/>
                <a:gdLst>
                  <a:gd name="connsiteX0" fmla="*/ 31109 w 30821"/>
                  <a:gd name="connsiteY0" fmla="*/ 13999 h 27813"/>
                  <a:gd name="connsiteX1" fmla="*/ 15698 w 30821"/>
                  <a:gd name="connsiteY1" fmla="*/ 27905 h 27813"/>
                  <a:gd name="connsiteX2" fmla="*/ 288 w 30821"/>
                  <a:gd name="connsiteY2" fmla="*/ 13999 h 27813"/>
                  <a:gd name="connsiteX3" fmla="*/ 15698 w 30821"/>
                  <a:gd name="connsiteY3" fmla="*/ 92 h 27813"/>
                  <a:gd name="connsiteX4" fmla="*/ 31109 w 30821"/>
                  <a:gd name="connsiteY4" fmla="*/ 13999 h 27813"/>
                  <a:gd name="connsiteX5" fmla="*/ 31109 w 30821"/>
                  <a:gd name="connsiteY5" fmla="*/ 1399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09" y="13999"/>
                    </a:moveTo>
                    <a:cubicBezTo>
                      <a:pt x="31109" y="21714"/>
                      <a:pt x="24248" y="27905"/>
                      <a:pt x="15698" y="27905"/>
                    </a:cubicBezTo>
                    <a:cubicBezTo>
                      <a:pt x="7149" y="27905"/>
                      <a:pt x="288" y="21714"/>
                      <a:pt x="288" y="13999"/>
                    </a:cubicBezTo>
                    <a:cubicBezTo>
                      <a:pt x="288" y="6284"/>
                      <a:pt x="7149" y="92"/>
                      <a:pt x="15698" y="92"/>
                    </a:cubicBezTo>
                    <a:cubicBezTo>
                      <a:pt x="24248" y="92"/>
                      <a:pt x="31109" y="6284"/>
                      <a:pt x="31109" y="13999"/>
                    </a:cubicBezTo>
                    <a:lnTo>
                      <a:pt x="31109" y="13999"/>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91" name="Freeform: Shape 290">
                <a:extLst>
                  <a:ext uri="{FF2B5EF4-FFF2-40B4-BE49-F238E27FC236}">
                    <a16:creationId xmlns:a16="http://schemas.microsoft.com/office/drawing/2014/main" id="{A44AF4DB-B912-2A99-5735-46242C2F56D8}"/>
                  </a:ext>
                </a:extLst>
              </p:cNvPr>
              <p:cNvSpPr/>
              <p:nvPr/>
            </p:nvSpPr>
            <p:spPr>
              <a:xfrm>
                <a:off x="10287443" y="3062295"/>
                <a:ext cx="30821" cy="27813"/>
              </a:xfrm>
              <a:custGeom>
                <a:avLst/>
                <a:gdLst>
                  <a:gd name="connsiteX0" fmla="*/ 31112 w 30821"/>
                  <a:gd name="connsiteY0" fmla="*/ 13999 h 27813"/>
                  <a:gd name="connsiteX1" fmla="*/ 15701 w 30821"/>
                  <a:gd name="connsiteY1" fmla="*/ 27905 h 27813"/>
                  <a:gd name="connsiteX2" fmla="*/ 291 w 30821"/>
                  <a:gd name="connsiteY2" fmla="*/ 13999 h 27813"/>
                  <a:gd name="connsiteX3" fmla="*/ 15701 w 30821"/>
                  <a:gd name="connsiteY3" fmla="*/ 92 h 27813"/>
                  <a:gd name="connsiteX4" fmla="*/ 31112 w 30821"/>
                  <a:gd name="connsiteY4" fmla="*/ 13999 h 27813"/>
                  <a:gd name="connsiteX5" fmla="*/ 31112 w 30821"/>
                  <a:gd name="connsiteY5" fmla="*/ 1399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12" y="13999"/>
                    </a:moveTo>
                    <a:cubicBezTo>
                      <a:pt x="31112" y="21714"/>
                      <a:pt x="24251" y="27905"/>
                      <a:pt x="15701" y="27905"/>
                    </a:cubicBezTo>
                    <a:cubicBezTo>
                      <a:pt x="7152" y="27905"/>
                      <a:pt x="291" y="21714"/>
                      <a:pt x="291" y="13999"/>
                    </a:cubicBezTo>
                    <a:cubicBezTo>
                      <a:pt x="291" y="6284"/>
                      <a:pt x="7152" y="92"/>
                      <a:pt x="15701" y="92"/>
                    </a:cubicBezTo>
                    <a:cubicBezTo>
                      <a:pt x="24251" y="92"/>
                      <a:pt x="31112" y="6284"/>
                      <a:pt x="31112" y="13999"/>
                    </a:cubicBezTo>
                    <a:lnTo>
                      <a:pt x="31112" y="13999"/>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92" name="Freeform: Shape 291">
                <a:extLst>
                  <a:ext uri="{FF2B5EF4-FFF2-40B4-BE49-F238E27FC236}">
                    <a16:creationId xmlns:a16="http://schemas.microsoft.com/office/drawing/2014/main" id="{1026B8A8-C86D-82FE-2E44-083D87481E72}"/>
                  </a:ext>
                </a:extLst>
              </p:cNvPr>
              <p:cNvSpPr/>
              <p:nvPr/>
            </p:nvSpPr>
            <p:spPr>
              <a:xfrm>
                <a:off x="10319109" y="3062295"/>
                <a:ext cx="30821" cy="27813"/>
              </a:xfrm>
              <a:custGeom>
                <a:avLst/>
                <a:gdLst>
                  <a:gd name="connsiteX0" fmla="*/ 31115 w 30821"/>
                  <a:gd name="connsiteY0" fmla="*/ 13999 h 27813"/>
                  <a:gd name="connsiteX1" fmla="*/ 15704 w 30821"/>
                  <a:gd name="connsiteY1" fmla="*/ 27905 h 27813"/>
                  <a:gd name="connsiteX2" fmla="*/ 294 w 30821"/>
                  <a:gd name="connsiteY2" fmla="*/ 13999 h 27813"/>
                  <a:gd name="connsiteX3" fmla="*/ 15704 w 30821"/>
                  <a:gd name="connsiteY3" fmla="*/ 92 h 27813"/>
                  <a:gd name="connsiteX4" fmla="*/ 31115 w 30821"/>
                  <a:gd name="connsiteY4" fmla="*/ 13999 h 27813"/>
                  <a:gd name="connsiteX5" fmla="*/ 31115 w 30821"/>
                  <a:gd name="connsiteY5" fmla="*/ 1399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15" y="13999"/>
                    </a:moveTo>
                    <a:cubicBezTo>
                      <a:pt x="31115" y="21714"/>
                      <a:pt x="24254" y="27905"/>
                      <a:pt x="15704" y="27905"/>
                    </a:cubicBezTo>
                    <a:cubicBezTo>
                      <a:pt x="7155" y="27905"/>
                      <a:pt x="294" y="21714"/>
                      <a:pt x="294" y="13999"/>
                    </a:cubicBezTo>
                    <a:cubicBezTo>
                      <a:pt x="294" y="6284"/>
                      <a:pt x="7155" y="92"/>
                      <a:pt x="15704" y="92"/>
                    </a:cubicBezTo>
                    <a:cubicBezTo>
                      <a:pt x="24254" y="92"/>
                      <a:pt x="31115" y="6284"/>
                      <a:pt x="31115" y="13999"/>
                    </a:cubicBezTo>
                    <a:lnTo>
                      <a:pt x="31115" y="13999"/>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93" name="Freeform: Shape 292">
                <a:extLst>
                  <a:ext uri="{FF2B5EF4-FFF2-40B4-BE49-F238E27FC236}">
                    <a16:creationId xmlns:a16="http://schemas.microsoft.com/office/drawing/2014/main" id="{90195410-F6BC-8B67-7252-FCE1064C0FB5}"/>
                  </a:ext>
                </a:extLst>
              </p:cNvPr>
              <p:cNvSpPr/>
              <p:nvPr/>
            </p:nvSpPr>
            <p:spPr>
              <a:xfrm>
                <a:off x="10350880" y="3062295"/>
                <a:ext cx="30821" cy="27813"/>
              </a:xfrm>
              <a:custGeom>
                <a:avLst/>
                <a:gdLst>
                  <a:gd name="connsiteX0" fmla="*/ 31118 w 30821"/>
                  <a:gd name="connsiteY0" fmla="*/ 13999 h 27813"/>
                  <a:gd name="connsiteX1" fmla="*/ 15707 w 30821"/>
                  <a:gd name="connsiteY1" fmla="*/ 27905 h 27813"/>
                  <a:gd name="connsiteX2" fmla="*/ 297 w 30821"/>
                  <a:gd name="connsiteY2" fmla="*/ 13999 h 27813"/>
                  <a:gd name="connsiteX3" fmla="*/ 15707 w 30821"/>
                  <a:gd name="connsiteY3" fmla="*/ 92 h 27813"/>
                  <a:gd name="connsiteX4" fmla="*/ 31118 w 30821"/>
                  <a:gd name="connsiteY4" fmla="*/ 13999 h 27813"/>
                  <a:gd name="connsiteX5" fmla="*/ 31118 w 30821"/>
                  <a:gd name="connsiteY5" fmla="*/ 13999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18" y="13999"/>
                    </a:moveTo>
                    <a:cubicBezTo>
                      <a:pt x="31118" y="21714"/>
                      <a:pt x="24257" y="27905"/>
                      <a:pt x="15707" y="27905"/>
                    </a:cubicBezTo>
                    <a:cubicBezTo>
                      <a:pt x="7158" y="27905"/>
                      <a:pt x="297" y="21714"/>
                      <a:pt x="297" y="13999"/>
                    </a:cubicBezTo>
                    <a:cubicBezTo>
                      <a:pt x="297" y="6284"/>
                      <a:pt x="7158" y="92"/>
                      <a:pt x="15707" y="92"/>
                    </a:cubicBezTo>
                    <a:cubicBezTo>
                      <a:pt x="24257" y="92"/>
                      <a:pt x="31118" y="6284"/>
                      <a:pt x="31118" y="13999"/>
                    </a:cubicBezTo>
                    <a:lnTo>
                      <a:pt x="31118" y="13999"/>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94" name="Freeform: Shape 293">
                <a:extLst>
                  <a:ext uri="{FF2B5EF4-FFF2-40B4-BE49-F238E27FC236}">
                    <a16:creationId xmlns:a16="http://schemas.microsoft.com/office/drawing/2014/main" id="{BD6E9A95-A3A1-CBBD-ED70-97A471FA81DB}"/>
                  </a:ext>
                </a:extLst>
              </p:cNvPr>
              <p:cNvSpPr/>
              <p:nvPr/>
            </p:nvSpPr>
            <p:spPr>
              <a:xfrm>
                <a:off x="10361435" y="3071820"/>
                <a:ext cx="30821" cy="27813"/>
              </a:xfrm>
              <a:custGeom>
                <a:avLst/>
                <a:gdLst>
                  <a:gd name="connsiteX0" fmla="*/ 31119 w 30821"/>
                  <a:gd name="connsiteY0" fmla="*/ 14000 h 27813"/>
                  <a:gd name="connsiteX1" fmla="*/ 15708 w 30821"/>
                  <a:gd name="connsiteY1" fmla="*/ 27906 h 27813"/>
                  <a:gd name="connsiteX2" fmla="*/ 298 w 30821"/>
                  <a:gd name="connsiteY2" fmla="*/ 14000 h 27813"/>
                  <a:gd name="connsiteX3" fmla="*/ 15708 w 30821"/>
                  <a:gd name="connsiteY3" fmla="*/ 93 h 27813"/>
                  <a:gd name="connsiteX4" fmla="*/ 31119 w 30821"/>
                  <a:gd name="connsiteY4" fmla="*/ 14000 h 27813"/>
                  <a:gd name="connsiteX5" fmla="*/ 31119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19" y="14000"/>
                    </a:moveTo>
                    <a:cubicBezTo>
                      <a:pt x="31119" y="21715"/>
                      <a:pt x="24258" y="27906"/>
                      <a:pt x="15708" y="27906"/>
                    </a:cubicBezTo>
                    <a:cubicBezTo>
                      <a:pt x="7159" y="27906"/>
                      <a:pt x="298" y="21715"/>
                      <a:pt x="298" y="14000"/>
                    </a:cubicBezTo>
                    <a:cubicBezTo>
                      <a:pt x="298" y="6285"/>
                      <a:pt x="7159" y="93"/>
                      <a:pt x="15708" y="93"/>
                    </a:cubicBezTo>
                    <a:cubicBezTo>
                      <a:pt x="24258" y="93"/>
                      <a:pt x="31119" y="6285"/>
                      <a:pt x="31119" y="14000"/>
                    </a:cubicBezTo>
                    <a:lnTo>
                      <a:pt x="31119"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95" name="Freeform: Shape 294">
                <a:extLst>
                  <a:ext uri="{FF2B5EF4-FFF2-40B4-BE49-F238E27FC236}">
                    <a16:creationId xmlns:a16="http://schemas.microsoft.com/office/drawing/2014/main" id="{4DD139FB-D578-7BF2-BC86-2C4A2241CCF5}"/>
                  </a:ext>
                </a:extLst>
              </p:cNvPr>
              <p:cNvSpPr/>
              <p:nvPr/>
            </p:nvSpPr>
            <p:spPr>
              <a:xfrm>
                <a:off x="10382018" y="3073059"/>
                <a:ext cx="30821" cy="27813"/>
              </a:xfrm>
              <a:custGeom>
                <a:avLst/>
                <a:gdLst>
                  <a:gd name="connsiteX0" fmla="*/ 31121 w 30821"/>
                  <a:gd name="connsiteY0" fmla="*/ 14000 h 27813"/>
                  <a:gd name="connsiteX1" fmla="*/ 15710 w 30821"/>
                  <a:gd name="connsiteY1" fmla="*/ 27907 h 27813"/>
                  <a:gd name="connsiteX2" fmla="*/ 300 w 30821"/>
                  <a:gd name="connsiteY2" fmla="*/ 14000 h 27813"/>
                  <a:gd name="connsiteX3" fmla="*/ 15710 w 30821"/>
                  <a:gd name="connsiteY3" fmla="*/ 94 h 27813"/>
                  <a:gd name="connsiteX4" fmla="*/ 31121 w 30821"/>
                  <a:gd name="connsiteY4" fmla="*/ 14000 h 27813"/>
                  <a:gd name="connsiteX5" fmla="*/ 31121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21" y="14000"/>
                    </a:moveTo>
                    <a:cubicBezTo>
                      <a:pt x="31121" y="21715"/>
                      <a:pt x="24260" y="27907"/>
                      <a:pt x="15710" y="27907"/>
                    </a:cubicBezTo>
                    <a:cubicBezTo>
                      <a:pt x="7160" y="27907"/>
                      <a:pt x="300" y="21715"/>
                      <a:pt x="300" y="14000"/>
                    </a:cubicBezTo>
                    <a:cubicBezTo>
                      <a:pt x="300" y="6285"/>
                      <a:pt x="7160" y="94"/>
                      <a:pt x="15710" y="94"/>
                    </a:cubicBezTo>
                    <a:cubicBezTo>
                      <a:pt x="24260" y="94"/>
                      <a:pt x="31121" y="6285"/>
                      <a:pt x="31121" y="14000"/>
                    </a:cubicBezTo>
                    <a:lnTo>
                      <a:pt x="31121"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96" name="Freeform: Shape 295">
                <a:extLst>
                  <a:ext uri="{FF2B5EF4-FFF2-40B4-BE49-F238E27FC236}">
                    <a16:creationId xmlns:a16="http://schemas.microsoft.com/office/drawing/2014/main" id="{153F58C9-E84F-BF4F-0DC6-7934154EB0B7}"/>
                  </a:ext>
                </a:extLst>
              </p:cNvPr>
              <p:cNvSpPr/>
              <p:nvPr/>
            </p:nvSpPr>
            <p:spPr>
              <a:xfrm>
                <a:off x="10413684" y="3073059"/>
                <a:ext cx="30821" cy="27813"/>
              </a:xfrm>
              <a:custGeom>
                <a:avLst/>
                <a:gdLst>
                  <a:gd name="connsiteX0" fmla="*/ 31124 w 30821"/>
                  <a:gd name="connsiteY0" fmla="*/ 14000 h 27813"/>
                  <a:gd name="connsiteX1" fmla="*/ 15713 w 30821"/>
                  <a:gd name="connsiteY1" fmla="*/ 27907 h 27813"/>
                  <a:gd name="connsiteX2" fmla="*/ 303 w 30821"/>
                  <a:gd name="connsiteY2" fmla="*/ 14000 h 27813"/>
                  <a:gd name="connsiteX3" fmla="*/ 15713 w 30821"/>
                  <a:gd name="connsiteY3" fmla="*/ 94 h 27813"/>
                  <a:gd name="connsiteX4" fmla="*/ 31124 w 30821"/>
                  <a:gd name="connsiteY4" fmla="*/ 14000 h 27813"/>
                  <a:gd name="connsiteX5" fmla="*/ 31124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24" y="14000"/>
                    </a:moveTo>
                    <a:cubicBezTo>
                      <a:pt x="31124" y="21715"/>
                      <a:pt x="24263" y="27907"/>
                      <a:pt x="15713" y="27907"/>
                    </a:cubicBezTo>
                    <a:cubicBezTo>
                      <a:pt x="7163" y="27907"/>
                      <a:pt x="303" y="21715"/>
                      <a:pt x="303" y="14000"/>
                    </a:cubicBezTo>
                    <a:cubicBezTo>
                      <a:pt x="303" y="6285"/>
                      <a:pt x="7163" y="94"/>
                      <a:pt x="15713" y="94"/>
                    </a:cubicBezTo>
                    <a:cubicBezTo>
                      <a:pt x="24263" y="94"/>
                      <a:pt x="31124" y="6285"/>
                      <a:pt x="31124" y="14000"/>
                    </a:cubicBezTo>
                    <a:lnTo>
                      <a:pt x="31124"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97" name="Freeform: Shape 296">
                <a:extLst>
                  <a:ext uri="{FF2B5EF4-FFF2-40B4-BE49-F238E27FC236}">
                    <a16:creationId xmlns:a16="http://schemas.microsoft.com/office/drawing/2014/main" id="{B42E83ED-C27D-424A-2588-B768C27A1F6B}"/>
                  </a:ext>
                </a:extLst>
              </p:cNvPr>
              <p:cNvSpPr/>
              <p:nvPr/>
            </p:nvSpPr>
            <p:spPr>
              <a:xfrm>
                <a:off x="10445350" y="3073059"/>
                <a:ext cx="30821" cy="27813"/>
              </a:xfrm>
              <a:custGeom>
                <a:avLst/>
                <a:gdLst>
                  <a:gd name="connsiteX0" fmla="*/ 31127 w 30821"/>
                  <a:gd name="connsiteY0" fmla="*/ 14000 h 27813"/>
                  <a:gd name="connsiteX1" fmla="*/ 15716 w 30821"/>
                  <a:gd name="connsiteY1" fmla="*/ 27907 h 27813"/>
                  <a:gd name="connsiteX2" fmla="*/ 306 w 30821"/>
                  <a:gd name="connsiteY2" fmla="*/ 14000 h 27813"/>
                  <a:gd name="connsiteX3" fmla="*/ 15716 w 30821"/>
                  <a:gd name="connsiteY3" fmla="*/ 94 h 27813"/>
                  <a:gd name="connsiteX4" fmla="*/ 31127 w 30821"/>
                  <a:gd name="connsiteY4" fmla="*/ 14000 h 27813"/>
                  <a:gd name="connsiteX5" fmla="*/ 31127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27" y="14000"/>
                    </a:moveTo>
                    <a:cubicBezTo>
                      <a:pt x="31127" y="21715"/>
                      <a:pt x="24266" y="27907"/>
                      <a:pt x="15716" y="27907"/>
                    </a:cubicBezTo>
                    <a:cubicBezTo>
                      <a:pt x="7166" y="27907"/>
                      <a:pt x="306" y="21715"/>
                      <a:pt x="306" y="14000"/>
                    </a:cubicBezTo>
                    <a:cubicBezTo>
                      <a:pt x="306" y="6285"/>
                      <a:pt x="7166" y="94"/>
                      <a:pt x="15716" y="94"/>
                    </a:cubicBezTo>
                    <a:cubicBezTo>
                      <a:pt x="24266" y="94"/>
                      <a:pt x="31127" y="6285"/>
                      <a:pt x="31127" y="14000"/>
                    </a:cubicBezTo>
                    <a:lnTo>
                      <a:pt x="31127"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98" name="Freeform: Shape 297">
                <a:extLst>
                  <a:ext uri="{FF2B5EF4-FFF2-40B4-BE49-F238E27FC236}">
                    <a16:creationId xmlns:a16="http://schemas.microsoft.com/office/drawing/2014/main" id="{5F54F6EE-283D-D577-4417-8A4EC0776A39}"/>
                  </a:ext>
                </a:extLst>
              </p:cNvPr>
              <p:cNvSpPr/>
              <p:nvPr/>
            </p:nvSpPr>
            <p:spPr>
              <a:xfrm>
                <a:off x="10466460" y="3073059"/>
                <a:ext cx="30821" cy="27813"/>
              </a:xfrm>
              <a:custGeom>
                <a:avLst/>
                <a:gdLst>
                  <a:gd name="connsiteX0" fmla="*/ 31129 w 30821"/>
                  <a:gd name="connsiteY0" fmla="*/ 14000 h 27813"/>
                  <a:gd name="connsiteX1" fmla="*/ 15718 w 30821"/>
                  <a:gd name="connsiteY1" fmla="*/ 27907 h 27813"/>
                  <a:gd name="connsiteX2" fmla="*/ 308 w 30821"/>
                  <a:gd name="connsiteY2" fmla="*/ 14000 h 27813"/>
                  <a:gd name="connsiteX3" fmla="*/ 15718 w 30821"/>
                  <a:gd name="connsiteY3" fmla="*/ 94 h 27813"/>
                  <a:gd name="connsiteX4" fmla="*/ 31129 w 30821"/>
                  <a:gd name="connsiteY4" fmla="*/ 14000 h 27813"/>
                  <a:gd name="connsiteX5" fmla="*/ 31129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29" y="14000"/>
                    </a:moveTo>
                    <a:cubicBezTo>
                      <a:pt x="31129" y="21715"/>
                      <a:pt x="24268" y="27907"/>
                      <a:pt x="15718" y="27907"/>
                    </a:cubicBezTo>
                    <a:cubicBezTo>
                      <a:pt x="7168" y="27907"/>
                      <a:pt x="308" y="21715"/>
                      <a:pt x="308" y="14000"/>
                    </a:cubicBezTo>
                    <a:cubicBezTo>
                      <a:pt x="308" y="6285"/>
                      <a:pt x="7168" y="94"/>
                      <a:pt x="15718" y="94"/>
                    </a:cubicBezTo>
                    <a:cubicBezTo>
                      <a:pt x="24268" y="94"/>
                      <a:pt x="31129" y="6285"/>
                      <a:pt x="31129" y="14000"/>
                    </a:cubicBezTo>
                    <a:lnTo>
                      <a:pt x="31129"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99" name="Freeform: Shape 298">
                <a:extLst>
                  <a:ext uri="{FF2B5EF4-FFF2-40B4-BE49-F238E27FC236}">
                    <a16:creationId xmlns:a16="http://schemas.microsoft.com/office/drawing/2014/main" id="{85D27928-765F-F63A-6FB4-473980CA54D4}"/>
                  </a:ext>
                </a:extLst>
              </p:cNvPr>
              <p:cNvSpPr/>
              <p:nvPr/>
            </p:nvSpPr>
            <p:spPr>
              <a:xfrm>
                <a:off x="10498126" y="3073059"/>
                <a:ext cx="30821" cy="27813"/>
              </a:xfrm>
              <a:custGeom>
                <a:avLst/>
                <a:gdLst>
                  <a:gd name="connsiteX0" fmla="*/ 31132 w 30821"/>
                  <a:gd name="connsiteY0" fmla="*/ 14000 h 27813"/>
                  <a:gd name="connsiteX1" fmla="*/ 15721 w 30821"/>
                  <a:gd name="connsiteY1" fmla="*/ 27907 h 27813"/>
                  <a:gd name="connsiteX2" fmla="*/ 311 w 30821"/>
                  <a:gd name="connsiteY2" fmla="*/ 14000 h 27813"/>
                  <a:gd name="connsiteX3" fmla="*/ 15721 w 30821"/>
                  <a:gd name="connsiteY3" fmla="*/ 94 h 27813"/>
                  <a:gd name="connsiteX4" fmla="*/ 31132 w 30821"/>
                  <a:gd name="connsiteY4" fmla="*/ 14000 h 27813"/>
                  <a:gd name="connsiteX5" fmla="*/ 31132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32" y="14000"/>
                    </a:moveTo>
                    <a:cubicBezTo>
                      <a:pt x="31132" y="21715"/>
                      <a:pt x="24271" y="27907"/>
                      <a:pt x="15721" y="27907"/>
                    </a:cubicBezTo>
                    <a:cubicBezTo>
                      <a:pt x="7171" y="27907"/>
                      <a:pt x="311" y="21715"/>
                      <a:pt x="311" y="14000"/>
                    </a:cubicBezTo>
                    <a:cubicBezTo>
                      <a:pt x="311" y="6285"/>
                      <a:pt x="7171" y="94"/>
                      <a:pt x="15721" y="94"/>
                    </a:cubicBezTo>
                    <a:cubicBezTo>
                      <a:pt x="24271" y="94"/>
                      <a:pt x="31132" y="6285"/>
                      <a:pt x="31132" y="14000"/>
                    </a:cubicBezTo>
                    <a:lnTo>
                      <a:pt x="31132"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00" name="Freeform: Shape 299">
                <a:extLst>
                  <a:ext uri="{FF2B5EF4-FFF2-40B4-BE49-F238E27FC236}">
                    <a16:creationId xmlns:a16="http://schemas.microsoft.com/office/drawing/2014/main" id="{37466230-142C-DCF3-FEB2-6ED936629AED}"/>
                  </a:ext>
                </a:extLst>
              </p:cNvPr>
              <p:cNvSpPr/>
              <p:nvPr/>
            </p:nvSpPr>
            <p:spPr>
              <a:xfrm>
                <a:off x="10540347" y="3073059"/>
                <a:ext cx="30821" cy="27813"/>
              </a:xfrm>
              <a:custGeom>
                <a:avLst/>
                <a:gdLst>
                  <a:gd name="connsiteX0" fmla="*/ 31136 w 30821"/>
                  <a:gd name="connsiteY0" fmla="*/ 14000 h 27813"/>
                  <a:gd name="connsiteX1" fmla="*/ 15725 w 30821"/>
                  <a:gd name="connsiteY1" fmla="*/ 27907 h 27813"/>
                  <a:gd name="connsiteX2" fmla="*/ 315 w 30821"/>
                  <a:gd name="connsiteY2" fmla="*/ 14000 h 27813"/>
                  <a:gd name="connsiteX3" fmla="*/ 15725 w 30821"/>
                  <a:gd name="connsiteY3" fmla="*/ 94 h 27813"/>
                  <a:gd name="connsiteX4" fmla="*/ 31136 w 30821"/>
                  <a:gd name="connsiteY4" fmla="*/ 14000 h 27813"/>
                  <a:gd name="connsiteX5" fmla="*/ 31136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36" y="14000"/>
                    </a:moveTo>
                    <a:cubicBezTo>
                      <a:pt x="31136" y="21715"/>
                      <a:pt x="24275" y="27907"/>
                      <a:pt x="15725" y="27907"/>
                    </a:cubicBezTo>
                    <a:cubicBezTo>
                      <a:pt x="7175" y="27907"/>
                      <a:pt x="315" y="21715"/>
                      <a:pt x="315" y="14000"/>
                    </a:cubicBezTo>
                    <a:cubicBezTo>
                      <a:pt x="315" y="6285"/>
                      <a:pt x="7175" y="94"/>
                      <a:pt x="15725" y="94"/>
                    </a:cubicBezTo>
                    <a:cubicBezTo>
                      <a:pt x="24275" y="94"/>
                      <a:pt x="31136" y="6285"/>
                      <a:pt x="31136" y="14000"/>
                    </a:cubicBezTo>
                    <a:lnTo>
                      <a:pt x="31136"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01" name="Freeform: Shape 300">
                <a:extLst>
                  <a:ext uri="{FF2B5EF4-FFF2-40B4-BE49-F238E27FC236}">
                    <a16:creationId xmlns:a16="http://schemas.microsoft.com/office/drawing/2014/main" id="{7A61D67D-7AC1-2C87-E7ED-2D38EF95050A}"/>
                  </a:ext>
                </a:extLst>
              </p:cNvPr>
              <p:cNvSpPr/>
              <p:nvPr/>
            </p:nvSpPr>
            <p:spPr>
              <a:xfrm>
                <a:off x="10582568" y="3073059"/>
                <a:ext cx="30821" cy="27813"/>
              </a:xfrm>
              <a:custGeom>
                <a:avLst/>
                <a:gdLst>
                  <a:gd name="connsiteX0" fmla="*/ 31140 w 30821"/>
                  <a:gd name="connsiteY0" fmla="*/ 14000 h 27813"/>
                  <a:gd name="connsiteX1" fmla="*/ 15729 w 30821"/>
                  <a:gd name="connsiteY1" fmla="*/ 27907 h 27813"/>
                  <a:gd name="connsiteX2" fmla="*/ 319 w 30821"/>
                  <a:gd name="connsiteY2" fmla="*/ 14000 h 27813"/>
                  <a:gd name="connsiteX3" fmla="*/ 15729 w 30821"/>
                  <a:gd name="connsiteY3" fmla="*/ 94 h 27813"/>
                  <a:gd name="connsiteX4" fmla="*/ 31140 w 30821"/>
                  <a:gd name="connsiteY4" fmla="*/ 14000 h 27813"/>
                  <a:gd name="connsiteX5" fmla="*/ 31140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40" y="14000"/>
                    </a:moveTo>
                    <a:cubicBezTo>
                      <a:pt x="31140" y="21715"/>
                      <a:pt x="24279" y="27907"/>
                      <a:pt x="15729" y="27907"/>
                    </a:cubicBezTo>
                    <a:cubicBezTo>
                      <a:pt x="7179" y="27907"/>
                      <a:pt x="319" y="21715"/>
                      <a:pt x="319" y="14000"/>
                    </a:cubicBezTo>
                    <a:cubicBezTo>
                      <a:pt x="319" y="6285"/>
                      <a:pt x="7179" y="94"/>
                      <a:pt x="15729" y="94"/>
                    </a:cubicBezTo>
                    <a:cubicBezTo>
                      <a:pt x="24279" y="94"/>
                      <a:pt x="31140" y="6285"/>
                      <a:pt x="31140" y="14000"/>
                    </a:cubicBezTo>
                    <a:lnTo>
                      <a:pt x="31140"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02" name="Freeform: Shape 301">
                <a:extLst>
                  <a:ext uri="{FF2B5EF4-FFF2-40B4-BE49-F238E27FC236}">
                    <a16:creationId xmlns:a16="http://schemas.microsoft.com/office/drawing/2014/main" id="{7D386ED1-F7B4-E20E-B582-915944AC302C}"/>
                  </a:ext>
                </a:extLst>
              </p:cNvPr>
              <p:cNvSpPr/>
              <p:nvPr/>
            </p:nvSpPr>
            <p:spPr>
              <a:xfrm>
                <a:off x="10614339" y="3073059"/>
                <a:ext cx="30821" cy="27813"/>
              </a:xfrm>
              <a:custGeom>
                <a:avLst/>
                <a:gdLst>
                  <a:gd name="connsiteX0" fmla="*/ 31143 w 30821"/>
                  <a:gd name="connsiteY0" fmla="*/ 14000 h 27813"/>
                  <a:gd name="connsiteX1" fmla="*/ 15732 w 30821"/>
                  <a:gd name="connsiteY1" fmla="*/ 27907 h 27813"/>
                  <a:gd name="connsiteX2" fmla="*/ 322 w 30821"/>
                  <a:gd name="connsiteY2" fmla="*/ 14000 h 27813"/>
                  <a:gd name="connsiteX3" fmla="*/ 15732 w 30821"/>
                  <a:gd name="connsiteY3" fmla="*/ 94 h 27813"/>
                  <a:gd name="connsiteX4" fmla="*/ 31143 w 30821"/>
                  <a:gd name="connsiteY4" fmla="*/ 14000 h 27813"/>
                  <a:gd name="connsiteX5" fmla="*/ 31143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43" y="14000"/>
                    </a:moveTo>
                    <a:cubicBezTo>
                      <a:pt x="31143" y="21715"/>
                      <a:pt x="24282" y="27907"/>
                      <a:pt x="15732" y="27907"/>
                    </a:cubicBezTo>
                    <a:cubicBezTo>
                      <a:pt x="7182" y="27907"/>
                      <a:pt x="322" y="21715"/>
                      <a:pt x="322" y="14000"/>
                    </a:cubicBezTo>
                    <a:cubicBezTo>
                      <a:pt x="322" y="6285"/>
                      <a:pt x="7182" y="94"/>
                      <a:pt x="15732" y="94"/>
                    </a:cubicBezTo>
                    <a:cubicBezTo>
                      <a:pt x="24282" y="94"/>
                      <a:pt x="31143" y="6285"/>
                      <a:pt x="31143" y="14000"/>
                    </a:cubicBezTo>
                    <a:lnTo>
                      <a:pt x="31143"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03" name="Freeform: Shape 302">
                <a:extLst>
                  <a:ext uri="{FF2B5EF4-FFF2-40B4-BE49-F238E27FC236}">
                    <a16:creationId xmlns:a16="http://schemas.microsoft.com/office/drawing/2014/main" id="{D2DA82A0-3F98-FD59-6F92-3CAB94B16A9F}"/>
                  </a:ext>
                </a:extLst>
              </p:cNvPr>
              <p:cNvSpPr/>
              <p:nvPr/>
            </p:nvSpPr>
            <p:spPr>
              <a:xfrm>
                <a:off x="10646005" y="3073059"/>
                <a:ext cx="30821" cy="27813"/>
              </a:xfrm>
              <a:custGeom>
                <a:avLst/>
                <a:gdLst>
                  <a:gd name="connsiteX0" fmla="*/ 31146 w 30821"/>
                  <a:gd name="connsiteY0" fmla="*/ 14000 h 27813"/>
                  <a:gd name="connsiteX1" fmla="*/ 15735 w 30821"/>
                  <a:gd name="connsiteY1" fmla="*/ 27907 h 27813"/>
                  <a:gd name="connsiteX2" fmla="*/ 325 w 30821"/>
                  <a:gd name="connsiteY2" fmla="*/ 14000 h 27813"/>
                  <a:gd name="connsiteX3" fmla="*/ 15735 w 30821"/>
                  <a:gd name="connsiteY3" fmla="*/ 94 h 27813"/>
                  <a:gd name="connsiteX4" fmla="*/ 31146 w 30821"/>
                  <a:gd name="connsiteY4" fmla="*/ 14000 h 27813"/>
                  <a:gd name="connsiteX5" fmla="*/ 31146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46" y="14000"/>
                    </a:moveTo>
                    <a:cubicBezTo>
                      <a:pt x="31146" y="21715"/>
                      <a:pt x="24285" y="27907"/>
                      <a:pt x="15735" y="27907"/>
                    </a:cubicBezTo>
                    <a:cubicBezTo>
                      <a:pt x="7185" y="27907"/>
                      <a:pt x="325" y="21715"/>
                      <a:pt x="325" y="14000"/>
                    </a:cubicBezTo>
                    <a:cubicBezTo>
                      <a:pt x="325" y="6285"/>
                      <a:pt x="7185" y="94"/>
                      <a:pt x="15735" y="94"/>
                    </a:cubicBezTo>
                    <a:cubicBezTo>
                      <a:pt x="24285" y="94"/>
                      <a:pt x="31146" y="6285"/>
                      <a:pt x="31146" y="14000"/>
                    </a:cubicBezTo>
                    <a:lnTo>
                      <a:pt x="31146"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04" name="Freeform: Shape 303">
                <a:extLst>
                  <a:ext uri="{FF2B5EF4-FFF2-40B4-BE49-F238E27FC236}">
                    <a16:creationId xmlns:a16="http://schemas.microsoft.com/office/drawing/2014/main" id="{4FD42A21-11CA-5908-B6AD-15867CF0F0F9}"/>
                  </a:ext>
                </a:extLst>
              </p:cNvPr>
              <p:cNvSpPr/>
              <p:nvPr/>
            </p:nvSpPr>
            <p:spPr>
              <a:xfrm>
                <a:off x="10677671" y="3073059"/>
                <a:ext cx="30821" cy="27813"/>
              </a:xfrm>
              <a:custGeom>
                <a:avLst/>
                <a:gdLst>
                  <a:gd name="connsiteX0" fmla="*/ 31149 w 30821"/>
                  <a:gd name="connsiteY0" fmla="*/ 14000 h 27813"/>
                  <a:gd name="connsiteX1" fmla="*/ 15738 w 30821"/>
                  <a:gd name="connsiteY1" fmla="*/ 27907 h 27813"/>
                  <a:gd name="connsiteX2" fmla="*/ 328 w 30821"/>
                  <a:gd name="connsiteY2" fmla="*/ 14000 h 27813"/>
                  <a:gd name="connsiteX3" fmla="*/ 15738 w 30821"/>
                  <a:gd name="connsiteY3" fmla="*/ 94 h 27813"/>
                  <a:gd name="connsiteX4" fmla="*/ 31149 w 30821"/>
                  <a:gd name="connsiteY4" fmla="*/ 14000 h 27813"/>
                  <a:gd name="connsiteX5" fmla="*/ 31149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49" y="14000"/>
                    </a:moveTo>
                    <a:cubicBezTo>
                      <a:pt x="31149" y="21715"/>
                      <a:pt x="24288" y="27907"/>
                      <a:pt x="15738" y="27907"/>
                    </a:cubicBezTo>
                    <a:cubicBezTo>
                      <a:pt x="7188" y="27907"/>
                      <a:pt x="328" y="21715"/>
                      <a:pt x="328" y="14000"/>
                    </a:cubicBezTo>
                    <a:cubicBezTo>
                      <a:pt x="328" y="6285"/>
                      <a:pt x="7188" y="94"/>
                      <a:pt x="15738" y="94"/>
                    </a:cubicBezTo>
                    <a:cubicBezTo>
                      <a:pt x="24288" y="94"/>
                      <a:pt x="31149" y="6285"/>
                      <a:pt x="31149" y="14000"/>
                    </a:cubicBezTo>
                    <a:lnTo>
                      <a:pt x="31149"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05" name="Freeform: Shape 304">
                <a:extLst>
                  <a:ext uri="{FF2B5EF4-FFF2-40B4-BE49-F238E27FC236}">
                    <a16:creationId xmlns:a16="http://schemas.microsoft.com/office/drawing/2014/main" id="{A41885C3-E2F1-3627-6893-9014EE7D71DB}"/>
                  </a:ext>
                </a:extLst>
              </p:cNvPr>
              <p:cNvSpPr/>
              <p:nvPr/>
            </p:nvSpPr>
            <p:spPr>
              <a:xfrm>
                <a:off x="10719892" y="3073059"/>
                <a:ext cx="30821" cy="27813"/>
              </a:xfrm>
              <a:custGeom>
                <a:avLst/>
                <a:gdLst>
                  <a:gd name="connsiteX0" fmla="*/ 31153 w 30821"/>
                  <a:gd name="connsiteY0" fmla="*/ 14000 h 27813"/>
                  <a:gd name="connsiteX1" fmla="*/ 15742 w 30821"/>
                  <a:gd name="connsiteY1" fmla="*/ 27907 h 27813"/>
                  <a:gd name="connsiteX2" fmla="*/ 332 w 30821"/>
                  <a:gd name="connsiteY2" fmla="*/ 14000 h 27813"/>
                  <a:gd name="connsiteX3" fmla="*/ 15742 w 30821"/>
                  <a:gd name="connsiteY3" fmla="*/ 94 h 27813"/>
                  <a:gd name="connsiteX4" fmla="*/ 31153 w 30821"/>
                  <a:gd name="connsiteY4" fmla="*/ 14000 h 27813"/>
                  <a:gd name="connsiteX5" fmla="*/ 31153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53" y="14000"/>
                    </a:moveTo>
                    <a:cubicBezTo>
                      <a:pt x="31153" y="21715"/>
                      <a:pt x="24292" y="27907"/>
                      <a:pt x="15742" y="27907"/>
                    </a:cubicBezTo>
                    <a:cubicBezTo>
                      <a:pt x="7192" y="27907"/>
                      <a:pt x="332" y="21715"/>
                      <a:pt x="332" y="14000"/>
                    </a:cubicBezTo>
                    <a:cubicBezTo>
                      <a:pt x="332" y="6285"/>
                      <a:pt x="7192" y="94"/>
                      <a:pt x="15742" y="94"/>
                    </a:cubicBezTo>
                    <a:cubicBezTo>
                      <a:pt x="24292" y="94"/>
                      <a:pt x="31153" y="6285"/>
                      <a:pt x="31153" y="14000"/>
                    </a:cubicBezTo>
                    <a:lnTo>
                      <a:pt x="31153"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06" name="Freeform: Shape 305">
                <a:extLst>
                  <a:ext uri="{FF2B5EF4-FFF2-40B4-BE49-F238E27FC236}">
                    <a16:creationId xmlns:a16="http://schemas.microsoft.com/office/drawing/2014/main" id="{543B3EB6-2FAD-C505-DF49-402D85DAA4EF}"/>
                  </a:ext>
                </a:extLst>
              </p:cNvPr>
              <p:cNvSpPr/>
              <p:nvPr/>
            </p:nvSpPr>
            <p:spPr>
              <a:xfrm>
                <a:off x="10741002" y="3073059"/>
                <a:ext cx="30821" cy="27813"/>
              </a:xfrm>
              <a:custGeom>
                <a:avLst/>
                <a:gdLst>
                  <a:gd name="connsiteX0" fmla="*/ 31155 w 30821"/>
                  <a:gd name="connsiteY0" fmla="*/ 14000 h 27813"/>
                  <a:gd name="connsiteX1" fmla="*/ 15744 w 30821"/>
                  <a:gd name="connsiteY1" fmla="*/ 27907 h 27813"/>
                  <a:gd name="connsiteX2" fmla="*/ 334 w 30821"/>
                  <a:gd name="connsiteY2" fmla="*/ 14000 h 27813"/>
                  <a:gd name="connsiteX3" fmla="*/ 15744 w 30821"/>
                  <a:gd name="connsiteY3" fmla="*/ 94 h 27813"/>
                  <a:gd name="connsiteX4" fmla="*/ 31155 w 30821"/>
                  <a:gd name="connsiteY4" fmla="*/ 14000 h 27813"/>
                  <a:gd name="connsiteX5" fmla="*/ 31155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55" y="14000"/>
                    </a:moveTo>
                    <a:cubicBezTo>
                      <a:pt x="31155" y="21715"/>
                      <a:pt x="24294" y="27907"/>
                      <a:pt x="15744" y="27907"/>
                    </a:cubicBezTo>
                    <a:cubicBezTo>
                      <a:pt x="7194" y="27907"/>
                      <a:pt x="334" y="21715"/>
                      <a:pt x="334" y="14000"/>
                    </a:cubicBezTo>
                    <a:cubicBezTo>
                      <a:pt x="334" y="6285"/>
                      <a:pt x="7194" y="94"/>
                      <a:pt x="15744" y="94"/>
                    </a:cubicBezTo>
                    <a:cubicBezTo>
                      <a:pt x="24294" y="94"/>
                      <a:pt x="31155" y="6285"/>
                      <a:pt x="31155" y="14000"/>
                    </a:cubicBezTo>
                    <a:lnTo>
                      <a:pt x="31155"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07" name="Freeform: Shape 306">
                <a:extLst>
                  <a:ext uri="{FF2B5EF4-FFF2-40B4-BE49-F238E27FC236}">
                    <a16:creationId xmlns:a16="http://schemas.microsoft.com/office/drawing/2014/main" id="{29B461FC-1B10-9DBC-004F-D574804B8CA2}"/>
                  </a:ext>
                </a:extLst>
              </p:cNvPr>
              <p:cNvSpPr/>
              <p:nvPr/>
            </p:nvSpPr>
            <p:spPr>
              <a:xfrm>
                <a:off x="10772668" y="3073059"/>
                <a:ext cx="30821" cy="27813"/>
              </a:xfrm>
              <a:custGeom>
                <a:avLst/>
                <a:gdLst>
                  <a:gd name="connsiteX0" fmla="*/ 31158 w 30821"/>
                  <a:gd name="connsiteY0" fmla="*/ 14000 h 27813"/>
                  <a:gd name="connsiteX1" fmla="*/ 15747 w 30821"/>
                  <a:gd name="connsiteY1" fmla="*/ 27907 h 27813"/>
                  <a:gd name="connsiteX2" fmla="*/ 337 w 30821"/>
                  <a:gd name="connsiteY2" fmla="*/ 14000 h 27813"/>
                  <a:gd name="connsiteX3" fmla="*/ 15747 w 30821"/>
                  <a:gd name="connsiteY3" fmla="*/ 94 h 27813"/>
                  <a:gd name="connsiteX4" fmla="*/ 31158 w 30821"/>
                  <a:gd name="connsiteY4" fmla="*/ 14000 h 27813"/>
                  <a:gd name="connsiteX5" fmla="*/ 31158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58" y="14000"/>
                    </a:moveTo>
                    <a:cubicBezTo>
                      <a:pt x="31158" y="21715"/>
                      <a:pt x="24297" y="27907"/>
                      <a:pt x="15747" y="27907"/>
                    </a:cubicBezTo>
                    <a:cubicBezTo>
                      <a:pt x="7197" y="27907"/>
                      <a:pt x="337" y="21715"/>
                      <a:pt x="337" y="14000"/>
                    </a:cubicBezTo>
                    <a:cubicBezTo>
                      <a:pt x="337" y="6285"/>
                      <a:pt x="7197" y="94"/>
                      <a:pt x="15747" y="94"/>
                    </a:cubicBezTo>
                    <a:cubicBezTo>
                      <a:pt x="24297" y="94"/>
                      <a:pt x="31158" y="6285"/>
                      <a:pt x="31158" y="14000"/>
                    </a:cubicBezTo>
                    <a:lnTo>
                      <a:pt x="31158"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08" name="Freeform: Shape 307">
                <a:extLst>
                  <a:ext uri="{FF2B5EF4-FFF2-40B4-BE49-F238E27FC236}">
                    <a16:creationId xmlns:a16="http://schemas.microsoft.com/office/drawing/2014/main" id="{CCA7FF76-E97A-E66A-51C8-B65EE118281C}"/>
                  </a:ext>
                </a:extLst>
              </p:cNvPr>
              <p:cNvSpPr/>
              <p:nvPr/>
            </p:nvSpPr>
            <p:spPr>
              <a:xfrm>
                <a:off x="10793779" y="3073059"/>
                <a:ext cx="30821" cy="27813"/>
              </a:xfrm>
              <a:custGeom>
                <a:avLst/>
                <a:gdLst>
                  <a:gd name="connsiteX0" fmla="*/ 31160 w 30821"/>
                  <a:gd name="connsiteY0" fmla="*/ 14000 h 27813"/>
                  <a:gd name="connsiteX1" fmla="*/ 15749 w 30821"/>
                  <a:gd name="connsiteY1" fmla="*/ 27907 h 27813"/>
                  <a:gd name="connsiteX2" fmla="*/ 339 w 30821"/>
                  <a:gd name="connsiteY2" fmla="*/ 14000 h 27813"/>
                  <a:gd name="connsiteX3" fmla="*/ 15749 w 30821"/>
                  <a:gd name="connsiteY3" fmla="*/ 94 h 27813"/>
                  <a:gd name="connsiteX4" fmla="*/ 31160 w 30821"/>
                  <a:gd name="connsiteY4" fmla="*/ 14000 h 27813"/>
                  <a:gd name="connsiteX5" fmla="*/ 31160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60" y="14000"/>
                    </a:moveTo>
                    <a:cubicBezTo>
                      <a:pt x="31160" y="21715"/>
                      <a:pt x="24299" y="27907"/>
                      <a:pt x="15749" y="27907"/>
                    </a:cubicBezTo>
                    <a:cubicBezTo>
                      <a:pt x="7199" y="27907"/>
                      <a:pt x="339" y="21715"/>
                      <a:pt x="339" y="14000"/>
                    </a:cubicBezTo>
                    <a:cubicBezTo>
                      <a:pt x="339" y="6285"/>
                      <a:pt x="7199" y="94"/>
                      <a:pt x="15749" y="94"/>
                    </a:cubicBezTo>
                    <a:cubicBezTo>
                      <a:pt x="24299" y="94"/>
                      <a:pt x="31160" y="6285"/>
                      <a:pt x="31160" y="14000"/>
                    </a:cubicBezTo>
                    <a:lnTo>
                      <a:pt x="31160"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09" name="Freeform: Shape 308">
                <a:extLst>
                  <a:ext uri="{FF2B5EF4-FFF2-40B4-BE49-F238E27FC236}">
                    <a16:creationId xmlns:a16="http://schemas.microsoft.com/office/drawing/2014/main" id="{D064BE57-CE51-F003-1D13-C1FF474C58F8}"/>
                  </a:ext>
                </a:extLst>
              </p:cNvPr>
              <p:cNvSpPr/>
              <p:nvPr/>
            </p:nvSpPr>
            <p:spPr>
              <a:xfrm>
                <a:off x="10825444" y="3073059"/>
                <a:ext cx="30821" cy="27813"/>
              </a:xfrm>
              <a:custGeom>
                <a:avLst/>
                <a:gdLst>
                  <a:gd name="connsiteX0" fmla="*/ 31163 w 30821"/>
                  <a:gd name="connsiteY0" fmla="*/ 14000 h 27813"/>
                  <a:gd name="connsiteX1" fmla="*/ 15752 w 30821"/>
                  <a:gd name="connsiteY1" fmla="*/ 27907 h 27813"/>
                  <a:gd name="connsiteX2" fmla="*/ 342 w 30821"/>
                  <a:gd name="connsiteY2" fmla="*/ 14000 h 27813"/>
                  <a:gd name="connsiteX3" fmla="*/ 15752 w 30821"/>
                  <a:gd name="connsiteY3" fmla="*/ 94 h 27813"/>
                  <a:gd name="connsiteX4" fmla="*/ 31163 w 30821"/>
                  <a:gd name="connsiteY4" fmla="*/ 14000 h 27813"/>
                  <a:gd name="connsiteX5" fmla="*/ 31163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63" y="14000"/>
                    </a:moveTo>
                    <a:cubicBezTo>
                      <a:pt x="31163" y="21715"/>
                      <a:pt x="24302" y="27907"/>
                      <a:pt x="15752" y="27907"/>
                    </a:cubicBezTo>
                    <a:cubicBezTo>
                      <a:pt x="7202" y="27907"/>
                      <a:pt x="342" y="21715"/>
                      <a:pt x="342" y="14000"/>
                    </a:cubicBezTo>
                    <a:cubicBezTo>
                      <a:pt x="342" y="6285"/>
                      <a:pt x="7202" y="94"/>
                      <a:pt x="15752" y="94"/>
                    </a:cubicBezTo>
                    <a:cubicBezTo>
                      <a:pt x="24302" y="94"/>
                      <a:pt x="31163" y="6285"/>
                      <a:pt x="31163" y="14000"/>
                    </a:cubicBezTo>
                    <a:lnTo>
                      <a:pt x="31163"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10" name="Freeform: Shape 309">
                <a:extLst>
                  <a:ext uri="{FF2B5EF4-FFF2-40B4-BE49-F238E27FC236}">
                    <a16:creationId xmlns:a16="http://schemas.microsoft.com/office/drawing/2014/main" id="{FBD46917-716F-2638-EDCA-9867FF72B2E1}"/>
                  </a:ext>
                </a:extLst>
              </p:cNvPr>
              <p:cNvSpPr/>
              <p:nvPr/>
            </p:nvSpPr>
            <p:spPr>
              <a:xfrm>
                <a:off x="10857110" y="3073059"/>
                <a:ext cx="30821" cy="27813"/>
              </a:xfrm>
              <a:custGeom>
                <a:avLst/>
                <a:gdLst>
                  <a:gd name="connsiteX0" fmla="*/ 31166 w 30821"/>
                  <a:gd name="connsiteY0" fmla="*/ 14000 h 27813"/>
                  <a:gd name="connsiteX1" fmla="*/ 15755 w 30821"/>
                  <a:gd name="connsiteY1" fmla="*/ 27907 h 27813"/>
                  <a:gd name="connsiteX2" fmla="*/ 345 w 30821"/>
                  <a:gd name="connsiteY2" fmla="*/ 14000 h 27813"/>
                  <a:gd name="connsiteX3" fmla="*/ 15755 w 30821"/>
                  <a:gd name="connsiteY3" fmla="*/ 94 h 27813"/>
                  <a:gd name="connsiteX4" fmla="*/ 31166 w 30821"/>
                  <a:gd name="connsiteY4" fmla="*/ 14000 h 27813"/>
                  <a:gd name="connsiteX5" fmla="*/ 31166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66" y="14000"/>
                    </a:moveTo>
                    <a:cubicBezTo>
                      <a:pt x="31166" y="21715"/>
                      <a:pt x="24305" y="27907"/>
                      <a:pt x="15755" y="27907"/>
                    </a:cubicBezTo>
                    <a:cubicBezTo>
                      <a:pt x="7205" y="27907"/>
                      <a:pt x="345" y="21715"/>
                      <a:pt x="345" y="14000"/>
                    </a:cubicBezTo>
                    <a:cubicBezTo>
                      <a:pt x="345" y="6285"/>
                      <a:pt x="7205" y="94"/>
                      <a:pt x="15755" y="94"/>
                    </a:cubicBezTo>
                    <a:cubicBezTo>
                      <a:pt x="24305" y="94"/>
                      <a:pt x="31166" y="6285"/>
                      <a:pt x="31166" y="14000"/>
                    </a:cubicBezTo>
                    <a:lnTo>
                      <a:pt x="31166"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11" name="Freeform: Shape 310">
                <a:extLst>
                  <a:ext uri="{FF2B5EF4-FFF2-40B4-BE49-F238E27FC236}">
                    <a16:creationId xmlns:a16="http://schemas.microsoft.com/office/drawing/2014/main" id="{37FEEC12-BE5F-BB1E-6C3F-3DCF4DEE258A}"/>
                  </a:ext>
                </a:extLst>
              </p:cNvPr>
              <p:cNvSpPr/>
              <p:nvPr/>
            </p:nvSpPr>
            <p:spPr>
              <a:xfrm>
                <a:off x="10878221" y="3073059"/>
                <a:ext cx="30821" cy="27813"/>
              </a:xfrm>
              <a:custGeom>
                <a:avLst/>
                <a:gdLst>
                  <a:gd name="connsiteX0" fmla="*/ 31168 w 30821"/>
                  <a:gd name="connsiteY0" fmla="*/ 14000 h 27813"/>
                  <a:gd name="connsiteX1" fmla="*/ 15757 w 30821"/>
                  <a:gd name="connsiteY1" fmla="*/ 27907 h 27813"/>
                  <a:gd name="connsiteX2" fmla="*/ 347 w 30821"/>
                  <a:gd name="connsiteY2" fmla="*/ 14000 h 27813"/>
                  <a:gd name="connsiteX3" fmla="*/ 15757 w 30821"/>
                  <a:gd name="connsiteY3" fmla="*/ 94 h 27813"/>
                  <a:gd name="connsiteX4" fmla="*/ 31168 w 30821"/>
                  <a:gd name="connsiteY4" fmla="*/ 14000 h 27813"/>
                  <a:gd name="connsiteX5" fmla="*/ 31168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68" y="14000"/>
                    </a:moveTo>
                    <a:cubicBezTo>
                      <a:pt x="31168" y="21715"/>
                      <a:pt x="24307" y="27907"/>
                      <a:pt x="15757" y="27907"/>
                    </a:cubicBezTo>
                    <a:cubicBezTo>
                      <a:pt x="7207" y="27907"/>
                      <a:pt x="347" y="21715"/>
                      <a:pt x="347" y="14000"/>
                    </a:cubicBezTo>
                    <a:cubicBezTo>
                      <a:pt x="347" y="6285"/>
                      <a:pt x="7207" y="94"/>
                      <a:pt x="15757" y="94"/>
                    </a:cubicBezTo>
                    <a:cubicBezTo>
                      <a:pt x="24307" y="94"/>
                      <a:pt x="31168" y="6285"/>
                      <a:pt x="31168" y="14000"/>
                    </a:cubicBezTo>
                    <a:lnTo>
                      <a:pt x="31168"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12" name="Freeform: Shape 311">
                <a:extLst>
                  <a:ext uri="{FF2B5EF4-FFF2-40B4-BE49-F238E27FC236}">
                    <a16:creationId xmlns:a16="http://schemas.microsoft.com/office/drawing/2014/main" id="{3CF470ED-98C4-115A-C5D6-66847E19523D}"/>
                  </a:ext>
                </a:extLst>
              </p:cNvPr>
              <p:cNvSpPr/>
              <p:nvPr/>
            </p:nvSpPr>
            <p:spPr>
              <a:xfrm>
                <a:off x="10909887" y="3073059"/>
                <a:ext cx="30821" cy="27813"/>
              </a:xfrm>
              <a:custGeom>
                <a:avLst/>
                <a:gdLst>
                  <a:gd name="connsiteX0" fmla="*/ 31171 w 30821"/>
                  <a:gd name="connsiteY0" fmla="*/ 14000 h 27813"/>
                  <a:gd name="connsiteX1" fmla="*/ 15760 w 30821"/>
                  <a:gd name="connsiteY1" fmla="*/ 27907 h 27813"/>
                  <a:gd name="connsiteX2" fmla="*/ 350 w 30821"/>
                  <a:gd name="connsiteY2" fmla="*/ 14000 h 27813"/>
                  <a:gd name="connsiteX3" fmla="*/ 15760 w 30821"/>
                  <a:gd name="connsiteY3" fmla="*/ 94 h 27813"/>
                  <a:gd name="connsiteX4" fmla="*/ 31171 w 30821"/>
                  <a:gd name="connsiteY4" fmla="*/ 14000 h 27813"/>
                  <a:gd name="connsiteX5" fmla="*/ 31171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71" y="14000"/>
                    </a:moveTo>
                    <a:cubicBezTo>
                      <a:pt x="31171" y="21715"/>
                      <a:pt x="24310" y="27907"/>
                      <a:pt x="15760" y="27907"/>
                    </a:cubicBezTo>
                    <a:cubicBezTo>
                      <a:pt x="7210" y="27907"/>
                      <a:pt x="350" y="21715"/>
                      <a:pt x="350" y="14000"/>
                    </a:cubicBezTo>
                    <a:cubicBezTo>
                      <a:pt x="350" y="6285"/>
                      <a:pt x="7210" y="94"/>
                      <a:pt x="15760" y="94"/>
                    </a:cubicBezTo>
                    <a:cubicBezTo>
                      <a:pt x="24310" y="94"/>
                      <a:pt x="31171" y="6285"/>
                      <a:pt x="31171" y="14000"/>
                    </a:cubicBezTo>
                    <a:lnTo>
                      <a:pt x="31171"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13" name="Freeform: Shape 312">
                <a:extLst>
                  <a:ext uri="{FF2B5EF4-FFF2-40B4-BE49-F238E27FC236}">
                    <a16:creationId xmlns:a16="http://schemas.microsoft.com/office/drawing/2014/main" id="{61D4D6A2-0855-5260-F389-B13DBEFB062B}"/>
                  </a:ext>
                </a:extLst>
              </p:cNvPr>
              <p:cNvSpPr/>
              <p:nvPr/>
            </p:nvSpPr>
            <p:spPr>
              <a:xfrm>
                <a:off x="10930997" y="3073059"/>
                <a:ext cx="30821" cy="27813"/>
              </a:xfrm>
              <a:custGeom>
                <a:avLst/>
                <a:gdLst>
                  <a:gd name="connsiteX0" fmla="*/ 31173 w 30821"/>
                  <a:gd name="connsiteY0" fmla="*/ 14000 h 27813"/>
                  <a:gd name="connsiteX1" fmla="*/ 15762 w 30821"/>
                  <a:gd name="connsiteY1" fmla="*/ 27907 h 27813"/>
                  <a:gd name="connsiteX2" fmla="*/ 352 w 30821"/>
                  <a:gd name="connsiteY2" fmla="*/ 14000 h 27813"/>
                  <a:gd name="connsiteX3" fmla="*/ 15762 w 30821"/>
                  <a:gd name="connsiteY3" fmla="*/ 94 h 27813"/>
                  <a:gd name="connsiteX4" fmla="*/ 31173 w 30821"/>
                  <a:gd name="connsiteY4" fmla="*/ 14000 h 27813"/>
                  <a:gd name="connsiteX5" fmla="*/ 31173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73" y="14000"/>
                    </a:moveTo>
                    <a:cubicBezTo>
                      <a:pt x="31173" y="21715"/>
                      <a:pt x="24312" y="27907"/>
                      <a:pt x="15762" y="27907"/>
                    </a:cubicBezTo>
                    <a:cubicBezTo>
                      <a:pt x="7212" y="27907"/>
                      <a:pt x="352" y="21715"/>
                      <a:pt x="352" y="14000"/>
                    </a:cubicBezTo>
                    <a:cubicBezTo>
                      <a:pt x="352" y="6285"/>
                      <a:pt x="7212" y="94"/>
                      <a:pt x="15762" y="94"/>
                    </a:cubicBezTo>
                    <a:cubicBezTo>
                      <a:pt x="24312" y="94"/>
                      <a:pt x="31173" y="6285"/>
                      <a:pt x="31173" y="14000"/>
                    </a:cubicBezTo>
                    <a:lnTo>
                      <a:pt x="31173"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14" name="Freeform: Shape 313">
                <a:extLst>
                  <a:ext uri="{FF2B5EF4-FFF2-40B4-BE49-F238E27FC236}">
                    <a16:creationId xmlns:a16="http://schemas.microsoft.com/office/drawing/2014/main" id="{E6446B90-9EFB-DCAF-5C53-0EDDFF200F82}"/>
                  </a:ext>
                </a:extLst>
              </p:cNvPr>
              <p:cNvSpPr/>
              <p:nvPr/>
            </p:nvSpPr>
            <p:spPr>
              <a:xfrm>
                <a:off x="10952108" y="3073059"/>
                <a:ext cx="30821" cy="27813"/>
              </a:xfrm>
              <a:custGeom>
                <a:avLst/>
                <a:gdLst>
                  <a:gd name="connsiteX0" fmla="*/ 31175 w 30821"/>
                  <a:gd name="connsiteY0" fmla="*/ 14000 h 27813"/>
                  <a:gd name="connsiteX1" fmla="*/ 15764 w 30821"/>
                  <a:gd name="connsiteY1" fmla="*/ 27907 h 27813"/>
                  <a:gd name="connsiteX2" fmla="*/ 354 w 30821"/>
                  <a:gd name="connsiteY2" fmla="*/ 14000 h 27813"/>
                  <a:gd name="connsiteX3" fmla="*/ 15764 w 30821"/>
                  <a:gd name="connsiteY3" fmla="*/ 94 h 27813"/>
                  <a:gd name="connsiteX4" fmla="*/ 31175 w 30821"/>
                  <a:gd name="connsiteY4" fmla="*/ 14000 h 27813"/>
                  <a:gd name="connsiteX5" fmla="*/ 31175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75" y="14000"/>
                    </a:moveTo>
                    <a:cubicBezTo>
                      <a:pt x="31175" y="21715"/>
                      <a:pt x="24314" y="27907"/>
                      <a:pt x="15764" y="27907"/>
                    </a:cubicBezTo>
                    <a:cubicBezTo>
                      <a:pt x="7214" y="27907"/>
                      <a:pt x="354" y="21715"/>
                      <a:pt x="354" y="14000"/>
                    </a:cubicBezTo>
                    <a:cubicBezTo>
                      <a:pt x="354" y="6285"/>
                      <a:pt x="7214" y="94"/>
                      <a:pt x="15764" y="94"/>
                    </a:cubicBezTo>
                    <a:cubicBezTo>
                      <a:pt x="24314" y="94"/>
                      <a:pt x="31175" y="6285"/>
                      <a:pt x="31175" y="14000"/>
                    </a:cubicBezTo>
                    <a:lnTo>
                      <a:pt x="31175"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15" name="Freeform: Shape 314">
                <a:extLst>
                  <a:ext uri="{FF2B5EF4-FFF2-40B4-BE49-F238E27FC236}">
                    <a16:creationId xmlns:a16="http://schemas.microsoft.com/office/drawing/2014/main" id="{0BC589BD-3FCD-66F5-4584-30843619EC5F}"/>
                  </a:ext>
                </a:extLst>
              </p:cNvPr>
              <p:cNvSpPr/>
              <p:nvPr/>
            </p:nvSpPr>
            <p:spPr>
              <a:xfrm>
                <a:off x="10973218" y="3073059"/>
                <a:ext cx="30821" cy="27813"/>
              </a:xfrm>
              <a:custGeom>
                <a:avLst/>
                <a:gdLst>
                  <a:gd name="connsiteX0" fmla="*/ 31177 w 30821"/>
                  <a:gd name="connsiteY0" fmla="*/ 14000 h 27813"/>
                  <a:gd name="connsiteX1" fmla="*/ 15766 w 30821"/>
                  <a:gd name="connsiteY1" fmla="*/ 27907 h 27813"/>
                  <a:gd name="connsiteX2" fmla="*/ 356 w 30821"/>
                  <a:gd name="connsiteY2" fmla="*/ 14000 h 27813"/>
                  <a:gd name="connsiteX3" fmla="*/ 15766 w 30821"/>
                  <a:gd name="connsiteY3" fmla="*/ 94 h 27813"/>
                  <a:gd name="connsiteX4" fmla="*/ 31177 w 30821"/>
                  <a:gd name="connsiteY4" fmla="*/ 14000 h 27813"/>
                  <a:gd name="connsiteX5" fmla="*/ 31177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77" y="14000"/>
                    </a:moveTo>
                    <a:cubicBezTo>
                      <a:pt x="31177" y="21715"/>
                      <a:pt x="24316" y="27907"/>
                      <a:pt x="15766" y="27907"/>
                    </a:cubicBezTo>
                    <a:cubicBezTo>
                      <a:pt x="7216" y="27907"/>
                      <a:pt x="356" y="21715"/>
                      <a:pt x="356" y="14000"/>
                    </a:cubicBezTo>
                    <a:cubicBezTo>
                      <a:pt x="356" y="6285"/>
                      <a:pt x="7216" y="94"/>
                      <a:pt x="15766" y="94"/>
                    </a:cubicBezTo>
                    <a:cubicBezTo>
                      <a:pt x="24316" y="94"/>
                      <a:pt x="31177" y="6285"/>
                      <a:pt x="31177" y="14000"/>
                    </a:cubicBezTo>
                    <a:lnTo>
                      <a:pt x="31177"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16" name="Freeform: Shape 315">
                <a:extLst>
                  <a:ext uri="{FF2B5EF4-FFF2-40B4-BE49-F238E27FC236}">
                    <a16:creationId xmlns:a16="http://schemas.microsoft.com/office/drawing/2014/main" id="{D1104126-8B94-AEC0-E2E1-57443B1329F7}"/>
                  </a:ext>
                </a:extLst>
              </p:cNvPr>
              <p:cNvSpPr/>
              <p:nvPr/>
            </p:nvSpPr>
            <p:spPr>
              <a:xfrm>
                <a:off x="11015439" y="3073059"/>
                <a:ext cx="30821" cy="27813"/>
              </a:xfrm>
              <a:custGeom>
                <a:avLst/>
                <a:gdLst>
                  <a:gd name="connsiteX0" fmla="*/ 31181 w 30821"/>
                  <a:gd name="connsiteY0" fmla="*/ 14000 h 27813"/>
                  <a:gd name="connsiteX1" fmla="*/ 15770 w 30821"/>
                  <a:gd name="connsiteY1" fmla="*/ 27907 h 27813"/>
                  <a:gd name="connsiteX2" fmla="*/ 360 w 30821"/>
                  <a:gd name="connsiteY2" fmla="*/ 14000 h 27813"/>
                  <a:gd name="connsiteX3" fmla="*/ 15770 w 30821"/>
                  <a:gd name="connsiteY3" fmla="*/ 94 h 27813"/>
                  <a:gd name="connsiteX4" fmla="*/ 31181 w 30821"/>
                  <a:gd name="connsiteY4" fmla="*/ 14000 h 27813"/>
                  <a:gd name="connsiteX5" fmla="*/ 31181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81" y="14000"/>
                    </a:moveTo>
                    <a:cubicBezTo>
                      <a:pt x="31181" y="21715"/>
                      <a:pt x="24320" y="27907"/>
                      <a:pt x="15770" y="27907"/>
                    </a:cubicBezTo>
                    <a:cubicBezTo>
                      <a:pt x="7220" y="27907"/>
                      <a:pt x="360" y="21715"/>
                      <a:pt x="360" y="14000"/>
                    </a:cubicBezTo>
                    <a:cubicBezTo>
                      <a:pt x="360" y="6285"/>
                      <a:pt x="7220" y="94"/>
                      <a:pt x="15770" y="94"/>
                    </a:cubicBezTo>
                    <a:cubicBezTo>
                      <a:pt x="24320" y="94"/>
                      <a:pt x="31181" y="6285"/>
                      <a:pt x="31181" y="14000"/>
                    </a:cubicBezTo>
                    <a:lnTo>
                      <a:pt x="31181"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17" name="Freeform: Shape 316">
                <a:extLst>
                  <a:ext uri="{FF2B5EF4-FFF2-40B4-BE49-F238E27FC236}">
                    <a16:creationId xmlns:a16="http://schemas.microsoft.com/office/drawing/2014/main" id="{92154C00-BD03-A57B-CD58-58ED06DF9E0D}"/>
                  </a:ext>
                </a:extLst>
              </p:cNvPr>
              <p:cNvSpPr/>
              <p:nvPr/>
            </p:nvSpPr>
            <p:spPr>
              <a:xfrm>
                <a:off x="11047105" y="3073059"/>
                <a:ext cx="30821" cy="27813"/>
              </a:xfrm>
              <a:custGeom>
                <a:avLst/>
                <a:gdLst>
                  <a:gd name="connsiteX0" fmla="*/ 31184 w 30821"/>
                  <a:gd name="connsiteY0" fmla="*/ 14000 h 27813"/>
                  <a:gd name="connsiteX1" fmla="*/ 15773 w 30821"/>
                  <a:gd name="connsiteY1" fmla="*/ 27907 h 27813"/>
                  <a:gd name="connsiteX2" fmla="*/ 363 w 30821"/>
                  <a:gd name="connsiteY2" fmla="*/ 14000 h 27813"/>
                  <a:gd name="connsiteX3" fmla="*/ 15773 w 30821"/>
                  <a:gd name="connsiteY3" fmla="*/ 94 h 27813"/>
                  <a:gd name="connsiteX4" fmla="*/ 31184 w 30821"/>
                  <a:gd name="connsiteY4" fmla="*/ 14000 h 27813"/>
                  <a:gd name="connsiteX5" fmla="*/ 31184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84" y="14000"/>
                    </a:moveTo>
                    <a:cubicBezTo>
                      <a:pt x="31184" y="21715"/>
                      <a:pt x="24323" y="27907"/>
                      <a:pt x="15773" y="27907"/>
                    </a:cubicBezTo>
                    <a:cubicBezTo>
                      <a:pt x="7223" y="27907"/>
                      <a:pt x="363" y="21715"/>
                      <a:pt x="363" y="14000"/>
                    </a:cubicBezTo>
                    <a:cubicBezTo>
                      <a:pt x="363" y="6285"/>
                      <a:pt x="7223" y="94"/>
                      <a:pt x="15773" y="94"/>
                    </a:cubicBezTo>
                    <a:cubicBezTo>
                      <a:pt x="24323" y="94"/>
                      <a:pt x="31184" y="6285"/>
                      <a:pt x="31184" y="14000"/>
                    </a:cubicBezTo>
                    <a:lnTo>
                      <a:pt x="31184"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18" name="Freeform: Shape 317">
                <a:extLst>
                  <a:ext uri="{FF2B5EF4-FFF2-40B4-BE49-F238E27FC236}">
                    <a16:creationId xmlns:a16="http://schemas.microsoft.com/office/drawing/2014/main" id="{A8B881CB-3D6B-13C5-FB6C-52BBFCD82CFB}"/>
                  </a:ext>
                </a:extLst>
              </p:cNvPr>
              <p:cNvSpPr/>
              <p:nvPr/>
            </p:nvSpPr>
            <p:spPr>
              <a:xfrm>
                <a:off x="11068215" y="3073059"/>
                <a:ext cx="30821" cy="27813"/>
              </a:xfrm>
              <a:custGeom>
                <a:avLst/>
                <a:gdLst>
                  <a:gd name="connsiteX0" fmla="*/ 31186 w 30821"/>
                  <a:gd name="connsiteY0" fmla="*/ 14000 h 27813"/>
                  <a:gd name="connsiteX1" fmla="*/ 15775 w 30821"/>
                  <a:gd name="connsiteY1" fmla="*/ 27907 h 27813"/>
                  <a:gd name="connsiteX2" fmla="*/ 365 w 30821"/>
                  <a:gd name="connsiteY2" fmla="*/ 14000 h 27813"/>
                  <a:gd name="connsiteX3" fmla="*/ 15775 w 30821"/>
                  <a:gd name="connsiteY3" fmla="*/ 94 h 27813"/>
                  <a:gd name="connsiteX4" fmla="*/ 31186 w 30821"/>
                  <a:gd name="connsiteY4" fmla="*/ 14000 h 27813"/>
                  <a:gd name="connsiteX5" fmla="*/ 31186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86" y="14000"/>
                    </a:moveTo>
                    <a:cubicBezTo>
                      <a:pt x="31186" y="21715"/>
                      <a:pt x="24325" y="27907"/>
                      <a:pt x="15775" y="27907"/>
                    </a:cubicBezTo>
                    <a:cubicBezTo>
                      <a:pt x="7225" y="27907"/>
                      <a:pt x="365" y="21715"/>
                      <a:pt x="365" y="14000"/>
                    </a:cubicBezTo>
                    <a:cubicBezTo>
                      <a:pt x="365" y="6285"/>
                      <a:pt x="7225" y="94"/>
                      <a:pt x="15775" y="94"/>
                    </a:cubicBezTo>
                    <a:cubicBezTo>
                      <a:pt x="24325" y="94"/>
                      <a:pt x="31186" y="6285"/>
                      <a:pt x="31186" y="14000"/>
                    </a:cubicBezTo>
                    <a:lnTo>
                      <a:pt x="31186"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19" name="Freeform: Shape 318">
                <a:extLst>
                  <a:ext uri="{FF2B5EF4-FFF2-40B4-BE49-F238E27FC236}">
                    <a16:creationId xmlns:a16="http://schemas.microsoft.com/office/drawing/2014/main" id="{11BC873C-FCF9-34E1-C220-961406C48301}"/>
                  </a:ext>
                </a:extLst>
              </p:cNvPr>
              <p:cNvSpPr/>
              <p:nvPr/>
            </p:nvSpPr>
            <p:spPr>
              <a:xfrm>
                <a:off x="11099881" y="3073059"/>
                <a:ext cx="30821" cy="27813"/>
              </a:xfrm>
              <a:custGeom>
                <a:avLst/>
                <a:gdLst>
                  <a:gd name="connsiteX0" fmla="*/ 31189 w 30821"/>
                  <a:gd name="connsiteY0" fmla="*/ 14000 h 27813"/>
                  <a:gd name="connsiteX1" fmla="*/ 15778 w 30821"/>
                  <a:gd name="connsiteY1" fmla="*/ 27907 h 27813"/>
                  <a:gd name="connsiteX2" fmla="*/ 368 w 30821"/>
                  <a:gd name="connsiteY2" fmla="*/ 14000 h 27813"/>
                  <a:gd name="connsiteX3" fmla="*/ 15778 w 30821"/>
                  <a:gd name="connsiteY3" fmla="*/ 94 h 27813"/>
                  <a:gd name="connsiteX4" fmla="*/ 31189 w 30821"/>
                  <a:gd name="connsiteY4" fmla="*/ 14000 h 27813"/>
                  <a:gd name="connsiteX5" fmla="*/ 31189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89" y="14000"/>
                    </a:moveTo>
                    <a:cubicBezTo>
                      <a:pt x="31189" y="21715"/>
                      <a:pt x="24328" y="27907"/>
                      <a:pt x="15778" y="27907"/>
                    </a:cubicBezTo>
                    <a:cubicBezTo>
                      <a:pt x="7228" y="27907"/>
                      <a:pt x="368" y="21715"/>
                      <a:pt x="368" y="14000"/>
                    </a:cubicBezTo>
                    <a:cubicBezTo>
                      <a:pt x="368" y="6285"/>
                      <a:pt x="7228" y="94"/>
                      <a:pt x="15778" y="94"/>
                    </a:cubicBezTo>
                    <a:cubicBezTo>
                      <a:pt x="24328" y="94"/>
                      <a:pt x="31189" y="6285"/>
                      <a:pt x="31189" y="14000"/>
                    </a:cubicBezTo>
                    <a:lnTo>
                      <a:pt x="31189"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20" name="Freeform: Shape 319">
                <a:extLst>
                  <a:ext uri="{FF2B5EF4-FFF2-40B4-BE49-F238E27FC236}">
                    <a16:creationId xmlns:a16="http://schemas.microsoft.com/office/drawing/2014/main" id="{A062B5C5-2E70-2A3C-DFE5-9E2FE4E48B50}"/>
                  </a:ext>
                </a:extLst>
              </p:cNvPr>
              <p:cNvSpPr/>
              <p:nvPr/>
            </p:nvSpPr>
            <p:spPr>
              <a:xfrm>
                <a:off x="11120992" y="3073059"/>
                <a:ext cx="30821" cy="27813"/>
              </a:xfrm>
              <a:custGeom>
                <a:avLst/>
                <a:gdLst>
                  <a:gd name="connsiteX0" fmla="*/ 31191 w 30821"/>
                  <a:gd name="connsiteY0" fmla="*/ 14000 h 27813"/>
                  <a:gd name="connsiteX1" fmla="*/ 15780 w 30821"/>
                  <a:gd name="connsiteY1" fmla="*/ 27907 h 27813"/>
                  <a:gd name="connsiteX2" fmla="*/ 370 w 30821"/>
                  <a:gd name="connsiteY2" fmla="*/ 14000 h 27813"/>
                  <a:gd name="connsiteX3" fmla="*/ 15780 w 30821"/>
                  <a:gd name="connsiteY3" fmla="*/ 94 h 27813"/>
                  <a:gd name="connsiteX4" fmla="*/ 31191 w 30821"/>
                  <a:gd name="connsiteY4" fmla="*/ 14000 h 27813"/>
                  <a:gd name="connsiteX5" fmla="*/ 31191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91" y="14000"/>
                    </a:moveTo>
                    <a:cubicBezTo>
                      <a:pt x="31191" y="21715"/>
                      <a:pt x="24330" y="27907"/>
                      <a:pt x="15780" y="27907"/>
                    </a:cubicBezTo>
                    <a:cubicBezTo>
                      <a:pt x="7230" y="27907"/>
                      <a:pt x="370" y="21715"/>
                      <a:pt x="370" y="14000"/>
                    </a:cubicBezTo>
                    <a:cubicBezTo>
                      <a:pt x="370" y="6285"/>
                      <a:pt x="7230" y="94"/>
                      <a:pt x="15780" y="94"/>
                    </a:cubicBezTo>
                    <a:cubicBezTo>
                      <a:pt x="24330" y="94"/>
                      <a:pt x="31191" y="6285"/>
                      <a:pt x="31191" y="14000"/>
                    </a:cubicBezTo>
                    <a:lnTo>
                      <a:pt x="31191"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21" name="Freeform: Shape 320">
                <a:extLst>
                  <a:ext uri="{FF2B5EF4-FFF2-40B4-BE49-F238E27FC236}">
                    <a16:creationId xmlns:a16="http://schemas.microsoft.com/office/drawing/2014/main" id="{FDAB2D83-BB5E-3CD2-0D80-27209FA6B7D7}"/>
                  </a:ext>
                </a:extLst>
              </p:cNvPr>
              <p:cNvSpPr/>
              <p:nvPr/>
            </p:nvSpPr>
            <p:spPr>
              <a:xfrm>
                <a:off x="11152658" y="3073059"/>
                <a:ext cx="30821" cy="27813"/>
              </a:xfrm>
              <a:custGeom>
                <a:avLst/>
                <a:gdLst>
                  <a:gd name="connsiteX0" fmla="*/ 31194 w 30821"/>
                  <a:gd name="connsiteY0" fmla="*/ 14000 h 27813"/>
                  <a:gd name="connsiteX1" fmla="*/ 15783 w 30821"/>
                  <a:gd name="connsiteY1" fmla="*/ 27907 h 27813"/>
                  <a:gd name="connsiteX2" fmla="*/ 373 w 30821"/>
                  <a:gd name="connsiteY2" fmla="*/ 14000 h 27813"/>
                  <a:gd name="connsiteX3" fmla="*/ 15783 w 30821"/>
                  <a:gd name="connsiteY3" fmla="*/ 94 h 27813"/>
                  <a:gd name="connsiteX4" fmla="*/ 31194 w 30821"/>
                  <a:gd name="connsiteY4" fmla="*/ 14000 h 27813"/>
                  <a:gd name="connsiteX5" fmla="*/ 31194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194" y="14000"/>
                    </a:moveTo>
                    <a:cubicBezTo>
                      <a:pt x="31194" y="21715"/>
                      <a:pt x="24333" y="27907"/>
                      <a:pt x="15783" y="27907"/>
                    </a:cubicBezTo>
                    <a:cubicBezTo>
                      <a:pt x="7233" y="27907"/>
                      <a:pt x="373" y="21715"/>
                      <a:pt x="373" y="14000"/>
                    </a:cubicBezTo>
                    <a:cubicBezTo>
                      <a:pt x="373" y="6285"/>
                      <a:pt x="7233" y="94"/>
                      <a:pt x="15783" y="94"/>
                    </a:cubicBezTo>
                    <a:cubicBezTo>
                      <a:pt x="24333" y="94"/>
                      <a:pt x="31194" y="6285"/>
                      <a:pt x="31194" y="14000"/>
                    </a:cubicBezTo>
                    <a:lnTo>
                      <a:pt x="31194"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22" name="Freeform: Shape 321">
                <a:extLst>
                  <a:ext uri="{FF2B5EF4-FFF2-40B4-BE49-F238E27FC236}">
                    <a16:creationId xmlns:a16="http://schemas.microsoft.com/office/drawing/2014/main" id="{C736FC11-B75B-681E-6455-EEFBB7549EA2}"/>
                  </a:ext>
                </a:extLst>
              </p:cNvPr>
              <p:cNvSpPr/>
              <p:nvPr/>
            </p:nvSpPr>
            <p:spPr>
              <a:xfrm>
                <a:off x="11226544" y="3073059"/>
                <a:ext cx="30821" cy="27813"/>
              </a:xfrm>
              <a:custGeom>
                <a:avLst/>
                <a:gdLst>
                  <a:gd name="connsiteX0" fmla="*/ 31201 w 30821"/>
                  <a:gd name="connsiteY0" fmla="*/ 14000 h 27813"/>
                  <a:gd name="connsiteX1" fmla="*/ 15790 w 30821"/>
                  <a:gd name="connsiteY1" fmla="*/ 27907 h 27813"/>
                  <a:gd name="connsiteX2" fmla="*/ 380 w 30821"/>
                  <a:gd name="connsiteY2" fmla="*/ 14000 h 27813"/>
                  <a:gd name="connsiteX3" fmla="*/ 15790 w 30821"/>
                  <a:gd name="connsiteY3" fmla="*/ 94 h 27813"/>
                  <a:gd name="connsiteX4" fmla="*/ 31201 w 30821"/>
                  <a:gd name="connsiteY4" fmla="*/ 14000 h 27813"/>
                  <a:gd name="connsiteX5" fmla="*/ 31201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01" y="14000"/>
                    </a:moveTo>
                    <a:cubicBezTo>
                      <a:pt x="31201" y="21715"/>
                      <a:pt x="24340" y="27907"/>
                      <a:pt x="15790" y="27907"/>
                    </a:cubicBezTo>
                    <a:cubicBezTo>
                      <a:pt x="7240" y="27907"/>
                      <a:pt x="380" y="21715"/>
                      <a:pt x="380" y="14000"/>
                    </a:cubicBezTo>
                    <a:cubicBezTo>
                      <a:pt x="380" y="6285"/>
                      <a:pt x="7240" y="94"/>
                      <a:pt x="15790" y="94"/>
                    </a:cubicBezTo>
                    <a:cubicBezTo>
                      <a:pt x="24340" y="94"/>
                      <a:pt x="31201" y="6285"/>
                      <a:pt x="31201" y="14000"/>
                    </a:cubicBezTo>
                    <a:lnTo>
                      <a:pt x="31201"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23" name="Freeform: Shape 322">
                <a:extLst>
                  <a:ext uri="{FF2B5EF4-FFF2-40B4-BE49-F238E27FC236}">
                    <a16:creationId xmlns:a16="http://schemas.microsoft.com/office/drawing/2014/main" id="{29BBEDEA-04B9-6F55-C525-C0CC2A27DDA3}"/>
                  </a:ext>
                </a:extLst>
              </p:cNvPr>
              <p:cNvSpPr/>
              <p:nvPr/>
            </p:nvSpPr>
            <p:spPr>
              <a:xfrm>
                <a:off x="11247655" y="3073059"/>
                <a:ext cx="30821" cy="27813"/>
              </a:xfrm>
              <a:custGeom>
                <a:avLst/>
                <a:gdLst>
                  <a:gd name="connsiteX0" fmla="*/ 31203 w 30821"/>
                  <a:gd name="connsiteY0" fmla="*/ 14000 h 27813"/>
                  <a:gd name="connsiteX1" fmla="*/ 15792 w 30821"/>
                  <a:gd name="connsiteY1" fmla="*/ 27907 h 27813"/>
                  <a:gd name="connsiteX2" fmla="*/ 382 w 30821"/>
                  <a:gd name="connsiteY2" fmla="*/ 14000 h 27813"/>
                  <a:gd name="connsiteX3" fmla="*/ 15792 w 30821"/>
                  <a:gd name="connsiteY3" fmla="*/ 94 h 27813"/>
                  <a:gd name="connsiteX4" fmla="*/ 31203 w 30821"/>
                  <a:gd name="connsiteY4" fmla="*/ 14000 h 27813"/>
                  <a:gd name="connsiteX5" fmla="*/ 31203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03" y="14000"/>
                    </a:moveTo>
                    <a:cubicBezTo>
                      <a:pt x="31203" y="21715"/>
                      <a:pt x="24342" y="27907"/>
                      <a:pt x="15792" y="27907"/>
                    </a:cubicBezTo>
                    <a:cubicBezTo>
                      <a:pt x="7242" y="27907"/>
                      <a:pt x="382" y="21715"/>
                      <a:pt x="382" y="14000"/>
                    </a:cubicBezTo>
                    <a:cubicBezTo>
                      <a:pt x="382" y="6285"/>
                      <a:pt x="7242" y="94"/>
                      <a:pt x="15792" y="94"/>
                    </a:cubicBezTo>
                    <a:cubicBezTo>
                      <a:pt x="24342" y="94"/>
                      <a:pt x="31203" y="6285"/>
                      <a:pt x="31203" y="14000"/>
                    </a:cubicBezTo>
                    <a:lnTo>
                      <a:pt x="31203"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24" name="Freeform: Shape 323">
                <a:extLst>
                  <a:ext uri="{FF2B5EF4-FFF2-40B4-BE49-F238E27FC236}">
                    <a16:creationId xmlns:a16="http://schemas.microsoft.com/office/drawing/2014/main" id="{9F15EA51-5A65-F1A4-5A12-4001AC0B3B12}"/>
                  </a:ext>
                </a:extLst>
              </p:cNvPr>
              <p:cNvSpPr/>
              <p:nvPr/>
            </p:nvSpPr>
            <p:spPr>
              <a:xfrm>
                <a:off x="11279321" y="3073059"/>
                <a:ext cx="30821" cy="27813"/>
              </a:xfrm>
              <a:custGeom>
                <a:avLst/>
                <a:gdLst>
                  <a:gd name="connsiteX0" fmla="*/ 31206 w 30821"/>
                  <a:gd name="connsiteY0" fmla="*/ 14000 h 27813"/>
                  <a:gd name="connsiteX1" fmla="*/ 15795 w 30821"/>
                  <a:gd name="connsiteY1" fmla="*/ 27907 h 27813"/>
                  <a:gd name="connsiteX2" fmla="*/ 385 w 30821"/>
                  <a:gd name="connsiteY2" fmla="*/ 14000 h 27813"/>
                  <a:gd name="connsiteX3" fmla="*/ 15795 w 30821"/>
                  <a:gd name="connsiteY3" fmla="*/ 94 h 27813"/>
                  <a:gd name="connsiteX4" fmla="*/ 31206 w 30821"/>
                  <a:gd name="connsiteY4" fmla="*/ 14000 h 27813"/>
                  <a:gd name="connsiteX5" fmla="*/ 31206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06" y="14000"/>
                    </a:moveTo>
                    <a:cubicBezTo>
                      <a:pt x="31206" y="21715"/>
                      <a:pt x="24345" y="27907"/>
                      <a:pt x="15795" y="27907"/>
                    </a:cubicBezTo>
                    <a:cubicBezTo>
                      <a:pt x="7245" y="27907"/>
                      <a:pt x="385" y="21715"/>
                      <a:pt x="385" y="14000"/>
                    </a:cubicBezTo>
                    <a:cubicBezTo>
                      <a:pt x="385" y="6285"/>
                      <a:pt x="7245" y="94"/>
                      <a:pt x="15795" y="94"/>
                    </a:cubicBezTo>
                    <a:cubicBezTo>
                      <a:pt x="24345" y="94"/>
                      <a:pt x="31206" y="6285"/>
                      <a:pt x="31206" y="14000"/>
                    </a:cubicBezTo>
                    <a:lnTo>
                      <a:pt x="31206"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25" name="Freeform: Shape 324">
                <a:extLst>
                  <a:ext uri="{FF2B5EF4-FFF2-40B4-BE49-F238E27FC236}">
                    <a16:creationId xmlns:a16="http://schemas.microsoft.com/office/drawing/2014/main" id="{8529B2EE-E3EA-9622-4DE6-F580181864F3}"/>
                  </a:ext>
                </a:extLst>
              </p:cNvPr>
              <p:cNvSpPr/>
              <p:nvPr/>
            </p:nvSpPr>
            <p:spPr>
              <a:xfrm>
                <a:off x="11300431" y="3073059"/>
                <a:ext cx="30821" cy="27813"/>
              </a:xfrm>
              <a:custGeom>
                <a:avLst/>
                <a:gdLst>
                  <a:gd name="connsiteX0" fmla="*/ 31208 w 30821"/>
                  <a:gd name="connsiteY0" fmla="*/ 14000 h 27813"/>
                  <a:gd name="connsiteX1" fmla="*/ 15797 w 30821"/>
                  <a:gd name="connsiteY1" fmla="*/ 27907 h 27813"/>
                  <a:gd name="connsiteX2" fmla="*/ 387 w 30821"/>
                  <a:gd name="connsiteY2" fmla="*/ 14000 h 27813"/>
                  <a:gd name="connsiteX3" fmla="*/ 15797 w 30821"/>
                  <a:gd name="connsiteY3" fmla="*/ 94 h 27813"/>
                  <a:gd name="connsiteX4" fmla="*/ 31208 w 30821"/>
                  <a:gd name="connsiteY4" fmla="*/ 14000 h 27813"/>
                  <a:gd name="connsiteX5" fmla="*/ 31208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08" y="14000"/>
                    </a:moveTo>
                    <a:cubicBezTo>
                      <a:pt x="31208" y="21715"/>
                      <a:pt x="24347" y="27907"/>
                      <a:pt x="15797" y="27907"/>
                    </a:cubicBezTo>
                    <a:cubicBezTo>
                      <a:pt x="7247" y="27907"/>
                      <a:pt x="387" y="21715"/>
                      <a:pt x="387" y="14000"/>
                    </a:cubicBezTo>
                    <a:cubicBezTo>
                      <a:pt x="387" y="6285"/>
                      <a:pt x="7247" y="94"/>
                      <a:pt x="15797" y="94"/>
                    </a:cubicBezTo>
                    <a:cubicBezTo>
                      <a:pt x="24347" y="94"/>
                      <a:pt x="31208" y="6285"/>
                      <a:pt x="31208" y="14000"/>
                    </a:cubicBezTo>
                    <a:lnTo>
                      <a:pt x="31208"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26" name="Freeform: Shape 325">
                <a:extLst>
                  <a:ext uri="{FF2B5EF4-FFF2-40B4-BE49-F238E27FC236}">
                    <a16:creationId xmlns:a16="http://schemas.microsoft.com/office/drawing/2014/main" id="{4192EB18-CE6D-B146-5907-E297019BB4ED}"/>
                  </a:ext>
                </a:extLst>
              </p:cNvPr>
              <p:cNvSpPr/>
              <p:nvPr/>
            </p:nvSpPr>
            <p:spPr>
              <a:xfrm>
                <a:off x="11332097" y="3073059"/>
                <a:ext cx="30821" cy="27813"/>
              </a:xfrm>
              <a:custGeom>
                <a:avLst/>
                <a:gdLst>
                  <a:gd name="connsiteX0" fmla="*/ 31211 w 30821"/>
                  <a:gd name="connsiteY0" fmla="*/ 14000 h 27813"/>
                  <a:gd name="connsiteX1" fmla="*/ 15800 w 30821"/>
                  <a:gd name="connsiteY1" fmla="*/ 27907 h 27813"/>
                  <a:gd name="connsiteX2" fmla="*/ 390 w 30821"/>
                  <a:gd name="connsiteY2" fmla="*/ 14000 h 27813"/>
                  <a:gd name="connsiteX3" fmla="*/ 15800 w 30821"/>
                  <a:gd name="connsiteY3" fmla="*/ 94 h 27813"/>
                  <a:gd name="connsiteX4" fmla="*/ 31211 w 30821"/>
                  <a:gd name="connsiteY4" fmla="*/ 14000 h 27813"/>
                  <a:gd name="connsiteX5" fmla="*/ 31211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11" y="14000"/>
                    </a:moveTo>
                    <a:cubicBezTo>
                      <a:pt x="31211" y="21715"/>
                      <a:pt x="24350" y="27907"/>
                      <a:pt x="15800" y="27907"/>
                    </a:cubicBezTo>
                    <a:cubicBezTo>
                      <a:pt x="7250" y="27907"/>
                      <a:pt x="390" y="21715"/>
                      <a:pt x="390" y="14000"/>
                    </a:cubicBezTo>
                    <a:cubicBezTo>
                      <a:pt x="390" y="6285"/>
                      <a:pt x="7250" y="94"/>
                      <a:pt x="15800" y="94"/>
                    </a:cubicBezTo>
                    <a:cubicBezTo>
                      <a:pt x="24350" y="94"/>
                      <a:pt x="31211" y="6285"/>
                      <a:pt x="31211" y="14000"/>
                    </a:cubicBezTo>
                    <a:lnTo>
                      <a:pt x="31211"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27" name="Freeform: Shape 326">
                <a:extLst>
                  <a:ext uri="{FF2B5EF4-FFF2-40B4-BE49-F238E27FC236}">
                    <a16:creationId xmlns:a16="http://schemas.microsoft.com/office/drawing/2014/main" id="{F3288B70-ACEA-0438-8481-7F81A8A5CAA4}"/>
                  </a:ext>
                </a:extLst>
              </p:cNvPr>
              <p:cNvSpPr/>
              <p:nvPr/>
            </p:nvSpPr>
            <p:spPr>
              <a:xfrm>
                <a:off x="11363763" y="3073059"/>
                <a:ext cx="30821" cy="27813"/>
              </a:xfrm>
              <a:custGeom>
                <a:avLst/>
                <a:gdLst>
                  <a:gd name="connsiteX0" fmla="*/ 31214 w 30821"/>
                  <a:gd name="connsiteY0" fmla="*/ 14000 h 27813"/>
                  <a:gd name="connsiteX1" fmla="*/ 15803 w 30821"/>
                  <a:gd name="connsiteY1" fmla="*/ 27907 h 27813"/>
                  <a:gd name="connsiteX2" fmla="*/ 393 w 30821"/>
                  <a:gd name="connsiteY2" fmla="*/ 14000 h 27813"/>
                  <a:gd name="connsiteX3" fmla="*/ 15803 w 30821"/>
                  <a:gd name="connsiteY3" fmla="*/ 94 h 27813"/>
                  <a:gd name="connsiteX4" fmla="*/ 31214 w 30821"/>
                  <a:gd name="connsiteY4" fmla="*/ 14000 h 27813"/>
                  <a:gd name="connsiteX5" fmla="*/ 31214 w 30821"/>
                  <a:gd name="connsiteY5" fmla="*/ 14000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1214" y="14000"/>
                    </a:moveTo>
                    <a:cubicBezTo>
                      <a:pt x="31214" y="21715"/>
                      <a:pt x="24353" y="27907"/>
                      <a:pt x="15803" y="27907"/>
                    </a:cubicBezTo>
                    <a:cubicBezTo>
                      <a:pt x="7253" y="27907"/>
                      <a:pt x="393" y="21715"/>
                      <a:pt x="393" y="14000"/>
                    </a:cubicBezTo>
                    <a:cubicBezTo>
                      <a:pt x="393" y="6285"/>
                      <a:pt x="7253" y="94"/>
                      <a:pt x="15803" y="94"/>
                    </a:cubicBezTo>
                    <a:cubicBezTo>
                      <a:pt x="24353" y="94"/>
                      <a:pt x="31214" y="6285"/>
                      <a:pt x="31214" y="14000"/>
                    </a:cubicBezTo>
                    <a:lnTo>
                      <a:pt x="31214" y="14000"/>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28" name="Freeform: Shape 327">
                <a:extLst>
                  <a:ext uri="{FF2B5EF4-FFF2-40B4-BE49-F238E27FC236}">
                    <a16:creationId xmlns:a16="http://schemas.microsoft.com/office/drawing/2014/main" id="{790AA5D8-290F-8BD8-046D-C9AE7B3EAC53}"/>
                  </a:ext>
                </a:extLst>
              </p:cNvPr>
              <p:cNvSpPr/>
              <p:nvPr/>
            </p:nvSpPr>
            <p:spPr>
              <a:xfrm>
                <a:off x="8436262" y="2447647"/>
                <a:ext cx="30821" cy="27813"/>
              </a:xfrm>
              <a:custGeom>
                <a:avLst/>
                <a:gdLst>
                  <a:gd name="connsiteX0" fmla="*/ 30937 w 30821"/>
                  <a:gd name="connsiteY0" fmla="*/ 13934 h 27813"/>
                  <a:gd name="connsiteX1" fmla="*/ 15526 w 30821"/>
                  <a:gd name="connsiteY1" fmla="*/ 27841 h 27813"/>
                  <a:gd name="connsiteX2" fmla="*/ 115 w 30821"/>
                  <a:gd name="connsiteY2" fmla="*/ 13934 h 27813"/>
                  <a:gd name="connsiteX3" fmla="*/ 15526 w 30821"/>
                  <a:gd name="connsiteY3" fmla="*/ 28 h 27813"/>
                  <a:gd name="connsiteX4" fmla="*/ 30937 w 30821"/>
                  <a:gd name="connsiteY4" fmla="*/ 13934 h 27813"/>
                  <a:gd name="connsiteX5" fmla="*/ 30937 w 30821"/>
                  <a:gd name="connsiteY5" fmla="*/ 13934 h 2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21" h="27813">
                    <a:moveTo>
                      <a:pt x="30937" y="13934"/>
                    </a:moveTo>
                    <a:cubicBezTo>
                      <a:pt x="30937" y="21650"/>
                      <a:pt x="24076" y="27841"/>
                      <a:pt x="15526" y="27841"/>
                    </a:cubicBezTo>
                    <a:cubicBezTo>
                      <a:pt x="6976" y="27841"/>
                      <a:pt x="115" y="21650"/>
                      <a:pt x="115" y="13934"/>
                    </a:cubicBezTo>
                    <a:cubicBezTo>
                      <a:pt x="115" y="6219"/>
                      <a:pt x="6976" y="28"/>
                      <a:pt x="15526" y="28"/>
                    </a:cubicBezTo>
                    <a:cubicBezTo>
                      <a:pt x="24076" y="28"/>
                      <a:pt x="30937" y="6219"/>
                      <a:pt x="30937" y="13934"/>
                    </a:cubicBezTo>
                    <a:lnTo>
                      <a:pt x="30937" y="13934"/>
                    </a:ln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29" name="Freeform: Shape 328">
                <a:extLst>
                  <a:ext uri="{FF2B5EF4-FFF2-40B4-BE49-F238E27FC236}">
                    <a16:creationId xmlns:a16="http://schemas.microsoft.com/office/drawing/2014/main" id="{3CFC2115-B71D-ACEE-67AE-7DB47E8F57E3}"/>
                  </a:ext>
                </a:extLst>
              </p:cNvPr>
              <p:cNvSpPr/>
              <p:nvPr/>
            </p:nvSpPr>
            <p:spPr>
              <a:xfrm>
                <a:off x="7289855" y="2196620"/>
                <a:ext cx="4089318" cy="890492"/>
              </a:xfrm>
              <a:custGeom>
                <a:avLst/>
                <a:gdLst>
                  <a:gd name="connsiteX0" fmla="*/ 0 w 4089318"/>
                  <a:gd name="connsiteY0" fmla="*/ 0 h 890492"/>
                  <a:gd name="connsiteX1" fmla="*/ 126030 w 4089318"/>
                  <a:gd name="connsiteY1" fmla="*/ 0 h 890492"/>
                  <a:gd name="connsiteX2" fmla="*/ 125080 w 4089318"/>
                  <a:gd name="connsiteY2" fmla="*/ 8763 h 890492"/>
                  <a:gd name="connsiteX3" fmla="*/ 209205 w 4089318"/>
                  <a:gd name="connsiteY3" fmla="*/ 8763 h 890492"/>
                  <a:gd name="connsiteX4" fmla="*/ 210155 w 4089318"/>
                  <a:gd name="connsiteY4" fmla="*/ 27718 h 890492"/>
                  <a:gd name="connsiteX5" fmla="*/ 258921 w 4089318"/>
                  <a:gd name="connsiteY5" fmla="*/ 27718 h 890492"/>
                  <a:gd name="connsiteX6" fmla="*/ 259554 w 4089318"/>
                  <a:gd name="connsiteY6" fmla="*/ 37338 h 890492"/>
                  <a:gd name="connsiteX7" fmla="*/ 341252 w 4089318"/>
                  <a:gd name="connsiteY7" fmla="*/ 37338 h 890492"/>
                  <a:gd name="connsiteX8" fmla="*/ 341252 w 4089318"/>
                  <a:gd name="connsiteY8" fmla="*/ 46863 h 890492"/>
                  <a:gd name="connsiteX9" fmla="*/ 383367 w 4089318"/>
                  <a:gd name="connsiteY9" fmla="*/ 47435 h 890492"/>
                  <a:gd name="connsiteX10" fmla="*/ 383050 w 4089318"/>
                  <a:gd name="connsiteY10" fmla="*/ 61055 h 890492"/>
                  <a:gd name="connsiteX11" fmla="*/ 460104 w 4089318"/>
                  <a:gd name="connsiteY11" fmla="*/ 60484 h 890492"/>
                  <a:gd name="connsiteX12" fmla="*/ 461476 w 4089318"/>
                  <a:gd name="connsiteY12" fmla="*/ 60770 h 890492"/>
                  <a:gd name="connsiteX13" fmla="*/ 526391 w 4089318"/>
                  <a:gd name="connsiteY13" fmla="*/ 60770 h 890492"/>
                  <a:gd name="connsiteX14" fmla="*/ 526391 w 4089318"/>
                  <a:gd name="connsiteY14" fmla="*/ 70295 h 890492"/>
                  <a:gd name="connsiteX15" fmla="*/ 651682 w 4089318"/>
                  <a:gd name="connsiteY15" fmla="*/ 70295 h 890492"/>
                  <a:gd name="connsiteX16" fmla="*/ 651471 w 4089318"/>
                  <a:gd name="connsiteY16" fmla="*/ 93917 h 890492"/>
                  <a:gd name="connsiteX17" fmla="*/ 682714 w 4089318"/>
                  <a:gd name="connsiteY17" fmla="*/ 93536 h 890492"/>
                  <a:gd name="connsiteX18" fmla="*/ 683559 w 4089318"/>
                  <a:gd name="connsiteY18" fmla="*/ 114776 h 890492"/>
                  <a:gd name="connsiteX19" fmla="*/ 722296 w 4089318"/>
                  <a:gd name="connsiteY19" fmla="*/ 114776 h 890492"/>
                  <a:gd name="connsiteX20" fmla="*/ 721980 w 4089318"/>
                  <a:gd name="connsiteY20" fmla="*/ 136589 h 890492"/>
                  <a:gd name="connsiteX21" fmla="*/ 771167 w 4089318"/>
                  <a:gd name="connsiteY21" fmla="*/ 135541 h 890492"/>
                  <a:gd name="connsiteX22" fmla="*/ 768740 w 4089318"/>
                  <a:gd name="connsiteY22" fmla="*/ 152210 h 890492"/>
                  <a:gd name="connsiteX23" fmla="*/ 803994 w 4089318"/>
                  <a:gd name="connsiteY23" fmla="*/ 153257 h 890492"/>
                  <a:gd name="connsiteX24" fmla="*/ 806105 w 4089318"/>
                  <a:gd name="connsiteY24" fmla="*/ 166497 h 890492"/>
                  <a:gd name="connsiteX25" fmla="*/ 843471 w 4089318"/>
                  <a:gd name="connsiteY25" fmla="*/ 166497 h 890492"/>
                  <a:gd name="connsiteX26" fmla="*/ 843471 w 4089318"/>
                  <a:gd name="connsiteY26" fmla="*/ 174689 h 890492"/>
                  <a:gd name="connsiteX27" fmla="*/ 928652 w 4089318"/>
                  <a:gd name="connsiteY27" fmla="*/ 174689 h 890492"/>
                  <a:gd name="connsiteX28" fmla="*/ 929391 w 4089318"/>
                  <a:gd name="connsiteY28" fmla="*/ 188595 h 890492"/>
                  <a:gd name="connsiteX29" fmla="*/ 992511 w 4089318"/>
                  <a:gd name="connsiteY29" fmla="*/ 186404 h 890492"/>
                  <a:gd name="connsiteX30" fmla="*/ 993039 w 4089318"/>
                  <a:gd name="connsiteY30" fmla="*/ 201073 h 890492"/>
                  <a:gd name="connsiteX31" fmla="*/ 1016788 w 4089318"/>
                  <a:gd name="connsiteY31" fmla="*/ 201073 h 890492"/>
                  <a:gd name="connsiteX32" fmla="*/ 1016788 w 4089318"/>
                  <a:gd name="connsiteY32" fmla="*/ 214503 h 890492"/>
                  <a:gd name="connsiteX33" fmla="*/ 1035576 w 4089318"/>
                  <a:gd name="connsiteY33" fmla="*/ 214503 h 890492"/>
                  <a:gd name="connsiteX34" fmla="*/ 1035576 w 4089318"/>
                  <a:gd name="connsiteY34" fmla="*/ 224409 h 890492"/>
                  <a:gd name="connsiteX35" fmla="*/ 1066715 w 4089318"/>
                  <a:gd name="connsiteY35" fmla="*/ 223742 h 890492"/>
                  <a:gd name="connsiteX36" fmla="*/ 1066715 w 4089318"/>
                  <a:gd name="connsiteY36" fmla="*/ 240030 h 890492"/>
                  <a:gd name="connsiteX37" fmla="*/ 1119491 w 4089318"/>
                  <a:gd name="connsiteY37" fmla="*/ 240030 h 890492"/>
                  <a:gd name="connsiteX38" fmla="*/ 1119491 w 4089318"/>
                  <a:gd name="connsiteY38" fmla="*/ 257270 h 890492"/>
                  <a:gd name="connsiteX39" fmla="*/ 1177545 w 4089318"/>
                  <a:gd name="connsiteY39" fmla="*/ 256032 h 890492"/>
                  <a:gd name="connsiteX40" fmla="*/ 1177545 w 4089318"/>
                  <a:gd name="connsiteY40" fmla="*/ 270320 h 890492"/>
                  <a:gd name="connsiteX41" fmla="*/ 1184406 w 4089318"/>
                  <a:gd name="connsiteY41" fmla="*/ 270320 h 890492"/>
                  <a:gd name="connsiteX42" fmla="*/ 1184406 w 4089318"/>
                  <a:gd name="connsiteY42" fmla="*/ 280321 h 890492"/>
                  <a:gd name="connsiteX43" fmla="*/ 1216283 w 4089318"/>
                  <a:gd name="connsiteY43" fmla="*/ 280321 h 890492"/>
                  <a:gd name="connsiteX44" fmla="*/ 1215649 w 4089318"/>
                  <a:gd name="connsiteY44" fmla="*/ 289084 h 890492"/>
                  <a:gd name="connsiteX45" fmla="*/ 1248159 w 4089318"/>
                  <a:gd name="connsiteY45" fmla="*/ 289084 h 890492"/>
                  <a:gd name="connsiteX46" fmla="*/ 1248159 w 4089318"/>
                  <a:gd name="connsiteY46" fmla="*/ 308134 h 890492"/>
                  <a:gd name="connsiteX47" fmla="*/ 1274125 w 4089318"/>
                  <a:gd name="connsiteY47" fmla="*/ 308134 h 890492"/>
                  <a:gd name="connsiteX48" fmla="*/ 1274125 w 4089318"/>
                  <a:gd name="connsiteY48" fmla="*/ 317659 h 890492"/>
                  <a:gd name="connsiteX49" fmla="*/ 1293441 w 4089318"/>
                  <a:gd name="connsiteY49" fmla="*/ 317659 h 890492"/>
                  <a:gd name="connsiteX50" fmla="*/ 1293441 w 4089318"/>
                  <a:gd name="connsiteY50" fmla="*/ 335375 h 890492"/>
                  <a:gd name="connsiteX51" fmla="*/ 1345057 w 4089318"/>
                  <a:gd name="connsiteY51" fmla="*/ 335375 h 890492"/>
                  <a:gd name="connsiteX52" fmla="*/ 1345057 w 4089318"/>
                  <a:gd name="connsiteY52" fmla="*/ 356616 h 890492"/>
                  <a:gd name="connsiteX53" fmla="*/ 1374189 w 4089318"/>
                  <a:gd name="connsiteY53" fmla="*/ 356616 h 890492"/>
                  <a:gd name="connsiteX54" fmla="*/ 1374189 w 4089318"/>
                  <a:gd name="connsiteY54" fmla="*/ 402908 h 890492"/>
                  <a:gd name="connsiteX55" fmla="*/ 1446176 w 4089318"/>
                  <a:gd name="connsiteY55" fmla="*/ 402908 h 890492"/>
                  <a:gd name="connsiteX56" fmla="*/ 1446176 w 4089318"/>
                  <a:gd name="connsiteY56" fmla="*/ 425387 h 890492"/>
                  <a:gd name="connsiteX57" fmla="*/ 1479425 w 4089318"/>
                  <a:gd name="connsiteY57" fmla="*/ 425387 h 890492"/>
                  <a:gd name="connsiteX58" fmla="*/ 1479425 w 4089318"/>
                  <a:gd name="connsiteY58" fmla="*/ 441674 h 890492"/>
                  <a:gd name="connsiteX59" fmla="*/ 1504336 w 4089318"/>
                  <a:gd name="connsiteY59" fmla="*/ 441674 h 890492"/>
                  <a:gd name="connsiteX60" fmla="*/ 1504336 w 4089318"/>
                  <a:gd name="connsiteY60" fmla="*/ 462915 h 890492"/>
                  <a:gd name="connsiteX61" fmla="*/ 1530618 w 4089318"/>
                  <a:gd name="connsiteY61" fmla="*/ 462915 h 890492"/>
                  <a:gd name="connsiteX62" fmla="*/ 1530618 w 4089318"/>
                  <a:gd name="connsiteY62" fmla="*/ 477869 h 890492"/>
                  <a:gd name="connsiteX63" fmla="*/ 1583289 w 4089318"/>
                  <a:gd name="connsiteY63" fmla="*/ 477869 h 890492"/>
                  <a:gd name="connsiteX64" fmla="*/ 1583289 w 4089318"/>
                  <a:gd name="connsiteY64" fmla="*/ 489109 h 890492"/>
                  <a:gd name="connsiteX65" fmla="*/ 1628993 w 4089318"/>
                  <a:gd name="connsiteY65" fmla="*/ 489109 h 890492"/>
                  <a:gd name="connsiteX66" fmla="*/ 1628993 w 4089318"/>
                  <a:gd name="connsiteY66" fmla="*/ 505397 h 890492"/>
                  <a:gd name="connsiteX67" fmla="*/ 1663614 w 4089318"/>
                  <a:gd name="connsiteY67" fmla="*/ 505397 h 890492"/>
                  <a:gd name="connsiteX68" fmla="*/ 1663614 w 4089318"/>
                  <a:gd name="connsiteY68" fmla="*/ 520351 h 890492"/>
                  <a:gd name="connsiteX69" fmla="*/ 1716813 w 4089318"/>
                  <a:gd name="connsiteY69" fmla="*/ 520351 h 890492"/>
                  <a:gd name="connsiteX70" fmla="*/ 1717974 w 4089318"/>
                  <a:gd name="connsiteY70" fmla="*/ 541592 h 890492"/>
                  <a:gd name="connsiteX71" fmla="*/ 1746473 w 4089318"/>
                  <a:gd name="connsiteY71" fmla="*/ 541592 h 890492"/>
                  <a:gd name="connsiteX72" fmla="*/ 1745312 w 4089318"/>
                  <a:gd name="connsiteY72" fmla="*/ 555403 h 890492"/>
                  <a:gd name="connsiteX73" fmla="*/ 1786900 w 4089318"/>
                  <a:gd name="connsiteY73" fmla="*/ 555403 h 890492"/>
                  <a:gd name="connsiteX74" fmla="*/ 1786900 w 4089318"/>
                  <a:gd name="connsiteY74" fmla="*/ 566642 h 890492"/>
                  <a:gd name="connsiteX75" fmla="*/ 1847804 w 4089318"/>
                  <a:gd name="connsiteY75" fmla="*/ 566642 h 890492"/>
                  <a:gd name="connsiteX76" fmla="*/ 1847804 w 4089318"/>
                  <a:gd name="connsiteY76" fmla="*/ 576644 h 890492"/>
                  <a:gd name="connsiteX77" fmla="*/ 1881053 w 4089318"/>
                  <a:gd name="connsiteY77" fmla="*/ 576644 h 890492"/>
                  <a:gd name="connsiteX78" fmla="*/ 1880736 w 4089318"/>
                  <a:gd name="connsiteY78" fmla="*/ 592741 h 890492"/>
                  <a:gd name="connsiteX79" fmla="*/ 1912613 w 4089318"/>
                  <a:gd name="connsiteY79" fmla="*/ 592741 h 890492"/>
                  <a:gd name="connsiteX80" fmla="*/ 1912930 w 4089318"/>
                  <a:gd name="connsiteY80" fmla="*/ 597884 h 890492"/>
                  <a:gd name="connsiteX81" fmla="*/ 1957262 w 4089318"/>
                  <a:gd name="connsiteY81" fmla="*/ 597884 h 890492"/>
                  <a:gd name="connsiteX82" fmla="*/ 1956312 w 4089318"/>
                  <a:gd name="connsiteY82" fmla="*/ 619792 h 890492"/>
                  <a:gd name="connsiteX83" fmla="*/ 2004022 w 4089318"/>
                  <a:gd name="connsiteY83" fmla="*/ 619792 h 890492"/>
                  <a:gd name="connsiteX84" fmla="*/ 2004022 w 4089318"/>
                  <a:gd name="connsiteY84" fmla="*/ 647605 h 890492"/>
                  <a:gd name="connsiteX85" fmla="*/ 2034843 w 4089318"/>
                  <a:gd name="connsiteY85" fmla="*/ 647605 h 890492"/>
                  <a:gd name="connsiteX86" fmla="*/ 2034843 w 4089318"/>
                  <a:gd name="connsiteY86" fmla="*/ 654177 h 890492"/>
                  <a:gd name="connsiteX87" fmla="*/ 2058381 w 4089318"/>
                  <a:gd name="connsiteY87" fmla="*/ 654177 h 890492"/>
                  <a:gd name="connsiteX88" fmla="*/ 2058381 w 4089318"/>
                  <a:gd name="connsiteY88" fmla="*/ 679228 h 890492"/>
                  <a:gd name="connsiteX89" fmla="*/ 2074003 w 4089318"/>
                  <a:gd name="connsiteY89" fmla="*/ 678180 h 890492"/>
                  <a:gd name="connsiteX90" fmla="*/ 2074003 w 4089318"/>
                  <a:gd name="connsiteY90" fmla="*/ 696944 h 890492"/>
                  <a:gd name="connsiteX91" fmla="*/ 2090575 w 4089318"/>
                  <a:gd name="connsiteY91" fmla="*/ 696944 h 890492"/>
                  <a:gd name="connsiteX92" fmla="*/ 2090575 w 4089318"/>
                  <a:gd name="connsiteY92" fmla="*/ 723233 h 890492"/>
                  <a:gd name="connsiteX93" fmla="*/ 2138073 w 4089318"/>
                  <a:gd name="connsiteY93" fmla="*/ 724281 h 890492"/>
                  <a:gd name="connsiteX94" fmla="*/ 2138073 w 4089318"/>
                  <a:gd name="connsiteY94" fmla="*/ 743045 h 890492"/>
                  <a:gd name="connsiteX95" fmla="*/ 2170584 w 4089318"/>
                  <a:gd name="connsiteY95" fmla="*/ 743045 h 890492"/>
                  <a:gd name="connsiteX96" fmla="*/ 2170584 w 4089318"/>
                  <a:gd name="connsiteY96" fmla="*/ 751808 h 890492"/>
                  <a:gd name="connsiteX97" fmla="*/ 2212171 w 4089318"/>
                  <a:gd name="connsiteY97" fmla="*/ 751808 h 890492"/>
                  <a:gd name="connsiteX98" fmla="*/ 2212171 w 4089318"/>
                  <a:gd name="connsiteY98" fmla="*/ 761809 h 890492"/>
                  <a:gd name="connsiteX99" fmla="*/ 2257876 w 4089318"/>
                  <a:gd name="connsiteY99" fmla="*/ 761809 h 890492"/>
                  <a:gd name="connsiteX100" fmla="*/ 2257876 w 4089318"/>
                  <a:gd name="connsiteY100" fmla="*/ 774287 h 890492"/>
                  <a:gd name="connsiteX101" fmla="*/ 2291125 w 4089318"/>
                  <a:gd name="connsiteY101" fmla="*/ 774287 h 890492"/>
                  <a:gd name="connsiteX102" fmla="*/ 2291125 w 4089318"/>
                  <a:gd name="connsiteY102" fmla="*/ 780574 h 890492"/>
                  <a:gd name="connsiteX103" fmla="*/ 2338307 w 4089318"/>
                  <a:gd name="connsiteY103" fmla="*/ 781145 h 890492"/>
                  <a:gd name="connsiteX104" fmla="*/ 2338307 w 4089318"/>
                  <a:gd name="connsiteY104" fmla="*/ 802386 h 890492"/>
                  <a:gd name="connsiteX105" fmla="*/ 2371450 w 4089318"/>
                  <a:gd name="connsiteY105" fmla="*/ 801815 h 890492"/>
                  <a:gd name="connsiteX106" fmla="*/ 2370711 w 4089318"/>
                  <a:gd name="connsiteY106" fmla="*/ 824294 h 890492"/>
                  <a:gd name="connsiteX107" fmla="*/ 2559123 w 4089318"/>
                  <a:gd name="connsiteY107" fmla="*/ 824294 h 890492"/>
                  <a:gd name="connsiteX108" fmla="*/ 2559650 w 4089318"/>
                  <a:gd name="connsiteY108" fmla="*/ 839248 h 890492"/>
                  <a:gd name="connsiteX109" fmla="*/ 2687264 w 4089318"/>
                  <a:gd name="connsiteY109" fmla="*/ 839248 h 890492"/>
                  <a:gd name="connsiteX110" fmla="*/ 2687264 w 4089318"/>
                  <a:gd name="connsiteY110" fmla="*/ 846773 h 890492"/>
                  <a:gd name="connsiteX111" fmla="*/ 2744051 w 4089318"/>
                  <a:gd name="connsiteY111" fmla="*/ 846773 h 890492"/>
                  <a:gd name="connsiteX112" fmla="*/ 2742890 w 4089318"/>
                  <a:gd name="connsiteY112" fmla="*/ 852011 h 890492"/>
                  <a:gd name="connsiteX113" fmla="*/ 2792500 w 4089318"/>
                  <a:gd name="connsiteY113" fmla="*/ 852011 h 890492"/>
                  <a:gd name="connsiteX114" fmla="*/ 2792500 w 4089318"/>
                  <a:gd name="connsiteY114" fmla="*/ 862965 h 890492"/>
                  <a:gd name="connsiteX115" fmla="*/ 2878419 w 4089318"/>
                  <a:gd name="connsiteY115" fmla="*/ 862965 h 890492"/>
                  <a:gd name="connsiteX116" fmla="*/ 2878419 w 4089318"/>
                  <a:gd name="connsiteY116" fmla="*/ 867347 h 890492"/>
                  <a:gd name="connsiteX117" fmla="*/ 2939957 w 4089318"/>
                  <a:gd name="connsiteY117" fmla="*/ 865918 h 890492"/>
                  <a:gd name="connsiteX118" fmla="*/ 2939957 w 4089318"/>
                  <a:gd name="connsiteY118" fmla="*/ 879824 h 890492"/>
                  <a:gd name="connsiteX119" fmla="*/ 3094485 w 4089318"/>
                  <a:gd name="connsiteY119" fmla="*/ 879824 h 890492"/>
                  <a:gd name="connsiteX120" fmla="*/ 3094485 w 4089318"/>
                  <a:gd name="connsiteY120" fmla="*/ 890492 h 890492"/>
                  <a:gd name="connsiteX121" fmla="*/ 4089319 w 4089318"/>
                  <a:gd name="connsiteY121" fmla="*/ 890492 h 890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089318" h="890492">
                    <a:moveTo>
                      <a:pt x="0" y="0"/>
                    </a:moveTo>
                    <a:lnTo>
                      <a:pt x="126030" y="0"/>
                    </a:lnTo>
                    <a:lnTo>
                      <a:pt x="125080" y="8763"/>
                    </a:lnTo>
                    <a:lnTo>
                      <a:pt x="209205" y="8763"/>
                    </a:lnTo>
                    <a:lnTo>
                      <a:pt x="210155" y="27718"/>
                    </a:lnTo>
                    <a:lnTo>
                      <a:pt x="258921" y="27718"/>
                    </a:lnTo>
                    <a:lnTo>
                      <a:pt x="259554" y="37338"/>
                    </a:lnTo>
                    <a:lnTo>
                      <a:pt x="341252" y="37338"/>
                    </a:lnTo>
                    <a:lnTo>
                      <a:pt x="341252" y="46863"/>
                    </a:lnTo>
                    <a:lnTo>
                      <a:pt x="383367" y="47435"/>
                    </a:lnTo>
                    <a:lnTo>
                      <a:pt x="383050" y="61055"/>
                    </a:lnTo>
                    <a:lnTo>
                      <a:pt x="460104" y="60484"/>
                    </a:lnTo>
                    <a:lnTo>
                      <a:pt x="461476" y="60770"/>
                    </a:lnTo>
                    <a:lnTo>
                      <a:pt x="526391" y="60770"/>
                    </a:lnTo>
                    <a:lnTo>
                      <a:pt x="526391" y="70295"/>
                    </a:lnTo>
                    <a:lnTo>
                      <a:pt x="651682" y="70295"/>
                    </a:lnTo>
                    <a:lnTo>
                      <a:pt x="651471" y="93917"/>
                    </a:lnTo>
                    <a:lnTo>
                      <a:pt x="682714" y="93536"/>
                    </a:lnTo>
                    <a:lnTo>
                      <a:pt x="683559" y="114776"/>
                    </a:lnTo>
                    <a:lnTo>
                      <a:pt x="722296" y="114776"/>
                    </a:lnTo>
                    <a:lnTo>
                      <a:pt x="721980" y="136589"/>
                    </a:lnTo>
                    <a:lnTo>
                      <a:pt x="771167" y="135541"/>
                    </a:lnTo>
                    <a:lnTo>
                      <a:pt x="768740" y="152210"/>
                    </a:lnTo>
                    <a:lnTo>
                      <a:pt x="803994" y="153257"/>
                    </a:lnTo>
                    <a:lnTo>
                      <a:pt x="806105" y="166497"/>
                    </a:lnTo>
                    <a:lnTo>
                      <a:pt x="843471" y="166497"/>
                    </a:lnTo>
                    <a:lnTo>
                      <a:pt x="843471" y="174689"/>
                    </a:lnTo>
                    <a:lnTo>
                      <a:pt x="928652" y="174689"/>
                    </a:lnTo>
                    <a:lnTo>
                      <a:pt x="929391" y="188595"/>
                    </a:lnTo>
                    <a:lnTo>
                      <a:pt x="992511" y="186404"/>
                    </a:lnTo>
                    <a:lnTo>
                      <a:pt x="993039" y="201073"/>
                    </a:lnTo>
                    <a:lnTo>
                      <a:pt x="1016788" y="201073"/>
                    </a:lnTo>
                    <a:lnTo>
                      <a:pt x="1016788" y="214503"/>
                    </a:lnTo>
                    <a:lnTo>
                      <a:pt x="1035576" y="214503"/>
                    </a:lnTo>
                    <a:lnTo>
                      <a:pt x="1035576" y="224409"/>
                    </a:lnTo>
                    <a:lnTo>
                      <a:pt x="1066715" y="223742"/>
                    </a:lnTo>
                    <a:lnTo>
                      <a:pt x="1066715" y="240030"/>
                    </a:lnTo>
                    <a:lnTo>
                      <a:pt x="1119491" y="240030"/>
                    </a:lnTo>
                    <a:lnTo>
                      <a:pt x="1119491" y="257270"/>
                    </a:lnTo>
                    <a:lnTo>
                      <a:pt x="1177545" y="256032"/>
                    </a:lnTo>
                    <a:lnTo>
                      <a:pt x="1177545" y="270320"/>
                    </a:lnTo>
                    <a:lnTo>
                      <a:pt x="1184406" y="270320"/>
                    </a:lnTo>
                    <a:lnTo>
                      <a:pt x="1184406" y="280321"/>
                    </a:lnTo>
                    <a:lnTo>
                      <a:pt x="1216283" y="280321"/>
                    </a:lnTo>
                    <a:lnTo>
                      <a:pt x="1215649" y="289084"/>
                    </a:lnTo>
                    <a:lnTo>
                      <a:pt x="1248159" y="289084"/>
                    </a:lnTo>
                    <a:lnTo>
                      <a:pt x="1248159" y="308134"/>
                    </a:lnTo>
                    <a:lnTo>
                      <a:pt x="1274125" y="308134"/>
                    </a:lnTo>
                    <a:lnTo>
                      <a:pt x="1274125" y="317659"/>
                    </a:lnTo>
                    <a:lnTo>
                      <a:pt x="1293441" y="317659"/>
                    </a:lnTo>
                    <a:lnTo>
                      <a:pt x="1293441" y="335375"/>
                    </a:lnTo>
                    <a:lnTo>
                      <a:pt x="1345057" y="335375"/>
                    </a:lnTo>
                    <a:lnTo>
                      <a:pt x="1345057" y="356616"/>
                    </a:lnTo>
                    <a:lnTo>
                      <a:pt x="1374189" y="356616"/>
                    </a:lnTo>
                    <a:lnTo>
                      <a:pt x="1374189" y="402908"/>
                    </a:lnTo>
                    <a:lnTo>
                      <a:pt x="1446176" y="402908"/>
                    </a:lnTo>
                    <a:lnTo>
                      <a:pt x="1446176" y="425387"/>
                    </a:lnTo>
                    <a:lnTo>
                      <a:pt x="1479425" y="425387"/>
                    </a:lnTo>
                    <a:lnTo>
                      <a:pt x="1479425" y="441674"/>
                    </a:lnTo>
                    <a:cubicBezTo>
                      <a:pt x="1479425" y="441674"/>
                      <a:pt x="1504336" y="439198"/>
                      <a:pt x="1504336" y="441674"/>
                    </a:cubicBezTo>
                    <a:lnTo>
                      <a:pt x="1504336" y="462915"/>
                    </a:lnTo>
                    <a:lnTo>
                      <a:pt x="1530618" y="462915"/>
                    </a:lnTo>
                    <a:lnTo>
                      <a:pt x="1530618" y="477869"/>
                    </a:lnTo>
                    <a:lnTo>
                      <a:pt x="1583289" y="477869"/>
                    </a:lnTo>
                    <a:lnTo>
                      <a:pt x="1583289" y="489109"/>
                    </a:lnTo>
                    <a:lnTo>
                      <a:pt x="1628993" y="489109"/>
                    </a:lnTo>
                    <a:lnTo>
                      <a:pt x="1628993" y="505397"/>
                    </a:lnTo>
                    <a:lnTo>
                      <a:pt x="1663614" y="505397"/>
                    </a:lnTo>
                    <a:lnTo>
                      <a:pt x="1663614" y="520351"/>
                    </a:lnTo>
                    <a:lnTo>
                      <a:pt x="1716813" y="520351"/>
                    </a:lnTo>
                    <a:lnTo>
                      <a:pt x="1717974" y="541592"/>
                    </a:lnTo>
                    <a:lnTo>
                      <a:pt x="1746473" y="541592"/>
                    </a:lnTo>
                    <a:lnTo>
                      <a:pt x="1745312" y="555403"/>
                    </a:lnTo>
                    <a:lnTo>
                      <a:pt x="1786900" y="555403"/>
                    </a:lnTo>
                    <a:lnTo>
                      <a:pt x="1786900" y="566642"/>
                    </a:lnTo>
                    <a:lnTo>
                      <a:pt x="1847804" y="566642"/>
                    </a:lnTo>
                    <a:lnTo>
                      <a:pt x="1847804" y="576644"/>
                    </a:lnTo>
                    <a:lnTo>
                      <a:pt x="1881053" y="576644"/>
                    </a:lnTo>
                    <a:lnTo>
                      <a:pt x="1880736" y="592741"/>
                    </a:lnTo>
                    <a:lnTo>
                      <a:pt x="1912613" y="592741"/>
                    </a:lnTo>
                    <a:lnTo>
                      <a:pt x="1912930" y="597884"/>
                    </a:lnTo>
                    <a:lnTo>
                      <a:pt x="1957262" y="597884"/>
                    </a:lnTo>
                    <a:lnTo>
                      <a:pt x="1956312" y="619792"/>
                    </a:lnTo>
                    <a:lnTo>
                      <a:pt x="2004022" y="619792"/>
                    </a:lnTo>
                    <a:lnTo>
                      <a:pt x="2004022" y="647605"/>
                    </a:lnTo>
                    <a:lnTo>
                      <a:pt x="2034843" y="647605"/>
                    </a:lnTo>
                    <a:lnTo>
                      <a:pt x="2034843" y="654177"/>
                    </a:lnTo>
                    <a:lnTo>
                      <a:pt x="2058381" y="654177"/>
                    </a:lnTo>
                    <a:lnTo>
                      <a:pt x="2058381" y="679228"/>
                    </a:lnTo>
                    <a:lnTo>
                      <a:pt x="2074003" y="678180"/>
                    </a:lnTo>
                    <a:lnTo>
                      <a:pt x="2074003" y="696944"/>
                    </a:lnTo>
                    <a:lnTo>
                      <a:pt x="2090575" y="696944"/>
                    </a:lnTo>
                    <a:lnTo>
                      <a:pt x="2090575" y="723233"/>
                    </a:lnTo>
                    <a:lnTo>
                      <a:pt x="2138073" y="724281"/>
                    </a:lnTo>
                    <a:lnTo>
                      <a:pt x="2138073" y="743045"/>
                    </a:lnTo>
                    <a:lnTo>
                      <a:pt x="2170584" y="743045"/>
                    </a:lnTo>
                    <a:lnTo>
                      <a:pt x="2170584" y="751808"/>
                    </a:lnTo>
                    <a:lnTo>
                      <a:pt x="2212171" y="751808"/>
                    </a:lnTo>
                    <a:lnTo>
                      <a:pt x="2212171" y="761809"/>
                    </a:lnTo>
                    <a:lnTo>
                      <a:pt x="2257876" y="761809"/>
                    </a:lnTo>
                    <a:lnTo>
                      <a:pt x="2257876" y="774287"/>
                    </a:lnTo>
                    <a:lnTo>
                      <a:pt x="2291125" y="774287"/>
                    </a:lnTo>
                    <a:lnTo>
                      <a:pt x="2291125" y="780574"/>
                    </a:lnTo>
                    <a:lnTo>
                      <a:pt x="2338307" y="781145"/>
                    </a:lnTo>
                    <a:lnTo>
                      <a:pt x="2338307" y="802386"/>
                    </a:lnTo>
                    <a:lnTo>
                      <a:pt x="2371450" y="801815"/>
                    </a:lnTo>
                    <a:lnTo>
                      <a:pt x="2370711" y="824294"/>
                    </a:lnTo>
                    <a:lnTo>
                      <a:pt x="2559123" y="824294"/>
                    </a:lnTo>
                    <a:lnTo>
                      <a:pt x="2559650" y="839248"/>
                    </a:lnTo>
                    <a:lnTo>
                      <a:pt x="2687264" y="839248"/>
                    </a:lnTo>
                    <a:lnTo>
                      <a:pt x="2687264" y="846773"/>
                    </a:lnTo>
                    <a:lnTo>
                      <a:pt x="2744051" y="846773"/>
                    </a:lnTo>
                    <a:lnTo>
                      <a:pt x="2742890" y="852011"/>
                    </a:lnTo>
                    <a:lnTo>
                      <a:pt x="2792500" y="852011"/>
                    </a:lnTo>
                    <a:lnTo>
                      <a:pt x="2792500" y="862965"/>
                    </a:lnTo>
                    <a:lnTo>
                      <a:pt x="2878419" y="862965"/>
                    </a:lnTo>
                    <a:lnTo>
                      <a:pt x="2878419" y="867347"/>
                    </a:lnTo>
                    <a:lnTo>
                      <a:pt x="2939957" y="865918"/>
                    </a:lnTo>
                    <a:lnTo>
                      <a:pt x="2939957" y="879824"/>
                    </a:lnTo>
                    <a:lnTo>
                      <a:pt x="3094485" y="879824"/>
                    </a:lnTo>
                    <a:lnTo>
                      <a:pt x="3094485" y="890492"/>
                    </a:lnTo>
                    <a:lnTo>
                      <a:pt x="4089319" y="890492"/>
                    </a:lnTo>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3F4444"/>
                  </a:solidFill>
                  <a:effectLst/>
                  <a:uLnTx/>
                  <a:uFillTx/>
                  <a:latin typeface="Calibri"/>
                  <a:ea typeface="+mn-ea"/>
                  <a:cs typeface="+mn-cs"/>
                </a:endParaRPr>
              </a:p>
            </p:txBody>
          </p:sp>
        </p:grpSp>
      </p:grpSp>
      <p:sp>
        <p:nvSpPr>
          <p:cNvPr id="516" name="TextBox 515">
            <a:extLst>
              <a:ext uri="{FF2B5EF4-FFF2-40B4-BE49-F238E27FC236}">
                <a16:creationId xmlns:a16="http://schemas.microsoft.com/office/drawing/2014/main" id="{BC303271-A541-7E58-F7BA-8F5FFF80BB3F}"/>
              </a:ext>
            </a:extLst>
          </p:cNvPr>
          <p:cNvSpPr txBox="1"/>
          <p:nvPr/>
        </p:nvSpPr>
        <p:spPr>
          <a:xfrm>
            <a:off x="7825243" y="1551624"/>
            <a:ext cx="3241079" cy="430887"/>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ru-RU" sz="1400" b="1" i="0" u="none" strike="noStrike" kern="0" cap="none" spc="0" normalizeH="0" baseline="0" noProof="0" dirty="0">
                <a:ln>
                  <a:noFill/>
                </a:ln>
                <a:solidFill>
                  <a:srgbClr val="3F4444"/>
                </a:solidFill>
                <a:effectLst/>
                <a:uLnTx/>
                <a:uFillTx/>
                <a:latin typeface="Calibri"/>
                <a:ea typeface="+mn-ea"/>
                <a:cs typeface="Arial"/>
              </a:rPr>
              <a:t>Выживаемость без второго прогрессирования заболевания (ВБП2)</a:t>
            </a:r>
            <a:endParaRPr kumimoji="0" lang="ru-RU" sz="1400" b="0" i="0" u="none" strike="noStrike" kern="0" cap="none" spc="0" normalizeH="0" baseline="0" noProof="0" dirty="0">
              <a:ln>
                <a:noFill/>
              </a:ln>
              <a:solidFill>
                <a:srgbClr val="3F4444"/>
              </a:solidFill>
              <a:effectLst/>
              <a:uLnTx/>
              <a:uFillTx/>
              <a:latin typeface="Calibri"/>
              <a:ea typeface="+mn-ea"/>
              <a:cs typeface="Arial"/>
            </a:endParaRPr>
          </a:p>
        </p:txBody>
      </p:sp>
      <p:sp>
        <p:nvSpPr>
          <p:cNvPr id="517" name="TextBox 516">
            <a:extLst>
              <a:ext uri="{FF2B5EF4-FFF2-40B4-BE49-F238E27FC236}">
                <a16:creationId xmlns:a16="http://schemas.microsoft.com/office/drawing/2014/main" id="{672CF9D8-3412-E865-7E36-75BC7E819C97}"/>
              </a:ext>
            </a:extLst>
          </p:cNvPr>
          <p:cNvSpPr txBox="1"/>
          <p:nvPr/>
        </p:nvSpPr>
        <p:spPr>
          <a:xfrm>
            <a:off x="1930756" y="1625478"/>
            <a:ext cx="4831409" cy="215444"/>
          </a:xfrm>
          <a:prstGeom prst="rect">
            <a:avLst/>
          </a:prstGeom>
          <a:noFill/>
        </p:spPr>
        <p:txBody>
          <a:bodyPr wrap="square" lIns="0" tIns="0" rIns="0" bIns="0" rtlCol="0">
            <a:spAutoFit/>
          </a:bodyPr>
          <a:lstStyle/>
          <a:p>
            <a:pPr marL="0" marR="0" lvl="0" indent="0" defTabSz="1219170" rtl="0" eaLnBrk="1" fontAlgn="auto" latinLnBrk="0" hangingPunct="1">
              <a:lnSpc>
                <a:spcPct val="100000"/>
              </a:lnSpc>
              <a:spcBef>
                <a:spcPts val="0"/>
              </a:spcBef>
              <a:spcAft>
                <a:spcPts val="0"/>
              </a:spcAft>
              <a:buClr>
                <a:srgbClr val="000000"/>
              </a:buClr>
              <a:buSzTx/>
              <a:buFontTx/>
              <a:buNone/>
              <a:tabLst/>
              <a:defRPr/>
            </a:pPr>
            <a:r>
              <a:rPr kumimoji="0" lang="ru-RU" sz="1400" b="1" i="0" u="none" strike="noStrike" kern="0" cap="none" spc="0" normalizeH="0" baseline="0" noProof="0" dirty="0">
                <a:ln>
                  <a:noFill/>
                </a:ln>
                <a:solidFill>
                  <a:srgbClr val="3F4444"/>
                </a:solidFill>
                <a:effectLst/>
                <a:uLnTx/>
                <a:uFillTx/>
                <a:latin typeface="Calibri"/>
                <a:ea typeface="+mn-ea"/>
                <a:cs typeface="Arial"/>
              </a:rPr>
              <a:t>Время до первой последующей терапии</a:t>
            </a:r>
            <a:endParaRPr kumimoji="0" lang="ru-RU" sz="1400" b="0" i="0" u="none" strike="noStrike" kern="0" cap="none" spc="0" normalizeH="0" baseline="0" noProof="0" dirty="0">
              <a:ln>
                <a:noFill/>
              </a:ln>
              <a:solidFill>
                <a:srgbClr val="3F4444"/>
              </a:solidFill>
              <a:effectLst/>
              <a:uLnTx/>
              <a:uFillTx/>
              <a:latin typeface="Calibri"/>
              <a:ea typeface="+mn-ea"/>
              <a:cs typeface="Arial"/>
            </a:endParaRPr>
          </a:p>
        </p:txBody>
      </p:sp>
      <p:graphicFrame>
        <p:nvGraphicFramePr>
          <p:cNvPr id="5" name="Table 4">
            <a:extLst>
              <a:ext uri="{FF2B5EF4-FFF2-40B4-BE49-F238E27FC236}">
                <a16:creationId xmlns:a16="http://schemas.microsoft.com/office/drawing/2014/main" id="{B8A367B4-EC6C-7C23-20EA-40A8FF4CAD20}"/>
              </a:ext>
            </a:extLst>
          </p:cNvPr>
          <p:cNvGraphicFramePr>
            <a:graphicFrameLocks noGrp="1"/>
          </p:cNvGraphicFramePr>
          <p:nvPr>
            <p:extLst>
              <p:ext uri="{D42A27DB-BD31-4B8C-83A1-F6EECF244321}">
                <p14:modId xmlns:p14="http://schemas.microsoft.com/office/powerpoint/2010/main" val="1623807593"/>
              </p:ext>
            </p:extLst>
          </p:nvPr>
        </p:nvGraphicFramePr>
        <p:xfrm>
          <a:off x="3155540" y="4642830"/>
          <a:ext cx="2562546" cy="228600"/>
        </p:xfrm>
        <a:graphic>
          <a:graphicData uri="http://schemas.openxmlformats.org/drawingml/2006/table">
            <a:tbl>
              <a:tblPr firstRow="1" bandRow="1">
                <a:tableStyleId>{5C22544A-7EE6-4342-B048-85BDC9FD1C3A}</a:tableStyleId>
              </a:tblPr>
              <a:tblGrid>
                <a:gridCol w="1185097">
                  <a:extLst>
                    <a:ext uri="{9D8B030D-6E8A-4147-A177-3AD203B41FA5}">
                      <a16:colId xmlns:a16="http://schemas.microsoft.com/office/drawing/2014/main" val="1652274653"/>
                    </a:ext>
                  </a:extLst>
                </a:gridCol>
                <a:gridCol w="1377449">
                  <a:extLst>
                    <a:ext uri="{9D8B030D-6E8A-4147-A177-3AD203B41FA5}">
                      <a16:colId xmlns:a16="http://schemas.microsoft.com/office/drawing/2014/main" val="1744582495"/>
                    </a:ext>
                  </a:extLst>
                </a:gridCol>
              </a:tblGrid>
              <a:tr h="0">
                <a:tc>
                  <a:txBody>
                    <a:bodyPr/>
                    <a:lstStyle/>
                    <a:p>
                      <a:pPr algn="r" rtl="0"/>
                      <a:r>
                        <a:rPr lang="ru" sz="900" b="1">
                          <a:solidFill>
                            <a:schemeClr val="tx1"/>
                          </a:solidFill>
                          <a:latin typeface="+mn-lt"/>
                          <a:cs typeface="Arial" panose="020B0604020202020204" pitchFamily="34" charset="0"/>
                        </a:rPr>
                        <a:t>ОР (95 % Д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ru" sz="900" b="1" dirty="0">
                          <a:solidFill>
                            <a:schemeClr val="tx1"/>
                          </a:solidFill>
                          <a:latin typeface="+mn-lt"/>
                          <a:cs typeface="Arial" panose="020B0604020202020204" pitchFamily="34" charset="0"/>
                        </a:rPr>
                        <a:t>0,76 (0,64–0,9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76086"/>
                  </a:ext>
                </a:extLst>
              </a:tr>
            </a:tbl>
          </a:graphicData>
        </a:graphic>
      </p:graphicFrame>
    </p:spTree>
    <p:extLst>
      <p:ext uri="{BB962C8B-B14F-4D97-AF65-F5344CB8AC3E}">
        <p14:creationId xmlns:p14="http://schemas.microsoft.com/office/powerpoint/2010/main" val="2635097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3D07FF2-3D50-46A1-86B4-BBDE8E11B151}"/>
              </a:ext>
            </a:extLst>
          </p:cNvPr>
          <p:cNvSpPr>
            <a:spLocks noGrp="1"/>
          </p:cNvSpPr>
          <p:nvPr>
            <p:ph type="title"/>
          </p:nvPr>
        </p:nvSpPr>
        <p:spPr>
          <a:xfrm>
            <a:off x="350837" y="293004"/>
            <a:ext cx="11376025" cy="864655"/>
          </a:xfrm>
        </p:spPr>
        <p:txBody>
          <a:bodyPr rtlCol="0">
            <a:normAutofit/>
          </a:bodyPr>
          <a:lstStyle/>
          <a:p>
            <a:pPr algn="ctr" rtl="0"/>
            <a:r>
              <a:rPr lang="ru-RU" b="1" i="1" dirty="0">
                <a:latin typeface="+mn-lt"/>
                <a:ea typeface="+mn-ea"/>
                <a:cs typeface="+mn-cs"/>
              </a:rPr>
              <a:t>При применении комбинации олапариба и </a:t>
            </a:r>
            <a:r>
              <a:rPr lang="ru-RU" b="1" i="1" dirty="0" err="1">
                <a:latin typeface="+mn-lt"/>
                <a:ea typeface="+mn-ea"/>
                <a:cs typeface="+mn-cs"/>
              </a:rPr>
              <a:t>абиратерона</a:t>
            </a:r>
            <a:r>
              <a:rPr lang="ru-RU" b="1" i="1" dirty="0">
                <a:latin typeface="+mn-lt"/>
                <a:ea typeface="+mn-ea"/>
                <a:cs typeface="+mn-cs"/>
              </a:rPr>
              <a:t> отмечено увеличение частоты объективного ответа </a:t>
            </a:r>
            <a:r>
              <a:rPr lang="ru-RU" b="1" i="1" dirty="0">
                <a:solidFill>
                  <a:schemeClr val="tx2"/>
                </a:solidFill>
                <a:latin typeface="+mn-lt"/>
                <a:ea typeface="+mn-ea"/>
                <a:cs typeface="+mn-cs"/>
              </a:rPr>
              <a:t>более чем на 10%</a:t>
            </a:r>
            <a:r>
              <a:rPr lang="ru-RU" sz="2400" b="1" baseline="30000" dirty="0"/>
              <a:t>1,2</a:t>
            </a:r>
            <a:endParaRPr lang="en-GB" b="1" baseline="30000" dirty="0"/>
          </a:p>
        </p:txBody>
      </p:sp>
      <p:sp>
        <p:nvSpPr>
          <p:cNvPr id="10" name="Text Placeholder 9">
            <a:extLst>
              <a:ext uri="{FF2B5EF4-FFF2-40B4-BE49-F238E27FC236}">
                <a16:creationId xmlns:a16="http://schemas.microsoft.com/office/drawing/2014/main" id="{182E998B-2257-42D2-85EA-00B63AA167BB}"/>
              </a:ext>
            </a:extLst>
          </p:cNvPr>
          <p:cNvSpPr>
            <a:spLocks noGrp="1"/>
          </p:cNvSpPr>
          <p:nvPr>
            <p:ph type="body" sz="quarter" idx="111"/>
          </p:nvPr>
        </p:nvSpPr>
        <p:spPr>
          <a:xfrm>
            <a:off x="430887" y="6103683"/>
            <a:ext cx="10423045" cy="657225"/>
          </a:xfrm>
        </p:spPr>
        <p:txBody>
          <a:bodyPr rtlCol="0"/>
          <a:lstStyle/>
          <a:p>
            <a:pPr marL="0" rtl="0">
              <a:spcAft>
                <a:spcPts val="0"/>
              </a:spcAft>
            </a:pPr>
            <a:r>
              <a:rPr lang="ru-RU" dirty="0"/>
              <a:t>*Номинально</a:t>
            </a:r>
          </a:p>
          <a:p>
            <a:pPr marL="0" rtl="0">
              <a:spcAft>
                <a:spcPts val="0"/>
              </a:spcAft>
            </a:pPr>
            <a:r>
              <a:rPr lang="ru-RU" dirty="0"/>
              <a:t>ДИ — доверительный интервал; ПО — полный ответ; ПЗ — прогрессирование заболевания; ЧО — частичный ответ; ЧОО — частота объективного ответа; RECIST — критерии оценки ответа солидных опухолей (</a:t>
            </a:r>
            <a:r>
              <a:rPr lang="ru-RU" dirty="0" err="1"/>
              <a:t>Response</a:t>
            </a:r>
            <a:r>
              <a:rPr lang="ru-RU" dirty="0"/>
              <a:t> </a:t>
            </a:r>
            <a:r>
              <a:rPr lang="ru-RU" dirty="0" err="1"/>
              <a:t>Evaluation</a:t>
            </a:r>
            <a:r>
              <a:rPr lang="ru-RU" dirty="0"/>
              <a:t> </a:t>
            </a:r>
            <a:r>
              <a:rPr lang="ru-RU" dirty="0" err="1"/>
              <a:t>Criteria</a:t>
            </a:r>
            <a:r>
              <a:rPr lang="ru-RU" dirty="0"/>
              <a:t> in Solid Tumours); СЗ — стабилизация заболевания Второй срез данных: 14 марта 2022 г.</a:t>
            </a:r>
            <a:br>
              <a:rPr lang="en-GB" dirty="0"/>
            </a:br>
            <a:r>
              <a:rPr lang="ru-RU" kern="0" dirty="0">
                <a:cs typeface="Arial" panose="020B0604020202020204" pitchFamily="34" charset="0"/>
              </a:rPr>
              <a:t>1.</a:t>
            </a:r>
            <a:r>
              <a:rPr lang="ru-RU" sz="800" b="0" i="0" u="none" strike="noStrike" kern="0" cap="none" spc="0" noProof="0" dirty="0">
                <a:ln>
                  <a:noFill/>
                </a:ln>
                <a:effectLst/>
                <a:uLnTx/>
                <a:uFillTx/>
                <a:cs typeface="Calibri" panose="020F0502020204030204" pitchFamily="34" charset="0"/>
              </a:rPr>
              <a:t> Saad F, et al. Представлено на ежегодном конгрессе ESMO 2022. 9–13 сентября. Париж, Франция. </a:t>
            </a:r>
            <a:r>
              <a:rPr lang="ru-RU" sz="800" b="0" i="0" u="none" strike="noStrike" kern="0" cap="none" spc="0" noProof="0" dirty="0" err="1">
                <a:ln>
                  <a:noFill/>
                </a:ln>
                <a:effectLst/>
                <a:uLnTx/>
                <a:uFillTx/>
                <a:cs typeface="Calibri" panose="020F0502020204030204" pitchFamily="34" charset="0"/>
              </a:rPr>
              <a:t>Abstract</a:t>
            </a:r>
            <a:r>
              <a:rPr lang="ru-RU" sz="800" b="0" i="0" u="none" strike="noStrike" kern="0" cap="none" spc="0" noProof="0" dirty="0">
                <a:ln>
                  <a:noFill/>
                </a:ln>
                <a:effectLst/>
                <a:uLnTx/>
                <a:uFillTx/>
                <a:cs typeface="Calibri" panose="020F0502020204030204" pitchFamily="34" charset="0"/>
              </a:rPr>
              <a:t> #13570; </a:t>
            </a:r>
            <a:r>
              <a:rPr lang="ru-RU" kern="0" dirty="0">
                <a:cs typeface="Arial" panose="020B0604020202020204" pitchFamily="34" charset="0"/>
              </a:rPr>
              <a:t> 2. </a:t>
            </a:r>
            <a:r>
              <a:rPr lang="ru-RU" kern="0" dirty="0" err="1">
                <a:cs typeface="Arial" panose="020B0604020202020204" pitchFamily="34" charset="0"/>
              </a:rPr>
              <a:t>Clarke</a:t>
            </a:r>
            <a:r>
              <a:rPr lang="ru-RU" kern="0" dirty="0">
                <a:cs typeface="Arial" panose="020B0604020202020204" pitchFamily="34" charset="0"/>
              </a:rPr>
              <a:t> N, et al.</a:t>
            </a:r>
            <a:r>
              <a:rPr lang="ru-RU" dirty="0"/>
              <a:t> </a:t>
            </a:r>
            <a:r>
              <a:rPr lang="ru-RU" i="1" dirty="0"/>
              <a:t>New Engl J Med </a:t>
            </a:r>
            <a:r>
              <a:rPr lang="ru-RU" i="1" dirty="0" err="1"/>
              <a:t>Evid</a:t>
            </a:r>
            <a:r>
              <a:rPr lang="ru-RU" i="1" dirty="0"/>
              <a:t> </a:t>
            </a:r>
            <a:r>
              <a:rPr lang="ru-RU" dirty="0"/>
              <a:t>2022. </a:t>
            </a:r>
            <a:r>
              <a:rPr lang="ru-RU" dirty="0" err="1"/>
              <a:t>doi:https</a:t>
            </a:r>
            <a:r>
              <a:rPr lang="ru-RU" dirty="0"/>
              <a:t>://doi.org/10.1056/EVIDoa2200043</a:t>
            </a:r>
          </a:p>
        </p:txBody>
      </p:sp>
      <p:sp>
        <p:nvSpPr>
          <p:cNvPr id="23" name="TextBox 22">
            <a:extLst>
              <a:ext uri="{FF2B5EF4-FFF2-40B4-BE49-F238E27FC236}">
                <a16:creationId xmlns:a16="http://schemas.microsoft.com/office/drawing/2014/main" id="{C1C29663-4765-469E-A83E-3B134EE4CF56}"/>
              </a:ext>
            </a:extLst>
          </p:cNvPr>
          <p:cNvSpPr txBox="1"/>
          <p:nvPr/>
        </p:nvSpPr>
        <p:spPr>
          <a:xfrm>
            <a:off x="2531585" y="4993017"/>
            <a:ext cx="157089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ПО 4,3 % </a:t>
            </a:r>
          </a:p>
        </p:txBody>
      </p:sp>
      <p:sp>
        <p:nvSpPr>
          <p:cNvPr id="24" name="TextBox 23">
            <a:extLst>
              <a:ext uri="{FF2B5EF4-FFF2-40B4-BE49-F238E27FC236}">
                <a16:creationId xmlns:a16="http://schemas.microsoft.com/office/drawing/2014/main" id="{8A0ED30C-026C-40B2-AD29-EFAC86BEE797}"/>
              </a:ext>
            </a:extLst>
          </p:cNvPr>
          <p:cNvSpPr txBox="1"/>
          <p:nvPr/>
        </p:nvSpPr>
        <p:spPr>
          <a:xfrm>
            <a:off x="5697806" y="4964412"/>
            <a:ext cx="157089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ПО 6,3 %</a:t>
            </a:r>
          </a:p>
        </p:txBody>
      </p:sp>
      <p:grpSp>
        <p:nvGrpSpPr>
          <p:cNvPr id="25" name="Group 24">
            <a:extLst>
              <a:ext uri="{FF2B5EF4-FFF2-40B4-BE49-F238E27FC236}">
                <a16:creationId xmlns:a16="http://schemas.microsoft.com/office/drawing/2014/main" id="{69F5791F-A821-4AD9-BE41-D4C096BC4895}"/>
              </a:ext>
            </a:extLst>
          </p:cNvPr>
          <p:cNvGrpSpPr/>
          <p:nvPr/>
        </p:nvGrpSpPr>
        <p:grpSpPr>
          <a:xfrm>
            <a:off x="544946" y="1693586"/>
            <a:ext cx="7115064" cy="3951166"/>
            <a:chOff x="640080" y="1556269"/>
            <a:chExt cx="7512184" cy="4059142"/>
          </a:xfrm>
        </p:grpSpPr>
        <p:graphicFrame>
          <p:nvGraphicFramePr>
            <p:cNvPr id="26" name="Chart 25">
              <a:extLst>
                <a:ext uri="{FF2B5EF4-FFF2-40B4-BE49-F238E27FC236}">
                  <a16:creationId xmlns:a16="http://schemas.microsoft.com/office/drawing/2014/main" id="{D1C4D5C6-CDC5-46E0-971E-D6E9401D0B90}"/>
                </a:ext>
              </a:extLst>
            </p:cNvPr>
            <p:cNvGraphicFramePr/>
            <p:nvPr>
              <p:extLst>
                <p:ext uri="{D42A27DB-BD31-4B8C-83A1-F6EECF244321}">
                  <p14:modId xmlns:p14="http://schemas.microsoft.com/office/powerpoint/2010/main" val="3681457325"/>
                </p:ext>
              </p:extLst>
            </p:nvPr>
          </p:nvGraphicFramePr>
          <p:xfrm>
            <a:off x="640080" y="1783187"/>
            <a:ext cx="7512184" cy="3832224"/>
          </p:xfrm>
          <a:graphic>
            <a:graphicData uri="http://schemas.openxmlformats.org/drawingml/2006/chart">
              <c:chart xmlns:c="http://schemas.openxmlformats.org/drawingml/2006/chart" xmlns:r="http://schemas.openxmlformats.org/officeDocument/2006/relationships" r:id="rId3"/>
            </a:graphicData>
          </a:graphic>
        </p:graphicFrame>
        <p:sp>
          <p:nvSpPr>
            <p:cNvPr id="27" name="TextBox 26">
              <a:extLst>
                <a:ext uri="{FF2B5EF4-FFF2-40B4-BE49-F238E27FC236}">
                  <a16:creationId xmlns:a16="http://schemas.microsoft.com/office/drawing/2014/main" id="{54930BB1-26A5-4DD0-A838-8B74819C708A}"/>
                </a:ext>
              </a:extLst>
            </p:cNvPr>
            <p:cNvSpPr txBox="1"/>
            <p:nvPr/>
          </p:nvSpPr>
          <p:spPr>
            <a:xfrm>
              <a:off x="2035640" y="1556269"/>
              <a:ext cx="5413492" cy="9169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rPr>
                <a:t>Отношение шансов 1,64 (95% ДИ 1,05‒2,59)</a:t>
              </a:r>
              <a:br>
                <a:rPr kumimoji="0" lang="en-GB" sz="1600" b="1"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rPr>
              </a:br>
              <a:r>
                <a:rPr kumimoji="0" lang="ru-RU" sz="1600" b="1" i="1"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rPr>
                <a:t>P = </a:t>
              </a:r>
              <a:r>
                <a:rPr kumimoji="0" lang="ru-RU" sz="1600" b="1"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rPr>
                <a:t>0,0308*</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14C6B437-4992-4D1F-B822-581FC9EC07FD}"/>
                </a:ext>
              </a:extLst>
            </p:cNvPr>
            <p:cNvSpPr txBox="1"/>
            <p:nvPr/>
          </p:nvSpPr>
          <p:spPr>
            <a:xfrm>
              <a:off x="2179125" y="2511901"/>
              <a:ext cx="903102" cy="7588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t>ЧОО</a:t>
              </a:r>
              <a:br>
                <a:rPr kumimoji="0" lang="en-GB"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br>
              <a:r>
                <a:rPr kumimoji="0" lang="ru-RU"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t>59,0%</a:t>
              </a:r>
              <a:br>
                <a:rPr kumimoji="0" lang="en-GB"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br>
              <a:r>
                <a:rPr kumimoji="0" lang="ru-RU"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t> </a:t>
              </a:r>
            </a:p>
          </p:txBody>
        </p:sp>
        <p:sp>
          <p:nvSpPr>
            <p:cNvPr id="29" name="TextBox 28">
              <a:extLst>
                <a:ext uri="{FF2B5EF4-FFF2-40B4-BE49-F238E27FC236}">
                  <a16:creationId xmlns:a16="http://schemas.microsoft.com/office/drawing/2014/main" id="{96DD967B-B2BC-494E-899C-6EEF0B888A94}"/>
                </a:ext>
              </a:extLst>
            </p:cNvPr>
            <p:cNvSpPr txBox="1"/>
            <p:nvPr/>
          </p:nvSpPr>
          <p:spPr>
            <a:xfrm>
              <a:off x="5014664" y="2842875"/>
              <a:ext cx="1570893" cy="7588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ЧОО</a:t>
              </a:r>
              <a:br>
                <a:rPr kumimoji="0" lang="en-GB"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br>
              <a:r>
                <a:rPr kumimoji="0" lang="ru-RU"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48,1 %</a:t>
              </a:r>
              <a:br>
                <a:rPr kumimoji="0" lang="en-GB"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br>
              <a:r>
                <a:rPr kumimoji="0" lang="ru-RU"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a:t>
              </a:r>
            </a:p>
          </p:txBody>
        </p:sp>
        <p:sp>
          <p:nvSpPr>
            <p:cNvPr id="30" name="TextBox 29">
              <a:extLst>
                <a:ext uri="{FF2B5EF4-FFF2-40B4-BE49-F238E27FC236}">
                  <a16:creationId xmlns:a16="http://schemas.microsoft.com/office/drawing/2014/main" id="{9F79901C-C66F-4BA5-BA72-CEC7187DC7B2}"/>
                </a:ext>
              </a:extLst>
            </p:cNvPr>
            <p:cNvSpPr txBox="1"/>
            <p:nvPr/>
          </p:nvSpPr>
          <p:spPr>
            <a:xfrm>
              <a:off x="1832660" y="4440817"/>
              <a:ext cx="1570893" cy="4742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ЧО </a:t>
              </a:r>
              <a:br>
                <a:rPr kumimoji="0" lang="en-US" sz="12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br>
              <a:r>
                <a:rPr kumimoji="0" lang="ru-RU" sz="12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54,7% </a:t>
              </a:r>
            </a:p>
          </p:txBody>
        </p:sp>
        <p:sp>
          <p:nvSpPr>
            <p:cNvPr id="31" name="TextBox 30">
              <a:extLst>
                <a:ext uri="{FF2B5EF4-FFF2-40B4-BE49-F238E27FC236}">
                  <a16:creationId xmlns:a16="http://schemas.microsoft.com/office/drawing/2014/main" id="{4FCF509F-AAF4-49A8-B9B6-CDD29052735C}"/>
                </a:ext>
              </a:extLst>
            </p:cNvPr>
            <p:cNvSpPr txBox="1"/>
            <p:nvPr/>
          </p:nvSpPr>
          <p:spPr>
            <a:xfrm>
              <a:off x="5024864" y="4429164"/>
              <a:ext cx="1570893" cy="6639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ЧО </a:t>
              </a:r>
              <a:br>
                <a:rPr kumimoji="0" lang="en-US" sz="12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br>
              <a:r>
                <a:rPr kumimoji="0" lang="ru-RU" sz="12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41,3% </a:t>
              </a:r>
              <a:br>
                <a:rPr kumimoji="0" lang="en-US" sz="12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br>
              <a:r>
                <a:rPr kumimoji="0" lang="ru-RU" sz="12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a:t>
              </a:r>
            </a:p>
          </p:txBody>
        </p:sp>
        <p:sp>
          <p:nvSpPr>
            <p:cNvPr id="32" name="Rectangle 31">
              <a:extLst>
                <a:ext uri="{FF2B5EF4-FFF2-40B4-BE49-F238E27FC236}">
                  <a16:creationId xmlns:a16="http://schemas.microsoft.com/office/drawing/2014/main" id="{CD75300F-BD66-4656-9D27-EB18D1859672}"/>
                </a:ext>
              </a:extLst>
            </p:cNvPr>
            <p:cNvSpPr/>
            <p:nvPr/>
          </p:nvSpPr>
          <p:spPr>
            <a:xfrm>
              <a:off x="2349997" y="5007399"/>
              <a:ext cx="566580" cy="17170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3" name="Rectangle 32">
              <a:extLst>
                <a:ext uri="{FF2B5EF4-FFF2-40B4-BE49-F238E27FC236}">
                  <a16:creationId xmlns:a16="http://schemas.microsoft.com/office/drawing/2014/main" id="{51869868-B850-4503-83FC-F1CDF04E417A}"/>
                </a:ext>
              </a:extLst>
            </p:cNvPr>
            <p:cNvSpPr/>
            <p:nvPr/>
          </p:nvSpPr>
          <p:spPr>
            <a:xfrm>
              <a:off x="5516822" y="4948269"/>
              <a:ext cx="566580" cy="23083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5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027DC897-0AB1-4B21-A628-88438F3B2422}"/>
                </a:ext>
              </a:extLst>
            </p:cNvPr>
            <p:cNvSpPr txBox="1"/>
            <p:nvPr/>
          </p:nvSpPr>
          <p:spPr>
            <a:xfrm>
              <a:off x="2895732" y="3717662"/>
              <a:ext cx="763750" cy="7588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t>СЗ 25,5% </a:t>
              </a:r>
              <a:br>
                <a:rPr kumimoji="0" lang="en-GB"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br>
              <a:r>
                <a:rPr kumimoji="0" lang="ru-RU"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t> </a:t>
              </a:r>
            </a:p>
          </p:txBody>
        </p:sp>
        <p:sp>
          <p:nvSpPr>
            <p:cNvPr id="35" name="TextBox 34">
              <a:extLst>
                <a:ext uri="{FF2B5EF4-FFF2-40B4-BE49-F238E27FC236}">
                  <a16:creationId xmlns:a16="http://schemas.microsoft.com/office/drawing/2014/main" id="{3CBADFA3-A13E-4AE5-A580-625A52DF46BF}"/>
                </a:ext>
              </a:extLst>
            </p:cNvPr>
            <p:cNvSpPr txBox="1"/>
            <p:nvPr/>
          </p:nvSpPr>
          <p:spPr>
            <a:xfrm>
              <a:off x="3493178" y="4195530"/>
              <a:ext cx="763750" cy="7588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t>ПЗ 13,7% </a:t>
              </a:r>
              <a:br>
                <a:rPr kumimoji="0" lang="en-GB"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br>
              <a:endParaRPr kumimoji="0" lang="en-GB"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a16="http://schemas.microsoft.com/office/drawing/2014/main" id="{9E72676D-4771-43CE-AACD-0741B3683701}"/>
                </a:ext>
              </a:extLst>
            </p:cNvPr>
            <p:cNvSpPr txBox="1"/>
            <p:nvPr/>
          </p:nvSpPr>
          <p:spPr>
            <a:xfrm>
              <a:off x="6022054" y="3648897"/>
              <a:ext cx="763750" cy="7588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СЗ 28,1% </a:t>
              </a:r>
              <a:br>
                <a:rPr kumimoji="0" lang="en-GB"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br>
              <a:r>
                <a:rPr kumimoji="0" lang="ru-RU"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a:t>
              </a:r>
            </a:p>
          </p:txBody>
        </p:sp>
        <p:sp>
          <p:nvSpPr>
            <p:cNvPr id="37" name="TextBox 36">
              <a:extLst>
                <a:ext uri="{FF2B5EF4-FFF2-40B4-BE49-F238E27FC236}">
                  <a16:creationId xmlns:a16="http://schemas.microsoft.com/office/drawing/2014/main" id="{C170851B-D7A8-4E9C-8482-716016E26290}"/>
                </a:ext>
              </a:extLst>
            </p:cNvPr>
            <p:cNvSpPr txBox="1"/>
            <p:nvPr/>
          </p:nvSpPr>
          <p:spPr>
            <a:xfrm>
              <a:off x="6685382" y="3943309"/>
              <a:ext cx="763750" cy="7588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ПЗ 19,4% </a:t>
              </a:r>
              <a:br>
                <a:rPr kumimoji="0" lang="en-GB"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br>
              <a:endParaRPr kumimoji="0" lang="en-GB" sz="14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p:txBody>
        </p:sp>
        <p:cxnSp>
          <p:nvCxnSpPr>
            <p:cNvPr id="38" name="Straight Connector 37">
              <a:extLst>
                <a:ext uri="{FF2B5EF4-FFF2-40B4-BE49-F238E27FC236}">
                  <a16:creationId xmlns:a16="http://schemas.microsoft.com/office/drawing/2014/main" id="{945449FD-E9F3-416E-AD06-4C21439A0C35}"/>
                </a:ext>
              </a:extLst>
            </p:cNvPr>
            <p:cNvCxnSpPr/>
            <p:nvPr/>
          </p:nvCxnSpPr>
          <p:spPr>
            <a:xfrm>
              <a:off x="2345965" y="2301656"/>
              <a:ext cx="472129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TextBox 38">
            <a:extLst>
              <a:ext uri="{FF2B5EF4-FFF2-40B4-BE49-F238E27FC236}">
                <a16:creationId xmlns:a16="http://schemas.microsoft.com/office/drawing/2014/main" id="{211545EF-C868-4969-8F7E-DFA466E24F5B}"/>
              </a:ext>
            </a:extLst>
          </p:cNvPr>
          <p:cNvSpPr txBox="1"/>
          <p:nvPr/>
        </p:nvSpPr>
        <p:spPr>
          <a:xfrm>
            <a:off x="2160652" y="5049114"/>
            <a:ext cx="540000" cy="170934"/>
          </a:xfrm>
          <a:prstGeom prst="rect">
            <a:avLst/>
          </a:prstGeom>
          <a:solidFill>
            <a:schemeClr val="accent1">
              <a:lumMod val="50000"/>
            </a:schemeClr>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ПО 4,3%</a:t>
            </a:r>
          </a:p>
        </p:txBody>
      </p:sp>
      <p:sp>
        <p:nvSpPr>
          <p:cNvPr id="40" name="TextBox 39">
            <a:extLst>
              <a:ext uri="{FF2B5EF4-FFF2-40B4-BE49-F238E27FC236}">
                <a16:creationId xmlns:a16="http://schemas.microsoft.com/office/drawing/2014/main" id="{244ACB58-C234-42A3-BBB0-BA6B8161CE12}"/>
              </a:ext>
            </a:extLst>
          </p:cNvPr>
          <p:cNvSpPr txBox="1">
            <a:spLocks/>
          </p:cNvSpPr>
          <p:nvPr/>
        </p:nvSpPr>
        <p:spPr>
          <a:xfrm>
            <a:off x="5162199" y="4984591"/>
            <a:ext cx="540000" cy="246221"/>
          </a:xfrm>
          <a:prstGeom prst="rect">
            <a:avLst/>
          </a:prstGeom>
          <a:solidFill>
            <a:schemeClr val="accent2">
              <a:lumMod val="50000"/>
            </a:scheme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ПО 6,9 %</a:t>
            </a:r>
          </a:p>
        </p:txBody>
      </p:sp>
      <p:sp>
        <p:nvSpPr>
          <p:cNvPr id="670" name="Rectangle: Rounded Corners 369">
            <a:extLst>
              <a:ext uri="{FF2B5EF4-FFF2-40B4-BE49-F238E27FC236}">
                <a16:creationId xmlns:a16="http://schemas.microsoft.com/office/drawing/2014/main" id="{654107C9-933B-49AF-9AC1-01AFCA023293}"/>
              </a:ext>
            </a:extLst>
          </p:cNvPr>
          <p:cNvSpPr/>
          <p:nvPr/>
        </p:nvSpPr>
        <p:spPr>
          <a:xfrm>
            <a:off x="8193159" y="2377091"/>
            <a:ext cx="2784232" cy="2378702"/>
          </a:xfrm>
          <a:prstGeom prst="round2DiagRect">
            <a:avLst/>
          </a:prstGeom>
          <a:solidFill>
            <a:schemeClr val="accent2">
              <a:lumMod val="40000"/>
              <a:lumOff val="6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У 321 пациентов (40,3%) исходно имелись опухолевые очаги поддающиеся оценке по критериям RECIST версии 1.1.</a:t>
            </a:r>
            <a:endParaRPr kumimoji="0" lang="en-GB" sz="1050" b="0" i="0" u="none" strike="sng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231832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0429F-48FD-3EC3-7384-986473F18A21}"/>
              </a:ext>
            </a:extLst>
          </p:cNvPr>
          <p:cNvSpPr>
            <a:spLocks noGrp="1"/>
          </p:cNvSpPr>
          <p:nvPr>
            <p:ph type="title"/>
          </p:nvPr>
        </p:nvSpPr>
        <p:spPr>
          <a:xfrm>
            <a:off x="407987" y="352463"/>
            <a:ext cx="11376025" cy="1007427"/>
          </a:xfrm>
        </p:spPr>
        <p:txBody>
          <a:bodyPr rtlCol="0">
            <a:normAutofit/>
          </a:bodyPr>
          <a:lstStyle/>
          <a:p>
            <a:pPr algn="ctr" rtl="0">
              <a:lnSpc>
                <a:spcPct val="90000"/>
              </a:lnSpc>
            </a:pPr>
            <a:r>
              <a:rPr kumimoji="0" lang="ru" sz="2400" b="1" i="1" u="none" strike="noStrike" kern="1200" cap="none" spc="0" normalizeH="0" baseline="0" noProof="0" dirty="0">
                <a:ln>
                  <a:noFill/>
                </a:ln>
                <a:solidFill>
                  <a:srgbClr val="004D74"/>
                </a:solidFill>
                <a:effectLst/>
                <a:uLnTx/>
                <a:uFillTx/>
                <a:latin typeface="Arial" panose="020B0604020202020204"/>
                <a:ea typeface="+mj-ea"/>
                <a:cs typeface="+mj-cs"/>
              </a:rPr>
              <a:t>При добавлении олапариба к терапии абиратероном не наблюдалось ухудшения качества жизни, связанного со здоровьем</a:t>
            </a:r>
            <a:endParaRPr lang="ru" dirty="0"/>
          </a:p>
        </p:txBody>
      </p:sp>
      <p:sp>
        <p:nvSpPr>
          <p:cNvPr id="4" name="Text Placeholder 3">
            <a:extLst>
              <a:ext uri="{FF2B5EF4-FFF2-40B4-BE49-F238E27FC236}">
                <a16:creationId xmlns:a16="http://schemas.microsoft.com/office/drawing/2014/main" id="{015EF445-2212-EB9E-A914-19B880DF03DA}"/>
              </a:ext>
            </a:extLst>
          </p:cNvPr>
          <p:cNvSpPr>
            <a:spLocks noGrp="1"/>
          </p:cNvSpPr>
          <p:nvPr>
            <p:ph type="body" sz="quarter" idx="111"/>
          </p:nvPr>
        </p:nvSpPr>
        <p:spPr>
          <a:xfrm>
            <a:off x="407988" y="6200774"/>
            <a:ext cx="11376024" cy="657225"/>
          </a:xfrm>
        </p:spPr>
        <p:txBody>
          <a:bodyPr rtlCol="0"/>
          <a:lstStyle/>
          <a:p>
            <a:pPr rtl="0">
              <a:spcAft>
                <a:spcPts val="0"/>
              </a:spcAft>
            </a:pPr>
            <a:r>
              <a:rPr lang="ru-RU" dirty="0"/>
              <a:t>Третий срез данных</a:t>
            </a:r>
            <a:r>
              <a:rPr lang="ru" dirty="0"/>
              <a:t>: 12 октября 2022 г.</a:t>
            </a:r>
          </a:p>
          <a:p>
            <a:pPr rtl="0">
              <a:spcAft>
                <a:spcPts val="0"/>
              </a:spcAft>
            </a:pPr>
            <a:r>
              <a:rPr lang="ru" dirty="0"/>
              <a:t>*График включает 95% доверительные интервалы. Изменение общей оценки по FACT-P по сравнению с исходными значениями может составлять минимум −156 и максимум 156. Клинически значимое изменение общей оценки по FACT-P составляет 10.</a:t>
            </a:r>
          </a:p>
          <a:p>
            <a:pPr rtl="0">
              <a:spcAft>
                <a:spcPts val="0"/>
              </a:spcAft>
            </a:pPr>
            <a:r>
              <a:rPr lang="ru" dirty="0"/>
              <a:t>ДИ — доверительный интервал; FACT-P — опросник функциональной оценки лечения рака предстательной железы.</a:t>
            </a:r>
          </a:p>
          <a:p>
            <a:pPr rtl="0">
              <a:spcAft>
                <a:spcPts val="0"/>
              </a:spcAft>
            </a:pPr>
            <a:r>
              <a:rPr lang="ru" dirty="0"/>
              <a:t>Clarke N, et al. Представлено на симпозиуме ASCO GU 2023, 16–18 февраля 2023 г. Сан-Франциско, США. Тезисы #LBA16.</a:t>
            </a:r>
          </a:p>
        </p:txBody>
      </p:sp>
      <p:sp>
        <p:nvSpPr>
          <p:cNvPr id="8" name="Rectangle: Diagonal Corners Rounded 7">
            <a:extLst>
              <a:ext uri="{FF2B5EF4-FFF2-40B4-BE49-F238E27FC236}">
                <a16:creationId xmlns:a16="http://schemas.microsoft.com/office/drawing/2014/main" id="{63F8612E-CE73-B599-BE80-25E266025F4A}"/>
              </a:ext>
            </a:extLst>
          </p:cNvPr>
          <p:cNvSpPr/>
          <p:nvPr/>
        </p:nvSpPr>
        <p:spPr>
          <a:xfrm>
            <a:off x="8657048" y="1587795"/>
            <a:ext cx="2970927" cy="3835276"/>
          </a:xfrm>
          <a:prstGeom prst="round2DiagRect">
            <a:avLst/>
          </a:prstGeom>
          <a:solidFill>
            <a:schemeClr val="tx1">
              <a:lumMod val="20000"/>
              <a:lumOff val="80000"/>
            </a:schemeClr>
          </a:solidFill>
          <a:ln>
            <a:noFill/>
          </a:ln>
        </p:spPr>
        <p:style>
          <a:lnRef idx="1">
            <a:schemeClr val="dk1"/>
          </a:lnRef>
          <a:fillRef idx="2">
            <a:schemeClr val="dk1"/>
          </a:fillRef>
          <a:effectRef idx="1">
            <a:schemeClr val="dk1"/>
          </a:effectRef>
          <a:fontRef idx="minor">
            <a:schemeClr val="dk1"/>
          </a:fontRef>
        </p:style>
        <p:txBody>
          <a:bodyPr rtlCol="0"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ru" sz="1600" b="1" i="0" u="none" strike="noStrike" kern="1200" cap="none" spc="0" normalizeH="0" baseline="0" noProof="0" dirty="0">
                <a:ln>
                  <a:noFill/>
                </a:ln>
                <a:solidFill>
                  <a:srgbClr val="3F4645"/>
                </a:solidFill>
                <a:effectLst/>
                <a:uLnTx/>
                <a:uFillTx/>
                <a:latin typeface="Calibri"/>
                <a:ea typeface="+mn-ea"/>
                <a:cs typeface="+mn-cs"/>
              </a:rPr>
              <a:t>Среднее изменение общей оценки по FACT-P относительно исходного уровня, определенное методом наименьших квадратов, для всех визитов:</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ru" sz="1600" b="0" i="0" u="none" strike="noStrike" kern="1200" cap="none" spc="0" normalizeH="0" baseline="0" noProof="0" dirty="0">
                <a:ln>
                  <a:noFill/>
                </a:ln>
                <a:solidFill>
                  <a:srgbClr val="3F4645"/>
                </a:solidFill>
                <a:effectLst/>
                <a:uLnTx/>
                <a:uFillTx/>
                <a:latin typeface="Calibri"/>
                <a:ea typeface="+mn-ea"/>
                <a:cs typeface="+mn-cs"/>
              </a:rPr>
              <a:t>−5,84 в группе олапариба и абиратерона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ru" sz="1600" b="0" i="0" u="none" strike="noStrike" kern="1200" cap="none" spc="0" normalizeH="0" baseline="0" noProof="0" dirty="0">
                <a:ln>
                  <a:noFill/>
                </a:ln>
                <a:solidFill>
                  <a:srgbClr val="3F4645"/>
                </a:solidFill>
                <a:effectLst/>
                <a:uLnTx/>
                <a:uFillTx/>
                <a:latin typeface="Calibri"/>
                <a:ea typeface="+mn-ea"/>
                <a:cs typeface="+mn-cs"/>
              </a:rPr>
              <a:t>−5,30 в группе плацебо и абиратерона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ru" sz="1600" b="0" i="0" u="none" strike="noStrike" kern="1200" cap="none" spc="0" normalizeH="0" baseline="0" noProof="0" dirty="0">
                <a:ln>
                  <a:noFill/>
                </a:ln>
                <a:solidFill>
                  <a:srgbClr val="3F4645"/>
                </a:solidFill>
                <a:effectLst/>
                <a:uLnTx/>
                <a:uFillTx/>
                <a:latin typeface="Calibri"/>
                <a:ea typeface="+mn-ea"/>
                <a:cs typeface="+mn-cs"/>
              </a:rPr>
              <a:t>(различие 0,54; 95% ДИ от −3,00 до 1,92)</a:t>
            </a:r>
          </a:p>
        </p:txBody>
      </p:sp>
      <p:grpSp>
        <p:nvGrpSpPr>
          <p:cNvPr id="3" name="Group 2">
            <a:extLst>
              <a:ext uri="{FF2B5EF4-FFF2-40B4-BE49-F238E27FC236}">
                <a16:creationId xmlns:a16="http://schemas.microsoft.com/office/drawing/2014/main" id="{87874910-4049-42CE-DF3E-2D8E0A1C2DC3}"/>
              </a:ext>
            </a:extLst>
          </p:cNvPr>
          <p:cNvGrpSpPr/>
          <p:nvPr/>
        </p:nvGrpSpPr>
        <p:grpSpPr>
          <a:xfrm>
            <a:off x="213204" y="1183479"/>
            <a:ext cx="8302964" cy="4925688"/>
            <a:chOff x="1348809" y="319793"/>
            <a:chExt cx="9406131" cy="5363729"/>
          </a:xfrm>
        </p:grpSpPr>
        <p:sp>
          <p:nvSpPr>
            <p:cNvPr id="6" name="TextBox 5">
              <a:extLst>
                <a:ext uri="{FF2B5EF4-FFF2-40B4-BE49-F238E27FC236}">
                  <a16:creationId xmlns:a16="http://schemas.microsoft.com/office/drawing/2014/main" id="{23A64F0B-AAC5-1589-731C-2542EA602021}"/>
                </a:ext>
              </a:extLst>
            </p:cNvPr>
            <p:cNvSpPr txBox="1"/>
            <p:nvPr/>
          </p:nvSpPr>
          <p:spPr>
            <a:xfrm rot="16200000">
              <a:off x="-1092474" y="2761076"/>
              <a:ext cx="5363729" cy="481164"/>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ru" sz="1200" b="1" i="0" u="none" strike="noStrike" kern="1200" cap="none" spc="0" normalizeH="0" baseline="0" noProof="0" dirty="0">
                  <a:ln>
                    <a:noFill/>
                  </a:ln>
                  <a:solidFill>
                    <a:srgbClr val="3F4444"/>
                  </a:solidFill>
                  <a:effectLst/>
                  <a:uLnTx/>
                  <a:uFillTx/>
                  <a:latin typeface="Calibri"/>
                  <a:ea typeface="+mn-ea"/>
                  <a:cs typeface="Arial Narrow"/>
                </a:rPr>
                <a:t>Среднее изменение общей оценки по FACT-P относительно исходного уровня, определенное методом наименьших квадратов*</a:t>
              </a:r>
              <a:endParaRPr kumimoji="0" lang="en-GB" sz="1200" b="1" i="0" u="none" strike="noStrike" kern="1200" cap="none" spc="0" normalizeH="0" baseline="0" noProof="0" dirty="0">
                <a:ln>
                  <a:noFill/>
                </a:ln>
                <a:solidFill>
                  <a:srgbClr val="3F4444"/>
                </a:solidFill>
                <a:effectLst/>
                <a:uLnTx/>
                <a:uFillTx/>
                <a:latin typeface="Calibri"/>
                <a:ea typeface="+mn-ea"/>
                <a:cs typeface="Arial Narrow"/>
              </a:endParaRPr>
            </a:p>
          </p:txBody>
        </p:sp>
        <p:sp>
          <p:nvSpPr>
            <p:cNvPr id="7" name="Freeform: Shape 6">
              <a:extLst>
                <a:ext uri="{FF2B5EF4-FFF2-40B4-BE49-F238E27FC236}">
                  <a16:creationId xmlns:a16="http://schemas.microsoft.com/office/drawing/2014/main" id="{B68526CE-6867-5805-B0CF-2A1C591C3322}"/>
                </a:ext>
              </a:extLst>
            </p:cNvPr>
            <p:cNvSpPr/>
            <p:nvPr/>
          </p:nvSpPr>
          <p:spPr>
            <a:xfrm>
              <a:off x="2155209" y="3539515"/>
              <a:ext cx="55776"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9" name="Freeform: Shape 8">
              <a:extLst>
                <a:ext uri="{FF2B5EF4-FFF2-40B4-BE49-F238E27FC236}">
                  <a16:creationId xmlns:a16="http://schemas.microsoft.com/office/drawing/2014/main" id="{F0D9F12C-77AE-B7FC-061F-1DD2E38A3B69}"/>
                </a:ext>
              </a:extLst>
            </p:cNvPr>
            <p:cNvSpPr/>
            <p:nvPr/>
          </p:nvSpPr>
          <p:spPr>
            <a:xfrm>
              <a:off x="2164648" y="2879301"/>
              <a:ext cx="55776"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1" name="Freeform: Shape 10">
              <a:extLst>
                <a:ext uri="{FF2B5EF4-FFF2-40B4-BE49-F238E27FC236}">
                  <a16:creationId xmlns:a16="http://schemas.microsoft.com/office/drawing/2014/main" id="{89FBC79B-ED58-2BA4-C71A-29BB75BC95EB}"/>
                </a:ext>
              </a:extLst>
            </p:cNvPr>
            <p:cNvSpPr/>
            <p:nvPr/>
          </p:nvSpPr>
          <p:spPr>
            <a:xfrm>
              <a:off x="2156851" y="4200860"/>
              <a:ext cx="55776"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2" name="Freeform: Shape 11">
              <a:extLst>
                <a:ext uri="{FF2B5EF4-FFF2-40B4-BE49-F238E27FC236}">
                  <a16:creationId xmlns:a16="http://schemas.microsoft.com/office/drawing/2014/main" id="{9E6E10C8-8234-7CF5-BB7F-125F442BF08A}"/>
                </a:ext>
              </a:extLst>
            </p:cNvPr>
            <p:cNvSpPr/>
            <p:nvPr/>
          </p:nvSpPr>
          <p:spPr>
            <a:xfrm>
              <a:off x="2160545" y="4876148"/>
              <a:ext cx="55776"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9057615F-D8A3-51DE-C7E5-A5E0614ABA00}"/>
                </a:ext>
              </a:extLst>
            </p:cNvPr>
            <p:cNvSpPr txBox="1"/>
            <p:nvPr/>
          </p:nvSpPr>
          <p:spPr>
            <a:xfrm>
              <a:off x="1773294" y="4750006"/>
              <a:ext cx="430601" cy="2681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Arial" panose="020B0604020202020204" pitchFamily="34" charset="0"/>
                </a:rPr>
                <a:t>‒</a:t>
              </a:r>
              <a:r>
                <a:rPr kumimoji="0" lang="ru" sz="1000" b="0" i="0" u="none" strike="noStrike" kern="1200" cap="none" spc="0" normalizeH="0" baseline="0" noProof="0">
                  <a:ln>
                    <a:noFill/>
                  </a:ln>
                  <a:solidFill>
                    <a:srgbClr val="3F4444"/>
                  </a:solidFill>
                  <a:effectLst/>
                  <a:uLnTx/>
                  <a:uFillTx/>
                  <a:latin typeface="Calibri"/>
                  <a:ea typeface="+mn-ea"/>
                  <a:cs typeface="+mn-cs"/>
                </a:rPr>
                <a:t>20</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1451B147-B30D-012B-9B36-DF787D5E73C3}"/>
                </a:ext>
              </a:extLst>
            </p:cNvPr>
            <p:cNvSpPr txBox="1"/>
            <p:nvPr/>
          </p:nvSpPr>
          <p:spPr>
            <a:xfrm>
              <a:off x="1777456" y="4070055"/>
              <a:ext cx="432568" cy="26811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Arial" panose="020B0604020202020204" pitchFamily="34" charset="0"/>
                </a:rPr>
                <a:t>‒</a:t>
              </a:r>
              <a:r>
                <a:rPr kumimoji="0" lang="ru" sz="1000" b="0" i="0" u="none" strike="noStrike" kern="1200" cap="none" spc="0" normalizeH="0" baseline="0" noProof="0">
                  <a:ln>
                    <a:noFill/>
                  </a:ln>
                  <a:solidFill>
                    <a:srgbClr val="3F4444"/>
                  </a:solidFill>
                  <a:effectLst/>
                  <a:uLnTx/>
                  <a:uFillTx/>
                  <a:latin typeface="Calibri"/>
                  <a:ea typeface="+mn-ea"/>
                  <a:cs typeface="+mn-cs"/>
                </a:rPr>
                <a:t>15</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1F168F73-AE70-985A-15C2-7C5E9ACBEE6C}"/>
                </a:ext>
              </a:extLst>
            </p:cNvPr>
            <p:cNvSpPr txBox="1"/>
            <p:nvPr/>
          </p:nvSpPr>
          <p:spPr>
            <a:xfrm>
              <a:off x="1777456" y="3406440"/>
              <a:ext cx="432568" cy="26811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Arial" panose="020B0604020202020204" pitchFamily="34" charset="0"/>
                </a:rPr>
                <a:t>‒</a:t>
              </a:r>
              <a:r>
                <a:rPr kumimoji="0" lang="ru" sz="1000" b="0" i="0" u="none" strike="noStrike" kern="1200" cap="none" spc="0" normalizeH="0" baseline="0" noProof="0">
                  <a:ln>
                    <a:noFill/>
                  </a:ln>
                  <a:solidFill>
                    <a:srgbClr val="3F4444"/>
                  </a:solidFill>
                  <a:effectLst/>
                  <a:uLnTx/>
                  <a:uFillTx/>
                  <a:latin typeface="Calibri"/>
                  <a:ea typeface="+mn-ea"/>
                  <a:cs typeface="+mn-cs"/>
                </a:rPr>
                <a:t>10</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6" name="Freeform: Shape 15">
              <a:extLst>
                <a:ext uri="{FF2B5EF4-FFF2-40B4-BE49-F238E27FC236}">
                  <a16:creationId xmlns:a16="http://schemas.microsoft.com/office/drawing/2014/main" id="{DA74AC73-83EE-B421-84EA-BCD2500E0D99}"/>
                </a:ext>
              </a:extLst>
            </p:cNvPr>
            <p:cNvSpPr/>
            <p:nvPr/>
          </p:nvSpPr>
          <p:spPr>
            <a:xfrm>
              <a:off x="2210972" y="1559595"/>
              <a:ext cx="8062225" cy="3316554"/>
            </a:xfrm>
            <a:custGeom>
              <a:avLst/>
              <a:gdLst>
                <a:gd name="connsiteX0" fmla="*/ 0 w 7598004"/>
                <a:gd name="connsiteY0" fmla="*/ 0 h 2922309"/>
                <a:gd name="connsiteX1" fmla="*/ 0 w 7598004"/>
                <a:gd name="connsiteY1" fmla="*/ 2922309 h 2922309"/>
                <a:gd name="connsiteX2" fmla="*/ 7598004 w 7598004"/>
                <a:gd name="connsiteY2" fmla="*/ 2922309 h 2922309"/>
              </a:gdLst>
              <a:ahLst/>
              <a:cxnLst>
                <a:cxn ang="0">
                  <a:pos x="connsiteX0" y="connsiteY0"/>
                </a:cxn>
                <a:cxn ang="0">
                  <a:pos x="connsiteX1" y="connsiteY1"/>
                </a:cxn>
                <a:cxn ang="0">
                  <a:pos x="connsiteX2" y="connsiteY2"/>
                </a:cxn>
              </a:cxnLst>
              <a:rect l="l" t="t" r="r" b="b"/>
              <a:pathLst>
                <a:path w="7598004" h="2922309">
                  <a:moveTo>
                    <a:pt x="0" y="0"/>
                  </a:moveTo>
                  <a:lnTo>
                    <a:pt x="0" y="2922309"/>
                  </a:lnTo>
                  <a:lnTo>
                    <a:pt x="7598004" y="2922309"/>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7" name="Freeform: Shape 16">
              <a:extLst>
                <a:ext uri="{FF2B5EF4-FFF2-40B4-BE49-F238E27FC236}">
                  <a16:creationId xmlns:a16="http://schemas.microsoft.com/office/drawing/2014/main" id="{1E1C8EF5-570C-C100-FAF3-B1CF88832B00}"/>
                </a:ext>
              </a:extLst>
            </p:cNvPr>
            <p:cNvSpPr/>
            <p:nvPr/>
          </p:nvSpPr>
          <p:spPr>
            <a:xfrm rot="5400000">
              <a:off x="2460327"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8" name="Freeform: Shape 17">
              <a:extLst>
                <a:ext uri="{FF2B5EF4-FFF2-40B4-BE49-F238E27FC236}">
                  <a16:creationId xmlns:a16="http://schemas.microsoft.com/office/drawing/2014/main" id="{9616E086-839F-F732-1F52-8E2915447524}"/>
                </a:ext>
              </a:extLst>
            </p:cNvPr>
            <p:cNvSpPr/>
            <p:nvPr/>
          </p:nvSpPr>
          <p:spPr>
            <a:xfrm rot="5400000">
              <a:off x="2735654"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19" name="Freeform: Shape 18">
              <a:extLst>
                <a:ext uri="{FF2B5EF4-FFF2-40B4-BE49-F238E27FC236}">
                  <a16:creationId xmlns:a16="http://schemas.microsoft.com/office/drawing/2014/main" id="{A7581267-89F8-039B-6BFB-8506FBFB9242}"/>
                </a:ext>
              </a:extLst>
            </p:cNvPr>
            <p:cNvSpPr/>
            <p:nvPr/>
          </p:nvSpPr>
          <p:spPr>
            <a:xfrm rot="5400000">
              <a:off x="3026905"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0" name="Freeform: Shape 19">
              <a:extLst>
                <a:ext uri="{FF2B5EF4-FFF2-40B4-BE49-F238E27FC236}">
                  <a16:creationId xmlns:a16="http://schemas.microsoft.com/office/drawing/2014/main" id="{74319D31-ED2A-4676-54F2-11C0ED70F755}"/>
                </a:ext>
              </a:extLst>
            </p:cNvPr>
            <p:cNvSpPr/>
            <p:nvPr/>
          </p:nvSpPr>
          <p:spPr>
            <a:xfrm rot="5400000">
              <a:off x="3322942"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1" name="Freeform: Shape 20">
              <a:extLst>
                <a:ext uri="{FF2B5EF4-FFF2-40B4-BE49-F238E27FC236}">
                  <a16:creationId xmlns:a16="http://schemas.microsoft.com/office/drawing/2014/main" id="{1777CB1F-62FA-EA80-BD7D-FE7099361EE7}"/>
                </a:ext>
              </a:extLst>
            </p:cNvPr>
            <p:cNvSpPr/>
            <p:nvPr/>
          </p:nvSpPr>
          <p:spPr>
            <a:xfrm rot="5400000">
              <a:off x="3611648"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2" name="Freeform: Shape 21">
              <a:extLst>
                <a:ext uri="{FF2B5EF4-FFF2-40B4-BE49-F238E27FC236}">
                  <a16:creationId xmlns:a16="http://schemas.microsoft.com/office/drawing/2014/main" id="{F5C32E3A-AB05-6745-A4D5-F031B1EB279F}"/>
                </a:ext>
              </a:extLst>
            </p:cNvPr>
            <p:cNvSpPr/>
            <p:nvPr/>
          </p:nvSpPr>
          <p:spPr>
            <a:xfrm rot="5400000">
              <a:off x="3916394"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3D2C8F69-1AD8-9412-AF11-23E7C2177632}"/>
                </a:ext>
              </a:extLst>
            </p:cNvPr>
            <p:cNvSpPr/>
            <p:nvPr/>
          </p:nvSpPr>
          <p:spPr>
            <a:xfrm rot="5400000">
              <a:off x="4205244"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4" name="Freeform: Shape 23">
              <a:extLst>
                <a:ext uri="{FF2B5EF4-FFF2-40B4-BE49-F238E27FC236}">
                  <a16:creationId xmlns:a16="http://schemas.microsoft.com/office/drawing/2014/main" id="{83089B70-6794-6BE8-8B33-6F0DBE25D5EE}"/>
                </a:ext>
              </a:extLst>
            </p:cNvPr>
            <p:cNvSpPr/>
            <p:nvPr/>
          </p:nvSpPr>
          <p:spPr>
            <a:xfrm rot="5400000">
              <a:off x="4499347"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5" name="Freeform: Shape 24">
              <a:extLst>
                <a:ext uri="{FF2B5EF4-FFF2-40B4-BE49-F238E27FC236}">
                  <a16:creationId xmlns:a16="http://schemas.microsoft.com/office/drawing/2014/main" id="{454B09CE-9D32-E41C-3835-6738608D7DAB}"/>
                </a:ext>
              </a:extLst>
            </p:cNvPr>
            <p:cNvSpPr/>
            <p:nvPr/>
          </p:nvSpPr>
          <p:spPr>
            <a:xfrm rot="5400000">
              <a:off x="4789902"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8702C7B1-B6EB-698C-B2AA-6A0972E49B51}"/>
                </a:ext>
              </a:extLst>
            </p:cNvPr>
            <p:cNvSpPr/>
            <p:nvPr/>
          </p:nvSpPr>
          <p:spPr>
            <a:xfrm rot="5400000">
              <a:off x="5085851"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7" name="Freeform: Shape 26">
              <a:extLst>
                <a:ext uri="{FF2B5EF4-FFF2-40B4-BE49-F238E27FC236}">
                  <a16:creationId xmlns:a16="http://schemas.microsoft.com/office/drawing/2014/main" id="{12445F54-356E-0C5C-0D49-50CFBB778C3D}"/>
                </a:ext>
              </a:extLst>
            </p:cNvPr>
            <p:cNvSpPr/>
            <p:nvPr/>
          </p:nvSpPr>
          <p:spPr>
            <a:xfrm rot="5400000">
              <a:off x="5374113"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422A2342-AD77-428E-74ED-86C173B72D63}"/>
                </a:ext>
              </a:extLst>
            </p:cNvPr>
            <p:cNvSpPr/>
            <p:nvPr/>
          </p:nvSpPr>
          <p:spPr>
            <a:xfrm rot="5400000">
              <a:off x="5670062"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35701793-0133-B111-0AA9-4033796A87BD}"/>
                </a:ext>
              </a:extLst>
            </p:cNvPr>
            <p:cNvSpPr/>
            <p:nvPr/>
          </p:nvSpPr>
          <p:spPr>
            <a:xfrm rot="5400000">
              <a:off x="5966011"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0" name="Freeform: Shape 29">
              <a:extLst>
                <a:ext uri="{FF2B5EF4-FFF2-40B4-BE49-F238E27FC236}">
                  <a16:creationId xmlns:a16="http://schemas.microsoft.com/office/drawing/2014/main" id="{42B6788F-B3F0-0074-BC8A-9234BF3753CB}"/>
                </a:ext>
              </a:extLst>
            </p:cNvPr>
            <p:cNvSpPr/>
            <p:nvPr/>
          </p:nvSpPr>
          <p:spPr>
            <a:xfrm rot="5400000">
              <a:off x="6245636"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3AF3751F-32E4-A5C2-6320-485CD9D0C02A}"/>
                </a:ext>
              </a:extLst>
            </p:cNvPr>
            <p:cNvSpPr/>
            <p:nvPr/>
          </p:nvSpPr>
          <p:spPr>
            <a:xfrm rot="5400000">
              <a:off x="6541586"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2" name="Freeform: Shape 31">
              <a:extLst>
                <a:ext uri="{FF2B5EF4-FFF2-40B4-BE49-F238E27FC236}">
                  <a16:creationId xmlns:a16="http://schemas.microsoft.com/office/drawing/2014/main" id="{E50999DE-2A71-AA42-84D3-03E9CFD2BF27}"/>
                </a:ext>
              </a:extLst>
            </p:cNvPr>
            <p:cNvSpPr/>
            <p:nvPr/>
          </p:nvSpPr>
          <p:spPr>
            <a:xfrm rot="5400000">
              <a:off x="6833691"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3" name="Freeform: Shape 32">
              <a:extLst>
                <a:ext uri="{FF2B5EF4-FFF2-40B4-BE49-F238E27FC236}">
                  <a16:creationId xmlns:a16="http://schemas.microsoft.com/office/drawing/2014/main" id="{35C12D43-03D3-6277-9885-38ADFED9DA2E}"/>
                </a:ext>
              </a:extLst>
            </p:cNvPr>
            <p:cNvSpPr/>
            <p:nvPr/>
          </p:nvSpPr>
          <p:spPr>
            <a:xfrm rot="5400000">
              <a:off x="7130891"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4" name="Freeform: Shape 33">
              <a:extLst>
                <a:ext uri="{FF2B5EF4-FFF2-40B4-BE49-F238E27FC236}">
                  <a16:creationId xmlns:a16="http://schemas.microsoft.com/office/drawing/2014/main" id="{895ACA7A-3A3C-B7D2-0FFD-3EC31FAFD4C4}"/>
                </a:ext>
              </a:extLst>
            </p:cNvPr>
            <p:cNvSpPr/>
            <p:nvPr/>
          </p:nvSpPr>
          <p:spPr>
            <a:xfrm rot="5400000">
              <a:off x="7419061"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5" name="Freeform: Shape 34">
              <a:extLst>
                <a:ext uri="{FF2B5EF4-FFF2-40B4-BE49-F238E27FC236}">
                  <a16:creationId xmlns:a16="http://schemas.microsoft.com/office/drawing/2014/main" id="{FABD7E73-F52D-754D-CC72-A3A55A61173F}"/>
                </a:ext>
              </a:extLst>
            </p:cNvPr>
            <p:cNvSpPr/>
            <p:nvPr/>
          </p:nvSpPr>
          <p:spPr>
            <a:xfrm rot="5400000">
              <a:off x="7722697"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6" name="Freeform: Shape 35">
              <a:extLst>
                <a:ext uri="{FF2B5EF4-FFF2-40B4-BE49-F238E27FC236}">
                  <a16:creationId xmlns:a16="http://schemas.microsoft.com/office/drawing/2014/main" id="{C567AC6D-BD91-014B-3E7F-000A54B70D2A}"/>
                </a:ext>
              </a:extLst>
            </p:cNvPr>
            <p:cNvSpPr/>
            <p:nvPr/>
          </p:nvSpPr>
          <p:spPr>
            <a:xfrm rot="5400000">
              <a:off x="8014803"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7" name="Freeform: Shape 36">
              <a:extLst>
                <a:ext uri="{FF2B5EF4-FFF2-40B4-BE49-F238E27FC236}">
                  <a16:creationId xmlns:a16="http://schemas.microsoft.com/office/drawing/2014/main" id="{F81E76F1-C7C2-287B-ED37-C1DF52024550}"/>
                </a:ext>
              </a:extLst>
            </p:cNvPr>
            <p:cNvSpPr/>
            <p:nvPr/>
          </p:nvSpPr>
          <p:spPr>
            <a:xfrm rot="5400000">
              <a:off x="8318558"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A57FBA2D-496D-52FA-6814-384366F3619B}"/>
                </a:ext>
              </a:extLst>
            </p:cNvPr>
            <p:cNvSpPr txBox="1"/>
            <p:nvPr/>
          </p:nvSpPr>
          <p:spPr>
            <a:xfrm>
              <a:off x="2443740" y="4936411"/>
              <a:ext cx="74455" cy="16757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5</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7996C650-C3C2-42D3-CBEC-BE286922199D}"/>
                </a:ext>
              </a:extLst>
            </p:cNvPr>
            <p:cNvSpPr txBox="1"/>
            <p:nvPr/>
          </p:nvSpPr>
          <p:spPr>
            <a:xfrm>
              <a:off x="2725374" y="4936411"/>
              <a:ext cx="74455" cy="16757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9</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0" name="TextBox 39">
              <a:extLst>
                <a:ext uri="{FF2B5EF4-FFF2-40B4-BE49-F238E27FC236}">
                  <a16:creationId xmlns:a16="http://schemas.microsoft.com/office/drawing/2014/main" id="{5D1731B1-4A3C-66D1-5F4C-39061F63F9B5}"/>
                </a:ext>
              </a:extLst>
            </p:cNvPr>
            <p:cNvSpPr txBox="1"/>
            <p:nvPr/>
          </p:nvSpPr>
          <p:spPr>
            <a:xfrm>
              <a:off x="2973260" y="4936411"/>
              <a:ext cx="148910" cy="16757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13</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CC790D4F-FCF0-8A14-670B-536316C065B5}"/>
                </a:ext>
              </a:extLst>
            </p:cNvPr>
            <p:cNvSpPr txBox="1"/>
            <p:nvPr/>
          </p:nvSpPr>
          <p:spPr>
            <a:xfrm>
              <a:off x="3269876" y="4936411"/>
              <a:ext cx="148910" cy="16757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17</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2" name="TextBox 41">
              <a:extLst>
                <a:ext uri="{FF2B5EF4-FFF2-40B4-BE49-F238E27FC236}">
                  <a16:creationId xmlns:a16="http://schemas.microsoft.com/office/drawing/2014/main" id="{8981EA4A-3863-A150-7F75-D253A1808BB3}"/>
                </a:ext>
              </a:extLst>
            </p:cNvPr>
            <p:cNvSpPr txBox="1"/>
            <p:nvPr/>
          </p:nvSpPr>
          <p:spPr>
            <a:xfrm>
              <a:off x="3553512" y="4936411"/>
              <a:ext cx="148910" cy="16757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21</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3" name="TextBox 42">
              <a:extLst>
                <a:ext uri="{FF2B5EF4-FFF2-40B4-BE49-F238E27FC236}">
                  <a16:creationId xmlns:a16="http://schemas.microsoft.com/office/drawing/2014/main" id="{AEB87C9C-EA36-1FF0-E821-B63E0D6C4F56}"/>
                </a:ext>
              </a:extLst>
            </p:cNvPr>
            <p:cNvSpPr txBox="1"/>
            <p:nvPr/>
          </p:nvSpPr>
          <p:spPr>
            <a:xfrm>
              <a:off x="3867580" y="4936411"/>
              <a:ext cx="148910" cy="16757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25</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4" name="TextBox 43">
              <a:extLst>
                <a:ext uri="{FF2B5EF4-FFF2-40B4-BE49-F238E27FC236}">
                  <a16:creationId xmlns:a16="http://schemas.microsoft.com/office/drawing/2014/main" id="{099388C2-3FB5-18FA-CD68-AB08BDDC5799}"/>
                </a:ext>
              </a:extLst>
            </p:cNvPr>
            <p:cNvSpPr txBox="1"/>
            <p:nvPr/>
          </p:nvSpPr>
          <p:spPr>
            <a:xfrm>
              <a:off x="4155283" y="4936411"/>
              <a:ext cx="148910" cy="16757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29</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1DC9F5D9-054B-92D7-365F-A1628FF7BC04}"/>
                </a:ext>
              </a:extLst>
            </p:cNvPr>
            <p:cNvSpPr txBox="1"/>
            <p:nvPr/>
          </p:nvSpPr>
          <p:spPr>
            <a:xfrm>
              <a:off x="4449386" y="4936411"/>
              <a:ext cx="148910" cy="16757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33</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6" name="TextBox 45">
              <a:extLst>
                <a:ext uri="{FF2B5EF4-FFF2-40B4-BE49-F238E27FC236}">
                  <a16:creationId xmlns:a16="http://schemas.microsoft.com/office/drawing/2014/main" id="{34D71C20-E70F-A3F1-3133-621E74D88A16}"/>
                </a:ext>
              </a:extLst>
            </p:cNvPr>
            <p:cNvSpPr txBox="1"/>
            <p:nvPr/>
          </p:nvSpPr>
          <p:spPr>
            <a:xfrm>
              <a:off x="4739944" y="4936411"/>
              <a:ext cx="148910" cy="16757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37</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7" name="TextBox 46">
              <a:extLst>
                <a:ext uri="{FF2B5EF4-FFF2-40B4-BE49-F238E27FC236}">
                  <a16:creationId xmlns:a16="http://schemas.microsoft.com/office/drawing/2014/main" id="{63107F1D-397C-42DA-94A6-7B973BC38715}"/>
                </a:ext>
              </a:extLst>
            </p:cNvPr>
            <p:cNvSpPr txBox="1"/>
            <p:nvPr/>
          </p:nvSpPr>
          <p:spPr>
            <a:xfrm>
              <a:off x="5039735" y="4936411"/>
              <a:ext cx="148910" cy="16757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41</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8" name="TextBox 47">
              <a:extLst>
                <a:ext uri="{FF2B5EF4-FFF2-40B4-BE49-F238E27FC236}">
                  <a16:creationId xmlns:a16="http://schemas.microsoft.com/office/drawing/2014/main" id="{1B4AA2DE-828D-0756-1DBD-ACB5D9F257DE}"/>
                </a:ext>
              </a:extLst>
            </p:cNvPr>
            <p:cNvSpPr txBox="1"/>
            <p:nvPr/>
          </p:nvSpPr>
          <p:spPr>
            <a:xfrm>
              <a:off x="5324153" y="4936411"/>
              <a:ext cx="148910" cy="16757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45</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9" name="TextBox 48">
              <a:extLst>
                <a:ext uri="{FF2B5EF4-FFF2-40B4-BE49-F238E27FC236}">
                  <a16:creationId xmlns:a16="http://schemas.microsoft.com/office/drawing/2014/main" id="{03638E50-421E-F6EA-4038-D9F7BD0A4AD1}"/>
                </a:ext>
              </a:extLst>
            </p:cNvPr>
            <p:cNvSpPr txBox="1"/>
            <p:nvPr/>
          </p:nvSpPr>
          <p:spPr>
            <a:xfrm>
              <a:off x="5620728" y="4936411"/>
              <a:ext cx="160416" cy="1675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49</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0" name="TextBox 49">
              <a:extLst>
                <a:ext uri="{FF2B5EF4-FFF2-40B4-BE49-F238E27FC236}">
                  <a16:creationId xmlns:a16="http://schemas.microsoft.com/office/drawing/2014/main" id="{AB6C56FA-4515-E25B-480B-E124B09B9565}"/>
                </a:ext>
              </a:extLst>
            </p:cNvPr>
            <p:cNvSpPr txBox="1"/>
            <p:nvPr/>
          </p:nvSpPr>
          <p:spPr>
            <a:xfrm>
              <a:off x="5917274" y="4936411"/>
              <a:ext cx="160416" cy="1675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53</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1" name="TextBox 50">
              <a:extLst>
                <a:ext uri="{FF2B5EF4-FFF2-40B4-BE49-F238E27FC236}">
                  <a16:creationId xmlns:a16="http://schemas.microsoft.com/office/drawing/2014/main" id="{C4FDC518-F353-CD3D-5E6A-559593591835}"/>
                </a:ext>
              </a:extLst>
            </p:cNvPr>
            <p:cNvSpPr txBox="1"/>
            <p:nvPr/>
          </p:nvSpPr>
          <p:spPr>
            <a:xfrm>
              <a:off x="6191414" y="4936411"/>
              <a:ext cx="160416" cy="1675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61</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2" name="TextBox 51">
              <a:extLst>
                <a:ext uri="{FF2B5EF4-FFF2-40B4-BE49-F238E27FC236}">
                  <a16:creationId xmlns:a16="http://schemas.microsoft.com/office/drawing/2014/main" id="{FA0A4245-EFBD-9462-8B3B-B657B159F9B0}"/>
                </a:ext>
              </a:extLst>
            </p:cNvPr>
            <p:cNvSpPr txBox="1"/>
            <p:nvPr/>
          </p:nvSpPr>
          <p:spPr>
            <a:xfrm>
              <a:off x="6483071" y="4936411"/>
              <a:ext cx="160416" cy="1675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69</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3" name="TextBox 52">
              <a:extLst>
                <a:ext uri="{FF2B5EF4-FFF2-40B4-BE49-F238E27FC236}">
                  <a16:creationId xmlns:a16="http://schemas.microsoft.com/office/drawing/2014/main" id="{8946E4D9-4E69-79AE-46A7-991416CEA6C6}"/>
                </a:ext>
              </a:extLst>
            </p:cNvPr>
            <p:cNvSpPr txBox="1"/>
            <p:nvPr/>
          </p:nvSpPr>
          <p:spPr>
            <a:xfrm>
              <a:off x="6774728" y="4936411"/>
              <a:ext cx="160416" cy="1675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77</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4" name="TextBox 53">
              <a:extLst>
                <a:ext uri="{FF2B5EF4-FFF2-40B4-BE49-F238E27FC236}">
                  <a16:creationId xmlns:a16="http://schemas.microsoft.com/office/drawing/2014/main" id="{269E4D86-2B8E-3CFC-54B2-ECD21B1C5912}"/>
                </a:ext>
              </a:extLst>
            </p:cNvPr>
            <p:cNvSpPr txBox="1"/>
            <p:nvPr/>
          </p:nvSpPr>
          <p:spPr>
            <a:xfrm>
              <a:off x="7080957" y="4936411"/>
              <a:ext cx="160416" cy="1675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85</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5" name="TextBox 54">
              <a:extLst>
                <a:ext uri="{FF2B5EF4-FFF2-40B4-BE49-F238E27FC236}">
                  <a16:creationId xmlns:a16="http://schemas.microsoft.com/office/drawing/2014/main" id="{D087D0E5-230E-893A-3932-03C74D334C69}"/>
                </a:ext>
              </a:extLst>
            </p:cNvPr>
            <p:cNvSpPr txBox="1"/>
            <p:nvPr/>
          </p:nvSpPr>
          <p:spPr>
            <a:xfrm>
              <a:off x="7370025" y="4936411"/>
              <a:ext cx="160416" cy="1675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93</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6" name="TextBox 55">
              <a:extLst>
                <a:ext uri="{FF2B5EF4-FFF2-40B4-BE49-F238E27FC236}">
                  <a16:creationId xmlns:a16="http://schemas.microsoft.com/office/drawing/2014/main" id="{6AF95FA8-7973-7595-6A9C-87B2C212D766}"/>
                </a:ext>
              </a:extLst>
            </p:cNvPr>
            <p:cNvSpPr txBox="1"/>
            <p:nvPr/>
          </p:nvSpPr>
          <p:spPr>
            <a:xfrm>
              <a:off x="7624767" y="4936411"/>
              <a:ext cx="248550" cy="1675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101</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7" name="TextBox 56">
              <a:extLst>
                <a:ext uri="{FF2B5EF4-FFF2-40B4-BE49-F238E27FC236}">
                  <a16:creationId xmlns:a16="http://schemas.microsoft.com/office/drawing/2014/main" id="{259DE869-F705-DADD-2668-CC1A92F9D49B}"/>
                </a:ext>
              </a:extLst>
            </p:cNvPr>
            <p:cNvSpPr txBox="1"/>
            <p:nvPr/>
          </p:nvSpPr>
          <p:spPr>
            <a:xfrm>
              <a:off x="7922414" y="4936411"/>
              <a:ext cx="248550" cy="1675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109</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8" name="TextBox 57">
              <a:extLst>
                <a:ext uri="{FF2B5EF4-FFF2-40B4-BE49-F238E27FC236}">
                  <a16:creationId xmlns:a16="http://schemas.microsoft.com/office/drawing/2014/main" id="{F6B7CF61-01B0-3863-BE70-8A68F1046DBD}"/>
                </a:ext>
              </a:extLst>
            </p:cNvPr>
            <p:cNvSpPr txBox="1"/>
            <p:nvPr/>
          </p:nvSpPr>
          <p:spPr>
            <a:xfrm>
              <a:off x="8223260" y="4936411"/>
              <a:ext cx="248550" cy="1675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117</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59" name="TextBox 58">
              <a:extLst>
                <a:ext uri="{FF2B5EF4-FFF2-40B4-BE49-F238E27FC236}">
                  <a16:creationId xmlns:a16="http://schemas.microsoft.com/office/drawing/2014/main" id="{6DE870B8-DF6C-04E6-5B1F-253C7EEF0B25}"/>
                </a:ext>
              </a:extLst>
            </p:cNvPr>
            <p:cNvSpPr txBox="1"/>
            <p:nvPr/>
          </p:nvSpPr>
          <p:spPr>
            <a:xfrm>
              <a:off x="4981637" y="5367949"/>
              <a:ext cx="2582048" cy="3016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200" b="1" i="0" u="none" strike="noStrike" kern="1200" cap="none" spc="0" normalizeH="0" baseline="0" noProof="0">
                  <a:ln>
                    <a:noFill/>
                  </a:ln>
                  <a:solidFill>
                    <a:srgbClr val="3F4444"/>
                  </a:solidFill>
                  <a:effectLst/>
                  <a:uLnTx/>
                  <a:uFillTx/>
                  <a:latin typeface="Calibri"/>
                  <a:ea typeface="+mn-ea"/>
                  <a:cs typeface="Arial Narrow"/>
                </a:rPr>
                <a:t>Визит анализа (недели)</a:t>
              </a:r>
              <a:endParaRPr kumimoji="0" lang="en-GB" sz="1200" b="1" i="0" u="none" strike="noStrike" kern="1200" cap="none" spc="0" normalizeH="0" baseline="0" noProof="0" dirty="0">
                <a:ln>
                  <a:noFill/>
                </a:ln>
                <a:solidFill>
                  <a:srgbClr val="3F4444"/>
                </a:solidFill>
                <a:effectLst/>
                <a:uLnTx/>
                <a:uFillTx/>
                <a:latin typeface="Calibri"/>
                <a:ea typeface="+mn-ea"/>
                <a:cs typeface="Arial Narrow"/>
              </a:endParaRPr>
            </a:p>
          </p:txBody>
        </p:sp>
        <p:grpSp>
          <p:nvGrpSpPr>
            <p:cNvPr id="60" name="Group 59">
              <a:extLst>
                <a:ext uri="{FF2B5EF4-FFF2-40B4-BE49-F238E27FC236}">
                  <a16:creationId xmlns:a16="http://schemas.microsoft.com/office/drawing/2014/main" id="{55C3E1CA-4DAB-31DC-A06F-AE95BB5E3D71}"/>
                </a:ext>
              </a:extLst>
            </p:cNvPr>
            <p:cNvGrpSpPr/>
            <p:nvPr/>
          </p:nvGrpSpPr>
          <p:grpSpPr>
            <a:xfrm>
              <a:off x="2155197" y="1561695"/>
              <a:ext cx="65224" cy="668040"/>
              <a:chOff x="1889628" y="2759671"/>
              <a:chExt cx="118122" cy="942380"/>
            </a:xfrm>
          </p:grpSpPr>
          <p:sp>
            <p:nvSpPr>
              <p:cNvPr id="353" name="Freeform: Shape 352">
                <a:extLst>
                  <a:ext uri="{FF2B5EF4-FFF2-40B4-BE49-F238E27FC236}">
                    <a16:creationId xmlns:a16="http://schemas.microsoft.com/office/drawing/2014/main" id="{C5A5340C-C9B6-E694-D80E-7CA1704E4595}"/>
                  </a:ext>
                </a:extLst>
              </p:cNvPr>
              <p:cNvSpPr/>
              <p:nvPr/>
            </p:nvSpPr>
            <p:spPr>
              <a:xfrm>
                <a:off x="1889628" y="2759671"/>
                <a:ext cx="118122" cy="70162"/>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354" name="Freeform: Shape 353">
                <a:extLst>
                  <a:ext uri="{FF2B5EF4-FFF2-40B4-BE49-F238E27FC236}">
                    <a16:creationId xmlns:a16="http://schemas.microsoft.com/office/drawing/2014/main" id="{1C990316-7AF9-5439-EC9F-B16AD2F02CB4}"/>
                  </a:ext>
                </a:extLst>
              </p:cNvPr>
              <p:cNvSpPr/>
              <p:nvPr/>
            </p:nvSpPr>
            <p:spPr>
              <a:xfrm>
                <a:off x="1889628" y="3702051"/>
                <a:ext cx="101010"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grpSp>
        <p:sp>
          <p:nvSpPr>
            <p:cNvPr id="61" name="TextBox 60">
              <a:extLst>
                <a:ext uri="{FF2B5EF4-FFF2-40B4-BE49-F238E27FC236}">
                  <a16:creationId xmlns:a16="http://schemas.microsoft.com/office/drawing/2014/main" id="{1E509315-FB5C-B5B6-E427-A30C1B6F043C}"/>
                </a:ext>
              </a:extLst>
            </p:cNvPr>
            <p:cNvSpPr txBox="1"/>
            <p:nvPr/>
          </p:nvSpPr>
          <p:spPr>
            <a:xfrm>
              <a:off x="1853959" y="2743583"/>
              <a:ext cx="358112" cy="26811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Arial" panose="020B0604020202020204" pitchFamily="34" charset="0"/>
                </a:rPr>
                <a:t>‒</a:t>
              </a:r>
              <a:r>
                <a:rPr kumimoji="0" lang="ru" sz="1000" b="0" i="0" u="none" strike="noStrike" kern="1200" cap="none" spc="0" normalizeH="0" baseline="0" noProof="0">
                  <a:ln>
                    <a:noFill/>
                  </a:ln>
                  <a:solidFill>
                    <a:srgbClr val="3F4444"/>
                  </a:solidFill>
                  <a:effectLst/>
                  <a:uLnTx/>
                  <a:uFillTx/>
                  <a:latin typeface="Calibri"/>
                  <a:ea typeface="+mn-ea"/>
                  <a:cs typeface="+mn-cs"/>
                </a:rPr>
                <a:t>5</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2" name="TextBox 61">
              <a:extLst>
                <a:ext uri="{FF2B5EF4-FFF2-40B4-BE49-F238E27FC236}">
                  <a16:creationId xmlns:a16="http://schemas.microsoft.com/office/drawing/2014/main" id="{DA1429A5-C909-3548-9E8B-827695333726}"/>
                </a:ext>
              </a:extLst>
            </p:cNvPr>
            <p:cNvSpPr txBox="1"/>
            <p:nvPr/>
          </p:nvSpPr>
          <p:spPr>
            <a:xfrm>
              <a:off x="1930459" y="2098931"/>
              <a:ext cx="283658" cy="26811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0</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3" name="TextBox 62">
              <a:extLst>
                <a:ext uri="{FF2B5EF4-FFF2-40B4-BE49-F238E27FC236}">
                  <a16:creationId xmlns:a16="http://schemas.microsoft.com/office/drawing/2014/main" id="{CE4A218A-AADD-3238-8015-42D7F1F5B34D}"/>
                </a:ext>
              </a:extLst>
            </p:cNvPr>
            <p:cNvSpPr txBox="1"/>
            <p:nvPr/>
          </p:nvSpPr>
          <p:spPr>
            <a:xfrm>
              <a:off x="1930459" y="1462434"/>
              <a:ext cx="283658" cy="26811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5</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4" name="Freeform: Shape 63">
              <a:extLst>
                <a:ext uri="{FF2B5EF4-FFF2-40B4-BE49-F238E27FC236}">
                  <a16:creationId xmlns:a16="http://schemas.microsoft.com/office/drawing/2014/main" id="{E8DF29F3-1536-E01B-B7DB-A63136888F3A}"/>
                </a:ext>
              </a:extLst>
            </p:cNvPr>
            <p:cNvSpPr/>
            <p:nvPr/>
          </p:nvSpPr>
          <p:spPr>
            <a:xfrm rot="5400000">
              <a:off x="8608240"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5" name="Freeform: Shape 64">
              <a:extLst>
                <a:ext uri="{FF2B5EF4-FFF2-40B4-BE49-F238E27FC236}">
                  <a16:creationId xmlns:a16="http://schemas.microsoft.com/office/drawing/2014/main" id="{9A4D0ABF-D56C-6202-9433-E78BED256E6D}"/>
                </a:ext>
              </a:extLst>
            </p:cNvPr>
            <p:cNvSpPr/>
            <p:nvPr/>
          </p:nvSpPr>
          <p:spPr>
            <a:xfrm rot="5400000">
              <a:off x="8900345"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6" name="Freeform: Shape 65">
              <a:extLst>
                <a:ext uri="{FF2B5EF4-FFF2-40B4-BE49-F238E27FC236}">
                  <a16:creationId xmlns:a16="http://schemas.microsoft.com/office/drawing/2014/main" id="{E2B3CA1E-07F2-07B7-73B4-BD6C4800AC69}"/>
                </a:ext>
              </a:extLst>
            </p:cNvPr>
            <p:cNvSpPr/>
            <p:nvPr/>
          </p:nvSpPr>
          <p:spPr>
            <a:xfrm rot="5400000">
              <a:off x="9197545"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7" name="Freeform: Shape 66">
              <a:extLst>
                <a:ext uri="{FF2B5EF4-FFF2-40B4-BE49-F238E27FC236}">
                  <a16:creationId xmlns:a16="http://schemas.microsoft.com/office/drawing/2014/main" id="{AE47A2C8-ABC8-243C-8D76-C40FC57591E4}"/>
                </a:ext>
              </a:extLst>
            </p:cNvPr>
            <p:cNvSpPr/>
            <p:nvPr/>
          </p:nvSpPr>
          <p:spPr>
            <a:xfrm rot="5400000">
              <a:off x="9485715"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8" name="Freeform: Shape 67">
              <a:extLst>
                <a:ext uri="{FF2B5EF4-FFF2-40B4-BE49-F238E27FC236}">
                  <a16:creationId xmlns:a16="http://schemas.microsoft.com/office/drawing/2014/main" id="{CC977868-5292-E3E7-28CD-7D9BA1BC0335}"/>
                </a:ext>
              </a:extLst>
            </p:cNvPr>
            <p:cNvSpPr/>
            <p:nvPr/>
          </p:nvSpPr>
          <p:spPr>
            <a:xfrm rot="5400000">
              <a:off x="9789351"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69" name="Freeform: Shape 68">
              <a:extLst>
                <a:ext uri="{FF2B5EF4-FFF2-40B4-BE49-F238E27FC236}">
                  <a16:creationId xmlns:a16="http://schemas.microsoft.com/office/drawing/2014/main" id="{0999A5EF-8365-1BED-6A0B-361CBE8326C4}"/>
                </a:ext>
              </a:extLst>
            </p:cNvPr>
            <p:cNvSpPr/>
            <p:nvPr/>
          </p:nvSpPr>
          <p:spPr>
            <a:xfrm rot="5400000">
              <a:off x="10081457" y="4906068"/>
              <a:ext cx="48992" cy="0"/>
            </a:xfrm>
            <a:custGeom>
              <a:avLst/>
              <a:gdLst>
                <a:gd name="connsiteX0" fmla="*/ 0 w 101010"/>
                <a:gd name="connsiteY0" fmla="*/ 0 h 0"/>
                <a:gd name="connsiteX1" fmla="*/ 101010 w 101010"/>
                <a:gd name="connsiteY1" fmla="*/ 0 h 0"/>
              </a:gdLst>
              <a:ahLst/>
              <a:cxnLst>
                <a:cxn ang="0">
                  <a:pos x="connsiteX0" y="connsiteY0"/>
                </a:cxn>
                <a:cxn ang="0">
                  <a:pos x="connsiteX1" y="connsiteY1"/>
                </a:cxn>
              </a:cxnLst>
              <a:rect l="l" t="t" r="r" b="b"/>
              <a:pathLst>
                <a:path w="101010">
                  <a:moveTo>
                    <a:pt x="0" y="0"/>
                  </a:moveTo>
                  <a:lnTo>
                    <a:pt x="10101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0" name="TextBox 69">
              <a:extLst>
                <a:ext uri="{FF2B5EF4-FFF2-40B4-BE49-F238E27FC236}">
                  <a16:creationId xmlns:a16="http://schemas.microsoft.com/office/drawing/2014/main" id="{F9D17F04-E5FF-5B5F-ECA0-82C9C109FF3F}"/>
                </a:ext>
              </a:extLst>
            </p:cNvPr>
            <p:cNvSpPr txBox="1"/>
            <p:nvPr/>
          </p:nvSpPr>
          <p:spPr>
            <a:xfrm>
              <a:off x="8508466" y="4936411"/>
              <a:ext cx="248539" cy="1675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125</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1" name="TextBox 70">
              <a:extLst>
                <a:ext uri="{FF2B5EF4-FFF2-40B4-BE49-F238E27FC236}">
                  <a16:creationId xmlns:a16="http://schemas.microsoft.com/office/drawing/2014/main" id="{4188E95F-FA61-8D09-21FA-99C0DA866EAB}"/>
                </a:ext>
              </a:extLst>
            </p:cNvPr>
            <p:cNvSpPr txBox="1"/>
            <p:nvPr/>
          </p:nvSpPr>
          <p:spPr>
            <a:xfrm>
              <a:off x="8799191" y="4936411"/>
              <a:ext cx="261081" cy="1675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133</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2" name="TextBox 71">
              <a:extLst>
                <a:ext uri="{FF2B5EF4-FFF2-40B4-BE49-F238E27FC236}">
                  <a16:creationId xmlns:a16="http://schemas.microsoft.com/office/drawing/2014/main" id="{AE3F5186-BB01-633C-8B00-9F6A9A453B89}"/>
                </a:ext>
              </a:extLst>
            </p:cNvPr>
            <p:cNvSpPr txBox="1"/>
            <p:nvPr/>
          </p:nvSpPr>
          <p:spPr>
            <a:xfrm>
              <a:off x="9089748" y="4936411"/>
              <a:ext cx="269785" cy="1675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141</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3" name="TextBox 72">
              <a:extLst>
                <a:ext uri="{FF2B5EF4-FFF2-40B4-BE49-F238E27FC236}">
                  <a16:creationId xmlns:a16="http://schemas.microsoft.com/office/drawing/2014/main" id="{9271A3FD-2CFC-FD06-1F5A-916447A876B9}"/>
                </a:ext>
              </a:extLst>
            </p:cNvPr>
            <p:cNvSpPr txBox="1"/>
            <p:nvPr/>
          </p:nvSpPr>
          <p:spPr>
            <a:xfrm>
              <a:off x="9379443" y="4936411"/>
              <a:ext cx="248550" cy="1675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149</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4" name="TextBox 73">
              <a:extLst>
                <a:ext uri="{FF2B5EF4-FFF2-40B4-BE49-F238E27FC236}">
                  <a16:creationId xmlns:a16="http://schemas.microsoft.com/office/drawing/2014/main" id="{C9B5E5A4-C389-D55A-3F61-FB2E2A30F988}"/>
                </a:ext>
              </a:extLst>
            </p:cNvPr>
            <p:cNvSpPr txBox="1"/>
            <p:nvPr/>
          </p:nvSpPr>
          <p:spPr>
            <a:xfrm>
              <a:off x="9691421" y="4936411"/>
              <a:ext cx="248550" cy="1675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157</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5" name="TextBox 74">
              <a:extLst>
                <a:ext uri="{FF2B5EF4-FFF2-40B4-BE49-F238E27FC236}">
                  <a16:creationId xmlns:a16="http://schemas.microsoft.com/office/drawing/2014/main" id="{452A1A0D-C650-866B-855E-211559BD6B25}"/>
                </a:ext>
              </a:extLst>
            </p:cNvPr>
            <p:cNvSpPr txBox="1"/>
            <p:nvPr/>
          </p:nvSpPr>
          <p:spPr>
            <a:xfrm>
              <a:off x="9989068" y="4936411"/>
              <a:ext cx="248550" cy="16757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0" normalizeH="0" baseline="0" noProof="0">
                  <a:ln>
                    <a:noFill/>
                  </a:ln>
                  <a:solidFill>
                    <a:srgbClr val="3F4444"/>
                  </a:solidFill>
                  <a:effectLst/>
                  <a:uLnTx/>
                  <a:uFillTx/>
                  <a:latin typeface="Calibri"/>
                  <a:ea typeface="+mn-ea"/>
                  <a:cs typeface="+mn-cs"/>
                </a:rPr>
                <a:t>165</a:t>
              </a:r>
              <a:endParaRPr kumimoji="0" lang="en-GB" sz="1000" b="0" i="0" u="none" strike="noStrike" kern="1200" cap="none" spc="0" normalizeH="0" baseline="0" noProof="0" dirty="0">
                <a:ln>
                  <a:noFill/>
                </a:ln>
                <a:solidFill>
                  <a:srgbClr val="3F4444"/>
                </a:solidFill>
                <a:effectLst/>
                <a:uLnTx/>
                <a:uFillTx/>
                <a:latin typeface="Calibri"/>
                <a:ea typeface="+mn-ea"/>
                <a:cs typeface="+mn-cs"/>
              </a:endParaRPr>
            </a:p>
          </p:txBody>
        </p:sp>
        <p:sp>
          <p:nvSpPr>
            <p:cNvPr id="76" name="Freeform: Shape 75">
              <a:extLst>
                <a:ext uri="{FF2B5EF4-FFF2-40B4-BE49-F238E27FC236}">
                  <a16:creationId xmlns:a16="http://schemas.microsoft.com/office/drawing/2014/main" id="{BAC1A226-8C58-4D1E-A816-9F87FA06C201}"/>
                </a:ext>
              </a:extLst>
            </p:cNvPr>
            <p:cNvSpPr/>
            <p:nvPr/>
          </p:nvSpPr>
          <p:spPr>
            <a:xfrm>
              <a:off x="2519958" y="2222131"/>
              <a:ext cx="7640114" cy="1501165"/>
            </a:xfrm>
            <a:custGeom>
              <a:avLst/>
              <a:gdLst>
                <a:gd name="connsiteX0" fmla="*/ 7640114 w 7640114"/>
                <a:gd name="connsiteY0" fmla="*/ 1370024 h 1485570"/>
                <a:gd name="connsiteX1" fmla="*/ 7345393 w 7640114"/>
                <a:gd name="connsiteY1" fmla="*/ 1413799 h 1485570"/>
                <a:gd name="connsiteX2" fmla="*/ 7051689 w 7640114"/>
                <a:gd name="connsiteY2" fmla="*/ 1485571 h 1485570"/>
                <a:gd name="connsiteX3" fmla="*/ 6760403 w 7640114"/>
                <a:gd name="connsiteY3" fmla="*/ 1388221 h 1485570"/>
                <a:gd name="connsiteX4" fmla="*/ 6467081 w 7640114"/>
                <a:gd name="connsiteY4" fmla="*/ 1304488 h 1485570"/>
                <a:gd name="connsiteX5" fmla="*/ 6171851 w 7640114"/>
                <a:gd name="connsiteY5" fmla="*/ 1182832 h 1485570"/>
                <a:gd name="connsiteX6" fmla="*/ 5890618 w 7640114"/>
                <a:gd name="connsiteY6" fmla="*/ 1148855 h 1485570"/>
                <a:gd name="connsiteX7" fmla="*/ 5584698 w 7640114"/>
                <a:gd name="connsiteY7" fmla="*/ 908089 h 1485570"/>
                <a:gd name="connsiteX8" fmla="*/ 5290740 w 7640114"/>
                <a:gd name="connsiteY8" fmla="*/ 1042597 h 1485570"/>
                <a:gd name="connsiteX9" fmla="*/ 5014215 w 7640114"/>
                <a:gd name="connsiteY9" fmla="*/ 977061 h 1485570"/>
                <a:gd name="connsiteX10" fmla="*/ 4704223 w 7640114"/>
                <a:gd name="connsiteY10" fmla="*/ 971844 h 1485570"/>
                <a:gd name="connsiteX11" fmla="*/ 4408992 w 7640114"/>
                <a:gd name="connsiteY11" fmla="*/ 822320 h 1485570"/>
                <a:gd name="connsiteX12" fmla="*/ 4114524 w 7640114"/>
                <a:gd name="connsiteY12" fmla="*/ 693156 h 1485570"/>
                <a:gd name="connsiteX13" fmla="*/ 3822348 w 7640114"/>
                <a:gd name="connsiteY13" fmla="*/ 847389 h 1485570"/>
                <a:gd name="connsiteX14" fmla="*/ 3526990 w 7640114"/>
                <a:gd name="connsiteY14" fmla="*/ 720770 h 1485570"/>
                <a:gd name="connsiteX15" fmla="*/ 3235322 w 7640114"/>
                <a:gd name="connsiteY15" fmla="*/ 615022 h 1485570"/>
                <a:gd name="connsiteX16" fmla="*/ 2941364 w 7640114"/>
                <a:gd name="connsiteY16" fmla="*/ 560684 h 1485570"/>
                <a:gd name="connsiteX17" fmla="*/ 2645242 w 7640114"/>
                <a:gd name="connsiteY17" fmla="*/ 507492 h 1485570"/>
                <a:gd name="connsiteX18" fmla="*/ 2353448 w 7640114"/>
                <a:gd name="connsiteY18" fmla="*/ 524544 h 1485570"/>
                <a:gd name="connsiteX19" fmla="*/ 2058726 w 7640114"/>
                <a:gd name="connsiteY19" fmla="*/ 503419 h 1485570"/>
                <a:gd name="connsiteX20" fmla="*/ 1765658 w 7640114"/>
                <a:gd name="connsiteY20" fmla="*/ 360258 h 1485570"/>
                <a:gd name="connsiteX21" fmla="*/ 1471573 w 7640114"/>
                <a:gd name="connsiteY21" fmla="*/ 441319 h 1485570"/>
                <a:gd name="connsiteX22" fmla="*/ 1176724 w 7640114"/>
                <a:gd name="connsiteY22" fmla="*/ 388254 h 1485570"/>
                <a:gd name="connsiteX23" fmla="*/ 882765 w 7640114"/>
                <a:gd name="connsiteY23" fmla="*/ 288486 h 1485570"/>
                <a:gd name="connsiteX24" fmla="*/ 588553 w 7640114"/>
                <a:gd name="connsiteY24" fmla="*/ 213533 h 1485570"/>
                <a:gd name="connsiteX25" fmla="*/ 296249 w 7640114"/>
                <a:gd name="connsiteY25" fmla="*/ 64009 h 1485570"/>
                <a:gd name="connsiteX26" fmla="*/ 0 w 7640114"/>
                <a:gd name="connsiteY26" fmla="*/ 0 h 148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640114" h="1485570">
                  <a:moveTo>
                    <a:pt x="7640114" y="1370024"/>
                  </a:moveTo>
                  <a:lnTo>
                    <a:pt x="7345393" y="1413799"/>
                  </a:lnTo>
                  <a:lnTo>
                    <a:pt x="7051689" y="1485571"/>
                  </a:lnTo>
                  <a:lnTo>
                    <a:pt x="6760403" y="1388221"/>
                  </a:lnTo>
                  <a:lnTo>
                    <a:pt x="6467081" y="1304488"/>
                  </a:lnTo>
                  <a:lnTo>
                    <a:pt x="6171851" y="1182832"/>
                  </a:lnTo>
                  <a:lnTo>
                    <a:pt x="5890618" y="1148855"/>
                  </a:lnTo>
                  <a:lnTo>
                    <a:pt x="5584698" y="908089"/>
                  </a:lnTo>
                  <a:lnTo>
                    <a:pt x="5290740" y="1042597"/>
                  </a:lnTo>
                  <a:lnTo>
                    <a:pt x="5014215" y="977061"/>
                  </a:lnTo>
                  <a:lnTo>
                    <a:pt x="4704223" y="971844"/>
                  </a:lnTo>
                  <a:lnTo>
                    <a:pt x="4408992" y="822320"/>
                  </a:lnTo>
                  <a:lnTo>
                    <a:pt x="4114524" y="693156"/>
                  </a:lnTo>
                  <a:lnTo>
                    <a:pt x="3822348" y="847389"/>
                  </a:lnTo>
                  <a:lnTo>
                    <a:pt x="3526990" y="720770"/>
                  </a:lnTo>
                  <a:lnTo>
                    <a:pt x="3235322" y="615022"/>
                  </a:lnTo>
                  <a:lnTo>
                    <a:pt x="2941364" y="560684"/>
                  </a:lnTo>
                  <a:lnTo>
                    <a:pt x="2645242" y="507492"/>
                  </a:lnTo>
                  <a:lnTo>
                    <a:pt x="2353448" y="524544"/>
                  </a:lnTo>
                  <a:lnTo>
                    <a:pt x="2058726" y="503419"/>
                  </a:lnTo>
                  <a:lnTo>
                    <a:pt x="1765658" y="360258"/>
                  </a:lnTo>
                  <a:lnTo>
                    <a:pt x="1471573" y="441319"/>
                  </a:lnTo>
                  <a:lnTo>
                    <a:pt x="1176724" y="388254"/>
                  </a:lnTo>
                  <a:lnTo>
                    <a:pt x="882765" y="288486"/>
                  </a:lnTo>
                  <a:lnTo>
                    <a:pt x="588553" y="213533"/>
                  </a:lnTo>
                  <a:lnTo>
                    <a:pt x="296249" y="64009"/>
                  </a:lnTo>
                  <a:lnTo>
                    <a:pt x="0" y="0"/>
                  </a:lnTo>
                </a:path>
              </a:pathLst>
            </a:custGeom>
            <a:noFill/>
            <a:ln w="2857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77" name="Freeform: Shape 76">
              <a:extLst>
                <a:ext uri="{FF2B5EF4-FFF2-40B4-BE49-F238E27FC236}">
                  <a16:creationId xmlns:a16="http://schemas.microsoft.com/office/drawing/2014/main" id="{867FA022-6873-BA24-DFA2-1A3986A4EE54}"/>
                </a:ext>
              </a:extLst>
            </p:cNvPr>
            <p:cNvSpPr/>
            <p:nvPr/>
          </p:nvSpPr>
          <p:spPr>
            <a:xfrm>
              <a:off x="9239258" y="3584138"/>
              <a:ext cx="82460" cy="61082"/>
            </a:xfrm>
            <a:custGeom>
              <a:avLst/>
              <a:gdLst>
                <a:gd name="connsiteX0" fmla="*/ 0 w 82460"/>
                <a:gd name="connsiteY0" fmla="*/ 61082 h 61082"/>
                <a:gd name="connsiteX1" fmla="*/ 41230 w 82460"/>
                <a:gd name="connsiteY1" fmla="*/ 0 h 61082"/>
                <a:gd name="connsiteX2" fmla="*/ 82461 w 82460"/>
                <a:gd name="connsiteY2" fmla="*/ 61082 h 61082"/>
                <a:gd name="connsiteX3" fmla="*/ 0 w 82460"/>
                <a:gd name="connsiteY3" fmla="*/ 61082 h 61082"/>
                <a:gd name="connsiteX4" fmla="*/ 0 w 82460"/>
                <a:gd name="connsiteY4" fmla="*/ 61082 h 6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0" h="61082">
                  <a:moveTo>
                    <a:pt x="0" y="61082"/>
                  </a:moveTo>
                  <a:lnTo>
                    <a:pt x="41230" y="0"/>
                  </a:lnTo>
                  <a:lnTo>
                    <a:pt x="82461" y="61082"/>
                  </a:lnTo>
                  <a:lnTo>
                    <a:pt x="0" y="61082"/>
                  </a:lnTo>
                  <a:lnTo>
                    <a:pt x="0" y="61082"/>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78" name="Freeform: Shape 77">
              <a:extLst>
                <a:ext uri="{FF2B5EF4-FFF2-40B4-BE49-F238E27FC236}">
                  <a16:creationId xmlns:a16="http://schemas.microsoft.com/office/drawing/2014/main" id="{96294A57-6409-85CB-1215-65B85C13EF1E}"/>
                </a:ext>
              </a:extLst>
            </p:cNvPr>
            <p:cNvSpPr/>
            <p:nvPr/>
          </p:nvSpPr>
          <p:spPr>
            <a:xfrm>
              <a:off x="9530417" y="3680288"/>
              <a:ext cx="82460" cy="62609"/>
            </a:xfrm>
            <a:custGeom>
              <a:avLst/>
              <a:gdLst>
                <a:gd name="connsiteX0" fmla="*/ 0 w 82460"/>
                <a:gd name="connsiteY0" fmla="*/ 62609 h 62609"/>
                <a:gd name="connsiteX1" fmla="*/ 41230 w 82460"/>
                <a:gd name="connsiteY1" fmla="*/ 0 h 62609"/>
                <a:gd name="connsiteX2" fmla="*/ 82461 w 82460"/>
                <a:gd name="connsiteY2" fmla="*/ 62609 h 62609"/>
                <a:gd name="connsiteX3" fmla="*/ 0 w 82460"/>
                <a:gd name="connsiteY3" fmla="*/ 62609 h 62609"/>
                <a:gd name="connsiteX4" fmla="*/ 0 w 82460"/>
                <a:gd name="connsiteY4" fmla="*/ 62609 h 62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0" h="62609">
                  <a:moveTo>
                    <a:pt x="0" y="62609"/>
                  </a:moveTo>
                  <a:lnTo>
                    <a:pt x="41230" y="0"/>
                  </a:lnTo>
                  <a:lnTo>
                    <a:pt x="82461" y="62609"/>
                  </a:lnTo>
                  <a:lnTo>
                    <a:pt x="0" y="62609"/>
                  </a:lnTo>
                  <a:lnTo>
                    <a:pt x="0" y="62609"/>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79" name="Freeform: Shape 78">
              <a:extLst>
                <a:ext uri="{FF2B5EF4-FFF2-40B4-BE49-F238E27FC236}">
                  <a16:creationId xmlns:a16="http://schemas.microsoft.com/office/drawing/2014/main" id="{32D7629C-9A61-79F0-554C-7B237666A563}"/>
                </a:ext>
              </a:extLst>
            </p:cNvPr>
            <p:cNvSpPr/>
            <p:nvPr/>
          </p:nvSpPr>
          <p:spPr>
            <a:xfrm>
              <a:off x="9824248" y="3605154"/>
              <a:ext cx="82460" cy="61082"/>
            </a:xfrm>
            <a:custGeom>
              <a:avLst/>
              <a:gdLst>
                <a:gd name="connsiteX0" fmla="*/ 0 w 82460"/>
                <a:gd name="connsiteY0" fmla="*/ 61082 h 61082"/>
                <a:gd name="connsiteX1" fmla="*/ 41230 w 82460"/>
                <a:gd name="connsiteY1" fmla="*/ 0 h 61082"/>
                <a:gd name="connsiteX2" fmla="*/ 82461 w 82460"/>
                <a:gd name="connsiteY2" fmla="*/ 61082 h 61082"/>
                <a:gd name="connsiteX3" fmla="*/ 0 w 82460"/>
                <a:gd name="connsiteY3" fmla="*/ 61082 h 61082"/>
                <a:gd name="connsiteX4" fmla="*/ 0 w 82460"/>
                <a:gd name="connsiteY4" fmla="*/ 61082 h 6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0" h="61082">
                  <a:moveTo>
                    <a:pt x="0" y="61082"/>
                  </a:moveTo>
                  <a:lnTo>
                    <a:pt x="41230" y="0"/>
                  </a:lnTo>
                  <a:lnTo>
                    <a:pt x="82461" y="61082"/>
                  </a:lnTo>
                  <a:lnTo>
                    <a:pt x="0" y="61082"/>
                  </a:lnTo>
                  <a:lnTo>
                    <a:pt x="0" y="61082"/>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80" name="Freeform: Shape 79">
              <a:extLst>
                <a:ext uri="{FF2B5EF4-FFF2-40B4-BE49-F238E27FC236}">
                  <a16:creationId xmlns:a16="http://schemas.microsoft.com/office/drawing/2014/main" id="{217A0444-E1D5-9366-B5E3-129426E97664}"/>
                </a:ext>
              </a:extLst>
            </p:cNvPr>
            <p:cNvSpPr/>
            <p:nvPr/>
          </p:nvSpPr>
          <p:spPr>
            <a:xfrm>
              <a:off x="10118842" y="3564758"/>
              <a:ext cx="82461" cy="62609"/>
            </a:xfrm>
            <a:custGeom>
              <a:avLst/>
              <a:gdLst>
                <a:gd name="connsiteX0" fmla="*/ 0 w 82461"/>
                <a:gd name="connsiteY0" fmla="*/ 62609 h 62609"/>
                <a:gd name="connsiteX1" fmla="*/ 41230 w 82461"/>
                <a:gd name="connsiteY1" fmla="*/ 0 h 62609"/>
                <a:gd name="connsiteX2" fmla="*/ 82462 w 82461"/>
                <a:gd name="connsiteY2" fmla="*/ 62609 h 62609"/>
                <a:gd name="connsiteX3" fmla="*/ 0 w 82461"/>
                <a:gd name="connsiteY3" fmla="*/ 62609 h 62609"/>
                <a:gd name="connsiteX4" fmla="*/ 0 w 82461"/>
                <a:gd name="connsiteY4" fmla="*/ 62609 h 62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1" h="62609">
                  <a:moveTo>
                    <a:pt x="0" y="62609"/>
                  </a:moveTo>
                  <a:lnTo>
                    <a:pt x="41230" y="0"/>
                  </a:lnTo>
                  <a:lnTo>
                    <a:pt x="82462" y="62609"/>
                  </a:lnTo>
                  <a:lnTo>
                    <a:pt x="0" y="62609"/>
                  </a:lnTo>
                  <a:lnTo>
                    <a:pt x="0" y="62609"/>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81" name="Freeform: Shape 80">
              <a:extLst>
                <a:ext uri="{FF2B5EF4-FFF2-40B4-BE49-F238E27FC236}">
                  <a16:creationId xmlns:a16="http://schemas.microsoft.com/office/drawing/2014/main" id="{6A60ED16-3ACE-FE9B-3635-CF8EB746C9D4}"/>
                </a:ext>
              </a:extLst>
            </p:cNvPr>
            <p:cNvSpPr/>
            <p:nvPr/>
          </p:nvSpPr>
          <p:spPr>
            <a:xfrm>
              <a:off x="8063425" y="3097934"/>
              <a:ext cx="82461" cy="61082"/>
            </a:xfrm>
            <a:custGeom>
              <a:avLst/>
              <a:gdLst>
                <a:gd name="connsiteX0" fmla="*/ 0 w 82461"/>
                <a:gd name="connsiteY0" fmla="*/ 61082 h 61082"/>
                <a:gd name="connsiteX1" fmla="*/ 41230 w 82461"/>
                <a:gd name="connsiteY1" fmla="*/ 0 h 61082"/>
                <a:gd name="connsiteX2" fmla="*/ 82461 w 82461"/>
                <a:gd name="connsiteY2" fmla="*/ 61082 h 61082"/>
                <a:gd name="connsiteX3" fmla="*/ 0 w 82461"/>
                <a:gd name="connsiteY3" fmla="*/ 61082 h 61082"/>
                <a:gd name="connsiteX4" fmla="*/ 0 w 82461"/>
                <a:gd name="connsiteY4" fmla="*/ 61082 h 6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1" h="61082">
                  <a:moveTo>
                    <a:pt x="0" y="61082"/>
                  </a:moveTo>
                  <a:lnTo>
                    <a:pt x="41230" y="0"/>
                  </a:lnTo>
                  <a:lnTo>
                    <a:pt x="82461" y="61082"/>
                  </a:lnTo>
                  <a:lnTo>
                    <a:pt x="0" y="61082"/>
                  </a:lnTo>
                  <a:lnTo>
                    <a:pt x="0" y="61082"/>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82" name="Freeform: Shape 81">
              <a:extLst>
                <a:ext uri="{FF2B5EF4-FFF2-40B4-BE49-F238E27FC236}">
                  <a16:creationId xmlns:a16="http://schemas.microsoft.com/office/drawing/2014/main" id="{BE0239D5-AB64-5C58-8046-91D937D40EBF}"/>
                </a:ext>
              </a:extLst>
            </p:cNvPr>
            <p:cNvSpPr/>
            <p:nvPr/>
          </p:nvSpPr>
          <p:spPr>
            <a:xfrm>
              <a:off x="8358529" y="3338117"/>
              <a:ext cx="82461" cy="62609"/>
            </a:xfrm>
            <a:custGeom>
              <a:avLst/>
              <a:gdLst>
                <a:gd name="connsiteX0" fmla="*/ 0 w 82461"/>
                <a:gd name="connsiteY0" fmla="*/ 62609 h 62609"/>
                <a:gd name="connsiteX1" fmla="*/ 41230 w 82461"/>
                <a:gd name="connsiteY1" fmla="*/ 0 h 62609"/>
                <a:gd name="connsiteX2" fmla="*/ 82461 w 82461"/>
                <a:gd name="connsiteY2" fmla="*/ 62609 h 62609"/>
                <a:gd name="connsiteX3" fmla="*/ 0 w 82461"/>
                <a:gd name="connsiteY3" fmla="*/ 62609 h 62609"/>
                <a:gd name="connsiteX4" fmla="*/ 0 w 82461"/>
                <a:gd name="connsiteY4" fmla="*/ 62609 h 62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1" h="62609">
                  <a:moveTo>
                    <a:pt x="0" y="62609"/>
                  </a:moveTo>
                  <a:lnTo>
                    <a:pt x="41230" y="0"/>
                  </a:lnTo>
                  <a:lnTo>
                    <a:pt x="82461" y="62609"/>
                  </a:lnTo>
                  <a:lnTo>
                    <a:pt x="0" y="62609"/>
                  </a:lnTo>
                  <a:lnTo>
                    <a:pt x="0" y="62609"/>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83" name="Freeform: Shape 82">
              <a:extLst>
                <a:ext uri="{FF2B5EF4-FFF2-40B4-BE49-F238E27FC236}">
                  <a16:creationId xmlns:a16="http://schemas.microsoft.com/office/drawing/2014/main" id="{3D64158E-E62B-D0F5-9C75-37CD2A68BF66}"/>
                </a:ext>
              </a:extLst>
            </p:cNvPr>
            <p:cNvSpPr/>
            <p:nvPr/>
          </p:nvSpPr>
          <p:spPr>
            <a:xfrm>
              <a:off x="8650578" y="3377931"/>
              <a:ext cx="82460" cy="61082"/>
            </a:xfrm>
            <a:custGeom>
              <a:avLst/>
              <a:gdLst>
                <a:gd name="connsiteX0" fmla="*/ 0 w 82460"/>
                <a:gd name="connsiteY0" fmla="*/ 61082 h 61082"/>
                <a:gd name="connsiteX1" fmla="*/ 41230 w 82460"/>
                <a:gd name="connsiteY1" fmla="*/ 0 h 61082"/>
                <a:gd name="connsiteX2" fmla="*/ 82461 w 82460"/>
                <a:gd name="connsiteY2" fmla="*/ 61082 h 61082"/>
                <a:gd name="connsiteX3" fmla="*/ 0 w 82460"/>
                <a:gd name="connsiteY3" fmla="*/ 61082 h 61082"/>
                <a:gd name="connsiteX4" fmla="*/ 0 w 82460"/>
                <a:gd name="connsiteY4" fmla="*/ 61082 h 6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0" h="61082">
                  <a:moveTo>
                    <a:pt x="0" y="61082"/>
                  </a:moveTo>
                  <a:lnTo>
                    <a:pt x="41230" y="0"/>
                  </a:lnTo>
                  <a:lnTo>
                    <a:pt x="82461" y="61082"/>
                  </a:lnTo>
                  <a:lnTo>
                    <a:pt x="0" y="61082"/>
                  </a:lnTo>
                  <a:lnTo>
                    <a:pt x="0" y="61082"/>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84" name="Freeform: Shape 83">
              <a:extLst>
                <a:ext uri="{FF2B5EF4-FFF2-40B4-BE49-F238E27FC236}">
                  <a16:creationId xmlns:a16="http://schemas.microsoft.com/office/drawing/2014/main" id="{C59D7D37-0DB0-1E9E-4F80-D8E5C521B894}"/>
                </a:ext>
              </a:extLst>
            </p:cNvPr>
            <p:cNvSpPr/>
            <p:nvPr/>
          </p:nvSpPr>
          <p:spPr>
            <a:xfrm>
              <a:off x="8945936" y="3504529"/>
              <a:ext cx="82460" cy="62609"/>
            </a:xfrm>
            <a:custGeom>
              <a:avLst/>
              <a:gdLst>
                <a:gd name="connsiteX0" fmla="*/ 0 w 82460"/>
                <a:gd name="connsiteY0" fmla="*/ 62609 h 62609"/>
                <a:gd name="connsiteX1" fmla="*/ 41230 w 82460"/>
                <a:gd name="connsiteY1" fmla="*/ 0 h 62609"/>
                <a:gd name="connsiteX2" fmla="*/ 82461 w 82460"/>
                <a:gd name="connsiteY2" fmla="*/ 62609 h 62609"/>
                <a:gd name="connsiteX3" fmla="*/ 0 w 82460"/>
                <a:gd name="connsiteY3" fmla="*/ 62609 h 62609"/>
                <a:gd name="connsiteX4" fmla="*/ 0 w 82460"/>
                <a:gd name="connsiteY4" fmla="*/ 62609 h 62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0" h="62609">
                  <a:moveTo>
                    <a:pt x="0" y="62609"/>
                  </a:moveTo>
                  <a:lnTo>
                    <a:pt x="41230" y="0"/>
                  </a:lnTo>
                  <a:lnTo>
                    <a:pt x="82461" y="62609"/>
                  </a:lnTo>
                  <a:lnTo>
                    <a:pt x="0" y="62609"/>
                  </a:lnTo>
                  <a:lnTo>
                    <a:pt x="0" y="62609"/>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85" name="Freeform: Shape 84">
              <a:extLst>
                <a:ext uri="{FF2B5EF4-FFF2-40B4-BE49-F238E27FC236}">
                  <a16:creationId xmlns:a16="http://schemas.microsoft.com/office/drawing/2014/main" id="{D7B92CB7-7005-36CE-C870-34135C66030D}"/>
                </a:ext>
              </a:extLst>
            </p:cNvPr>
            <p:cNvSpPr/>
            <p:nvPr/>
          </p:nvSpPr>
          <p:spPr>
            <a:xfrm>
              <a:off x="6887720" y="3013675"/>
              <a:ext cx="82460" cy="61082"/>
            </a:xfrm>
            <a:custGeom>
              <a:avLst/>
              <a:gdLst>
                <a:gd name="connsiteX0" fmla="*/ 0 w 82460"/>
                <a:gd name="connsiteY0" fmla="*/ 61082 h 61082"/>
                <a:gd name="connsiteX1" fmla="*/ 41230 w 82460"/>
                <a:gd name="connsiteY1" fmla="*/ 0 h 61082"/>
                <a:gd name="connsiteX2" fmla="*/ 82461 w 82460"/>
                <a:gd name="connsiteY2" fmla="*/ 61082 h 61082"/>
                <a:gd name="connsiteX3" fmla="*/ 0 w 82460"/>
                <a:gd name="connsiteY3" fmla="*/ 61082 h 61082"/>
                <a:gd name="connsiteX4" fmla="*/ 0 w 82460"/>
                <a:gd name="connsiteY4" fmla="*/ 61082 h 6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0" h="61082">
                  <a:moveTo>
                    <a:pt x="0" y="61082"/>
                  </a:moveTo>
                  <a:lnTo>
                    <a:pt x="41230" y="0"/>
                  </a:lnTo>
                  <a:lnTo>
                    <a:pt x="82461" y="61082"/>
                  </a:lnTo>
                  <a:lnTo>
                    <a:pt x="0" y="61082"/>
                  </a:lnTo>
                  <a:lnTo>
                    <a:pt x="0" y="61082"/>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86" name="Freeform: Shape 85">
              <a:extLst>
                <a:ext uri="{FF2B5EF4-FFF2-40B4-BE49-F238E27FC236}">
                  <a16:creationId xmlns:a16="http://schemas.microsoft.com/office/drawing/2014/main" id="{7330F74D-FA72-326C-523C-3208022210F4}"/>
                </a:ext>
              </a:extLst>
            </p:cNvPr>
            <p:cNvSpPr/>
            <p:nvPr/>
          </p:nvSpPr>
          <p:spPr>
            <a:xfrm>
              <a:off x="7182950" y="3162743"/>
              <a:ext cx="82461" cy="62609"/>
            </a:xfrm>
            <a:custGeom>
              <a:avLst/>
              <a:gdLst>
                <a:gd name="connsiteX0" fmla="*/ 0 w 82461"/>
                <a:gd name="connsiteY0" fmla="*/ 62609 h 62609"/>
                <a:gd name="connsiteX1" fmla="*/ 41231 w 82461"/>
                <a:gd name="connsiteY1" fmla="*/ 0 h 62609"/>
                <a:gd name="connsiteX2" fmla="*/ 82461 w 82461"/>
                <a:gd name="connsiteY2" fmla="*/ 62609 h 62609"/>
                <a:gd name="connsiteX3" fmla="*/ 0 w 82461"/>
                <a:gd name="connsiteY3" fmla="*/ 62609 h 62609"/>
                <a:gd name="connsiteX4" fmla="*/ 0 w 82461"/>
                <a:gd name="connsiteY4" fmla="*/ 62609 h 62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1" h="62609">
                  <a:moveTo>
                    <a:pt x="0" y="62609"/>
                  </a:moveTo>
                  <a:lnTo>
                    <a:pt x="41231" y="0"/>
                  </a:lnTo>
                  <a:lnTo>
                    <a:pt x="82461" y="62609"/>
                  </a:lnTo>
                  <a:lnTo>
                    <a:pt x="0" y="62609"/>
                  </a:lnTo>
                  <a:lnTo>
                    <a:pt x="0" y="62609"/>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87" name="Freeform: Shape 86">
              <a:extLst>
                <a:ext uri="{FF2B5EF4-FFF2-40B4-BE49-F238E27FC236}">
                  <a16:creationId xmlns:a16="http://schemas.microsoft.com/office/drawing/2014/main" id="{54DCD47F-AF27-7A78-2A73-6F2D8E61BEBA}"/>
                </a:ext>
              </a:extLst>
            </p:cNvPr>
            <p:cNvSpPr/>
            <p:nvPr/>
          </p:nvSpPr>
          <p:spPr>
            <a:xfrm>
              <a:off x="7478308" y="3163507"/>
              <a:ext cx="82461" cy="61082"/>
            </a:xfrm>
            <a:custGeom>
              <a:avLst/>
              <a:gdLst>
                <a:gd name="connsiteX0" fmla="*/ 0 w 82461"/>
                <a:gd name="connsiteY0" fmla="*/ 61082 h 61082"/>
                <a:gd name="connsiteX1" fmla="*/ 41231 w 82461"/>
                <a:gd name="connsiteY1" fmla="*/ 0 h 61082"/>
                <a:gd name="connsiteX2" fmla="*/ 82461 w 82461"/>
                <a:gd name="connsiteY2" fmla="*/ 61082 h 61082"/>
                <a:gd name="connsiteX3" fmla="*/ 0 w 82461"/>
                <a:gd name="connsiteY3" fmla="*/ 61082 h 61082"/>
                <a:gd name="connsiteX4" fmla="*/ 0 w 82461"/>
                <a:gd name="connsiteY4" fmla="*/ 61082 h 6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1" h="61082">
                  <a:moveTo>
                    <a:pt x="0" y="61082"/>
                  </a:moveTo>
                  <a:lnTo>
                    <a:pt x="41231" y="0"/>
                  </a:lnTo>
                  <a:lnTo>
                    <a:pt x="82461" y="61082"/>
                  </a:lnTo>
                  <a:lnTo>
                    <a:pt x="0" y="61082"/>
                  </a:lnTo>
                  <a:lnTo>
                    <a:pt x="0" y="61082"/>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88" name="Freeform: Shape 87">
              <a:extLst>
                <a:ext uri="{FF2B5EF4-FFF2-40B4-BE49-F238E27FC236}">
                  <a16:creationId xmlns:a16="http://schemas.microsoft.com/office/drawing/2014/main" id="{1D1C5B73-DCC2-C0FF-7399-36863F368CDA}"/>
                </a:ext>
              </a:extLst>
            </p:cNvPr>
            <p:cNvSpPr/>
            <p:nvPr/>
          </p:nvSpPr>
          <p:spPr>
            <a:xfrm>
              <a:off x="7769467" y="3234043"/>
              <a:ext cx="82461" cy="62609"/>
            </a:xfrm>
            <a:custGeom>
              <a:avLst/>
              <a:gdLst>
                <a:gd name="connsiteX0" fmla="*/ 0 w 82461"/>
                <a:gd name="connsiteY0" fmla="*/ 62609 h 62609"/>
                <a:gd name="connsiteX1" fmla="*/ 41231 w 82461"/>
                <a:gd name="connsiteY1" fmla="*/ 0 h 62609"/>
                <a:gd name="connsiteX2" fmla="*/ 82461 w 82461"/>
                <a:gd name="connsiteY2" fmla="*/ 62609 h 62609"/>
                <a:gd name="connsiteX3" fmla="*/ 0 w 82461"/>
                <a:gd name="connsiteY3" fmla="*/ 62609 h 62609"/>
                <a:gd name="connsiteX4" fmla="*/ 0 w 82461"/>
                <a:gd name="connsiteY4" fmla="*/ 62609 h 62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1" h="62609">
                  <a:moveTo>
                    <a:pt x="0" y="62609"/>
                  </a:moveTo>
                  <a:lnTo>
                    <a:pt x="41231" y="0"/>
                  </a:lnTo>
                  <a:lnTo>
                    <a:pt x="82461" y="62609"/>
                  </a:lnTo>
                  <a:lnTo>
                    <a:pt x="0" y="62609"/>
                  </a:lnTo>
                  <a:lnTo>
                    <a:pt x="0" y="62609"/>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89" name="Freeform: Shape 88">
              <a:extLst>
                <a:ext uri="{FF2B5EF4-FFF2-40B4-BE49-F238E27FC236}">
                  <a16:creationId xmlns:a16="http://schemas.microsoft.com/office/drawing/2014/main" id="{73A006D4-0C00-1680-D8EC-EB082DFA3776}"/>
                </a:ext>
              </a:extLst>
            </p:cNvPr>
            <p:cNvSpPr/>
            <p:nvPr/>
          </p:nvSpPr>
          <p:spPr>
            <a:xfrm>
              <a:off x="5714050" y="2797469"/>
              <a:ext cx="82461" cy="61082"/>
            </a:xfrm>
            <a:custGeom>
              <a:avLst/>
              <a:gdLst>
                <a:gd name="connsiteX0" fmla="*/ 0 w 82461"/>
                <a:gd name="connsiteY0" fmla="*/ 61082 h 61082"/>
                <a:gd name="connsiteX1" fmla="*/ 41230 w 82461"/>
                <a:gd name="connsiteY1" fmla="*/ 0 h 61082"/>
                <a:gd name="connsiteX2" fmla="*/ 82461 w 82461"/>
                <a:gd name="connsiteY2" fmla="*/ 61082 h 61082"/>
                <a:gd name="connsiteX3" fmla="*/ 0 w 82461"/>
                <a:gd name="connsiteY3" fmla="*/ 61082 h 61082"/>
                <a:gd name="connsiteX4" fmla="*/ 0 w 82461"/>
                <a:gd name="connsiteY4" fmla="*/ 61082 h 6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1" h="61082">
                  <a:moveTo>
                    <a:pt x="0" y="61082"/>
                  </a:moveTo>
                  <a:lnTo>
                    <a:pt x="41230" y="0"/>
                  </a:lnTo>
                  <a:lnTo>
                    <a:pt x="82461" y="61082"/>
                  </a:lnTo>
                  <a:lnTo>
                    <a:pt x="0" y="61082"/>
                  </a:lnTo>
                  <a:lnTo>
                    <a:pt x="0" y="61082"/>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90" name="Freeform: Shape 89">
              <a:extLst>
                <a:ext uri="{FF2B5EF4-FFF2-40B4-BE49-F238E27FC236}">
                  <a16:creationId xmlns:a16="http://schemas.microsoft.com/office/drawing/2014/main" id="{CD81BB27-AB38-FE4F-451C-182B27E93F8A}"/>
                </a:ext>
              </a:extLst>
            </p:cNvPr>
            <p:cNvSpPr/>
            <p:nvPr/>
          </p:nvSpPr>
          <p:spPr>
            <a:xfrm>
              <a:off x="6005718" y="2908271"/>
              <a:ext cx="82460" cy="62609"/>
            </a:xfrm>
            <a:custGeom>
              <a:avLst/>
              <a:gdLst>
                <a:gd name="connsiteX0" fmla="*/ 0 w 82460"/>
                <a:gd name="connsiteY0" fmla="*/ 62609 h 62609"/>
                <a:gd name="connsiteX1" fmla="*/ 41230 w 82460"/>
                <a:gd name="connsiteY1" fmla="*/ 0 h 62609"/>
                <a:gd name="connsiteX2" fmla="*/ 82461 w 82460"/>
                <a:gd name="connsiteY2" fmla="*/ 62609 h 62609"/>
                <a:gd name="connsiteX3" fmla="*/ 0 w 82460"/>
                <a:gd name="connsiteY3" fmla="*/ 62609 h 62609"/>
                <a:gd name="connsiteX4" fmla="*/ 0 w 82460"/>
                <a:gd name="connsiteY4" fmla="*/ 62609 h 62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0" h="62609">
                  <a:moveTo>
                    <a:pt x="0" y="62609"/>
                  </a:moveTo>
                  <a:lnTo>
                    <a:pt x="41230" y="0"/>
                  </a:lnTo>
                  <a:lnTo>
                    <a:pt x="82461" y="62609"/>
                  </a:lnTo>
                  <a:lnTo>
                    <a:pt x="0" y="62609"/>
                  </a:lnTo>
                  <a:lnTo>
                    <a:pt x="0" y="62609"/>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91" name="Freeform: Shape 90">
              <a:extLst>
                <a:ext uri="{FF2B5EF4-FFF2-40B4-BE49-F238E27FC236}">
                  <a16:creationId xmlns:a16="http://schemas.microsoft.com/office/drawing/2014/main" id="{CD4966D9-AE6A-3D62-5FCC-B4AF64E23BB7}"/>
                </a:ext>
              </a:extLst>
            </p:cNvPr>
            <p:cNvSpPr/>
            <p:nvPr/>
          </p:nvSpPr>
          <p:spPr>
            <a:xfrm>
              <a:off x="6301076" y="3035053"/>
              <a:ext cx="82460" cy="61082"/>
            </a:xfrm>
            <a:custGeom>
              <a:avLst/>
              <a:gdLst>
                <a:gd name="connsiteX0" fmla="*/ 0 w 82460"/>
                <a:gd name="connsiteY0" fmla="*/ 61082 h 61082"/>
                <a:gd name="connsiteX1" fmla="*/ 41230 w 82460"/>
                <a:gd name="connsiteY1" fmla="*/ 0 h 61082"/>
                <a:gd name="connsiteX2" fmla="*/ 82461 w 82460"/>
                <a:gd name="connsiteY2" fmla="*/ 61082 h 61082"/>
                <a:gd name="connsiteX3" fmla="*/ 0 w 82460"/>
                <a:gd name="connsiteY3" fmla="*/ 61082 h 61082"/>
                <a:gd name="connsiteX4" fmla="*/ 0 w 82460"/>
                <a:gd name="connsiteY4" fmla="*/ 61082 h 6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0" h="61082">
                  <a:moveTo>
                    <a:pt x="0" y="61082"/>
                  </a:moveTo>
                  <a:lnTo>
                    <a:pt x="41230" y="0"/>
                  </a:lnTo>
                  <a:lnTo>
                    <a:pt x="82461" y="61082"/>
                  </a:lnTo>
                  <a:lnTo>
                    <a:pt x="0" y="61082"/>
                  </a:lnTo>
                  <a:lnTo>
                    <a:pt x="0" y="61082"/>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92" name="Freeform: Shape 91">
              <a:extLst>
                <a:ext uri="{FF2B5EF4-FFF2-40B4-BE49-F238E27FC236}">
                  <a16:creationId xmlns:a16="http://schemas.microsoft.com/office/drawing/2014/main" id="{52D7C982-0B8E-9F5D-3011-67765B4F0F6F}"/>
                </a:ext>
              </a:extLst>
            </p:cNvPr>
            <p:cNvSpPr/>
            <p:nvPr/>
          </p:nvSpPr>
          <p:spPr>
            <a:xfrm>
              <a:off x="6593252" y="2876384"/>
              <a:ext cx="82461" cy="62609"/>
            </a:xfrm>
            <a:custGeom>
              <a:avLst/>
              <a:gdLst>
                <a:gd name="connsiteX0" fmla="*/ 0 w 82461"/>
                <a:gd name="connsiteY0" fmla="*/ 62609 h 62609"/>
                <a:gd name="connsiteX1" fmla="*/ 41230 w 82461"/>
                <a:gd name="connsiteY1" fmla="*/ 0 h 62609"/>
                <a:gd name="connsiteX2" fmla="*/ 82461 w 82461"/>
                <a:gd name="connsiteY2" fmla="*/ 62609 h 62609"/>
                <a:gd name="connsiteX3" fmla="*/ 0 w 82461"/>
                <a:gd name="connsiteY3" fmla="*/ 62609 h 62609"/>
                <a:gd name="connsiteX4" fmla="*/ 0 w 82461"/>
                <a:gd name="connsiteY4" fmla="*/ 62609 h 62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1" h="62609">
                  <a:moveTo>
                    <a:pt x="0" y="62609"/>
                  </a:moveTo>
                  <a:lnTo>
                    <a:pt x="41230" y="0"/>
                  </a:lnTo>
                  <a:lnTo>
                    <a:pt x="82461" y="62609"/>
                  </a:lnTo>
                  <a:lnTo>
                    <a:pt x="0" y="62609"/>
                  </a:lnTo>
                  <a:lnTo>
                    <a:pt x="0" y="62609"/>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93" name="Freeform: Shape 92">
              <a:extLst>
                <a:ext uri="{FF2B5EF4-FFF2-40B4-BE49-F238E27FC236}">
                  <a16:creationId xmlns:a16="http://schemas.microsoft.com/office/drawing/2014/main" id="{D6C8BD9B-A425-A4D2-45B5-1B5DE91E6A7C}"/>
                </a:ext>
              </a:extLst>
            </p:cNvPr>
            <p:cNvSpPr/>
            <p:nvPr/>
          </p:nvSpPr>
          <p:spPr>
            <a:xfrm>
              <a:off x="4832175" y="2706428"/>
              <a:ext cx="82460" cy="61082"/>
            </a:xfrm>
            <a:custGeom>
              <a:avLst/>
              <a:gdLst>
                <a:gd name="connsiteX0" fmla="*/ 0 w 82460"/>
                <a:gd name="connsiteY0" fmla="*/ 61082 h 61082"/>
                <a:gd name="connsiteX1" fmla="*/ 41231 w 82460"/>
                <a:gd name="connsiteY1" fmla="*/ 0 h 61082"/>
                <a:gd name="connsiteX2" fmla="*/ 82461 w 82460"/>
                <a:gd name="connsiteY2" fmla="*/ 61082 h 61082"/>
                <a:gd name="connsiteX3" fmla="*/ 0 w 82460"/>
                <a:gd name="connsiteY3" fmla="*/ 61082 h 61082"/>
                <a:gd name="connsiteX4" fmla="*/ 0 w 82460"/>
                <a:gd name="connsiteY4" fmla="*/ 61082 h 6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0" h="61082">
                  <a:moveTo>
                    <a:pt x="0" y="61082"/>
                  </a:moveTo>
                  <a:lnTo>
                    <a:pt x="41231" y="0"/>
                  </a:lnTo>
                  <a:lnTo>
                    <a:pt x="82461" y="61082"/>
                  </a:lnTo>
                  <a:lnTo>
                    <a:pt x="0" y="61082"/>
                  </a:lnTo>
                  <a:lnTo>
                    <a:pt x="0" y="61082"/>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94" name="Freeform: Shape 93">
              <a:extLst>
                <a:ext uri="{FF2B5EF4-FFF2-40B4-BE49-F238E27FC236}">
                  <a16:creationId xmlns:a16="http://schemas.microsoft.com/office/drawing/2014/main" id="{9AC8AF4B-22A7-7E9D-9506-F62C812CA603}"/>
                </a:ext>
              </a:extLst>
            </p:cNvPr>
            <p:cNvSpPr/>
            <p:nvPr/>
          </p:nvSpPr>
          <p:spPr>
            <a:xfrm>
              <a:off x="5123970" y="2689738"/>
              <a:ext cx="82460" cy="62609"/>
            </a:xfrm>
            <a:custGeom>
              <a:avLst/>
              <a:gdLst>
                <a:gd name="connsiteX0" fmla="*/ 0 w 82460"/>
                <a:gd name="connsiteY0" fmla="*/ 62609 h 62609"/>
                <a:gd name="connsiteX1" fmla="*/ 41230 w 82460"/>
                <a:gd name="connsiteY1" fmla="*/ 0 h 62609"/>
                <a:gd name="connsiteX2" fmla="*/ 82461 w 82460"/>
                <a:gd name="connsiteY2" fmla="*/ 62609 h 62609"/>
                <a:gd name="connsiteX3" fmla="*/ 0 w 82460"/>
                <a:gd name="connsiteY3" fmla="*/ 62609 h 62609"/>
                <a:gd name="connsiteX4" fmla="*/ 0 w 82460"/>
                <a:gd name="connsiteY4" fmla="*/ 62609 h 62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0" h="62609">
                  <a:moveTo>
                    <a:pt x="0" y="62609"/>
                  </a:moveTo>
                  <a:lnTo>
                    <a:pt x="41230" y="0"/>
                  </a:lnTo>
                  <a:lnTo>
                    <a:pt x="82461" y="62609"/>
                  </a:lnTo>
                  <a:lnTo>
                    <a:pt x="0" y="62609"/>
                  </a:lnTo>
                  <a:lnTo>
                    <a:pt x="0" y="62609"/>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95" name="Freeform: Shape 94">
              <a:extLst>
                <a:ext uri="{FF2B5EF4-FFF2-40B4-BE49-F238E27FC236}">
                  <a16:creationId xmlns:a16="http://schemas.microsoft.com/office/drawing/2014/main" id="{DCFC88BB-CADD-62D7-4ED0-0D00459FF860}"/>
                </a:ext>
              </a:extLst>
            </p:cNvPr>
            <p:cNvSpPr/>
            <p:nvPr/>
          </p:nvSpPr>
          <p:spPr>
            <a:xfrm>
              <a:off x="5420092" y="2747585"/>
              <a:ext cx="82461" cy="61082"/>
            </a:xfrm>
            <a:custGeom>
              <a:avLst/>
              <a:gdLst>
                <a:gd name="connsiteX0" fmla="*/ 0 w 82461"/>
                <a:gd name="connsiteY0" fmla="*/ 61082 h 61082"/>
                <a:gd name="connsiteX1" fmla="*/ 41231 w 82461"/>
                <a:gd name="connsiteY1" fmla="*/ 0 h 61082"/>
                <a:gd name="connsiteX2" fmla="*/ 82461 w 82461"/>
                <a:gd name="connsiteY2" fmla="*/ 61082 h 61082"/>
                <a:gd name="connsiteX3" fmla="*/ 0 w 82461"/>
                <a:gd name="connsiteY3" fmla="*/ 61082 h 61082"/>
                <a:gd name="connsiteX4" fmla="*/ 0 w 82461"/>
                <a:gd name="connsiteY4" fmla="*/ 61082 h 6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1" h="61082">
                  <a:moveTo>
                    <a:pt x="0" y="61082"/>
                  </a:moveTo>
                  <a:lnTo>
                    <a:pt x="41231" y="0"/>
                  </a:lnTo>
                  <a:lnTo>
                    <a:pt x="82461" y="61082"/>
                  </a:lnTo>
                  <a:lnTo>
                    <a:pt x="0" y="61082"/>
                  </a:lnTo>
                  <a:lnTo>
                    <a:pt x="0" y="61082"/>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96" name="Freeform: Shape 95">
              <a:extLst>
                <a:ext uri="{FF2B5EF4-FFF2-40B4-BE49-F238E27FC236}">
                  <a16:creationId xmlns:a16="http://schemas.microsoft.com/office/drawing/2014/main" id="{E50075FD-16A5-CD8B-F61D-0F7398B5C96B}"/>
                </a:ext>
              </a:extLst>
            </p:cNvPr>
            <p:cNvSpPr/>
            <p:nvPr/>
          </p:nvSpPr>
          <p:spPr>
            <a:xfrm>
              <a:off x="3655324" y="2569502"/>
              <a:ext cx="82460" cy="61082"/>
            </a:xfrm>
            <a:custGeom>
              <a:avLst/>
              <a:gdLst>
                <a:gd name="connsiteX0" fmla="*/ 0 w 82460"/>
                <a:gd name="connsiteY0" fmla="*/ 61082 h 61082"/>
                <a:gd name="connsiteX1" fmla="*/ 41230 w 82460"/>
                <a:gd name="connsiteY1" fmla="*/ 0 h 61082"/>
                <a:gd name="connsiteX2" fmla="*/ 82461 w 82460"/>
                <a:gd name="connsiteY2" fmla="*/ 61082 h 61082"/>
                <a:gd name="connsiteX3" fmla="*/ 0 w 82460"/>
                <a:gd name="connsiteY3" fmla="*/ 61082 h 61082"/>
                <a:gd name="connsiteX4" fmla="*/ 0 w 82460"/>
                <a:gd name="connsiteY4" fmla="*/ 61082 h 6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0" h="61082">
                  <a:moveTo>
                    <a:pt x="0" y="61082"/>
                  </a:moveTo>
                  <a:lnTo>
                    <a:pt x="41230" y="0"/>
                  </a:lnTo>
                  <a:lnTo>
                    <a:pt x="82461" y="61082"/>
                  </a:lnTo>
                  <a:lnTo>
                    <a:pt x="0" y="61082"/>
                  </a:lnTo>
                  <a:lnTo>
                    <a:pt x="0" y="61082"/>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97" name="Freeform: Shape 96">
              <a:extLst>
                <a:ext uri="{FF2B5EF4-FFF2-40B4-BE49-F238E27FC236}">
                  <a16:creationId xmlns:a16="http://schemas.microsoft.com/office/drawing/2014/main" id="{B1026D25-7C1D-854D-6653-76126C41F9BF}"/>
                </a:ext>
              </a:extLst>
            </p:cNvPr>
            <p:cNvSpPr/>
            <p:nvPr/>
          </p:nvSpPr>
          <p:spPr>
            <a:xfrm>
              <a:off x="3950173" y="2617605"/>
              <a:ext cx="82460" cy="62609"/>
            </a:xfrm>
            <a:custGeom>
              <a:avLst/>
              <a:gdLst>
                <a:gd name="connsiteX0" fmla="*/ 0 w 82460"/>
                <a:gd name="connsiteY0" fmla="*/ 62609 h 62609"/>
                <a:gd name="connsiteX1" fmla="*/ 41231 w 82460"/>
                <a:gd name="connsiteY1" fmla="*/ 0 h 62609"/>
                <a:gd name="connsiteX2" fmla="*/ 82461 w 82460"/>
                <a:gd name="connsiteY2" fmla="*/ 62609 h 62609"/>
                <a:gd name="connsiteX3" fmla="*/ 0 w 82460"/>
                <a:gd name="connsiteY3" fmla="*/ 62609 h 62609"/>
                <a:gd name="connsiteX4" fmla="*/ 0 w 82460"/>
                <a:gd name="connsiteY4" fmla="*/ 62609 h 62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0" h="62609">
                  <a:moveTo>
                    <a:pt x="0" y="62609"/>
                  </a:moveTo>
                  <a:lnTo>
                    <a:pt x="41231" y="0"/>
                  </a:lnTo>
                  <a:lnTo>
                    <a:pt x="82461" y="62609"/>
                  </a:lnTo>
                  <a:lnTo>
                    <a:pt x="0" y="62609"/>
                  </a:lnTo>
                  <a:lnTo>
                    <a:pt x="0" y="62609"/>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98" name="Freeform: Shape 97">
              <a:extLst>
                <a:ext uri="{FF2B5EF4-FFF2-40B4-BE49-F238E27FC236}">
                  <a16:creationId xmlns:a16="http://schemas.microsoft.com/office/drawing/2014/main" id="{E3EA2599-8A6B-EB41-2B2B-6AC3193AC2F5}"/>
                </a:ext>
              </a:extLst>
            </p:cNvPr>
            <p:cNvSpPr/>
            <p:nvPr/>
          </p:nvSpPr>
          <p:spPr>
            <a:xfrm>
              <a:off x="4244386" y="2538961"/>
              <a:ext cx="82461" cy="61082"/>
            </a:xfrm>
            <a:custGeom>
              <a:avLst/>
              <a:gdLst>
                <a:gd name="connsiteX0" fmla="*/ 0 w 82461"/>
                <a:gd name="connsiteY0" fmla="*/ 61082 h 61082"/>
                <a:gd name="connsiteX1" fmla="*/ 41231 w 82461"/>
                <a:gd name="connsiteY1" fmla="*/ 0 h 61082"/>
                <a:gd name="connsiteX2" fmla="*/ 82461 w 82461"/>
                <a:gd name="connsiteY2" fmla="*/ 61082 h 61082"/>
                <a:gd name="connsiteX3" fmla="*/ 0 w 82461"/>
                <a:gd name="connsiteY3" fmla="*/ 61082 h 61082"/>
                <a:gd name="connsiteX4" fmla="*/ 0 w 82461"/>
                <a:gd name="connsiteY4" fmla="*/ 61082 h 6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1" h="61082">
                  <a:moveTo>
                    <a:pt x="0" y="61082"/>
                  </a:moveTo>
                  <a:lnTo>
                    <a:pt x="41231" y="0"/>
                  </a:lnTo>
                  <a:lnTo>
                    <a:pt x="82461" y="61082"/>
                  </a:lnTo>
                  <a:lnTo>
                    <a:pt x="0" y="61082"/>
                  </a:lnTo>
                  <a:lnTo>
                    <a:pt x="0" y="61082"/>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99" name="Freeform: Shape 98">
              <a:extLst>
                <a:ext uri="{FF2B5EF4-FFF2-40B4-BE49-F238E27FC236}">
                  <a16:creationId xmlns:a16="http://schemas.microsoft.com/office/drawing/2014/main" id="{A75FB2B1-3EA4-CC1C-418A-562381F22C4A}"/>
                </a:ext>
              </a:extLst>
            </p:cNvPr>
            <p:cNvSpPr/>
            <p:nvPr/>
          </p:nvSpPr>
          <p:spPr>
            <a:xfrm>
              <a:off x="4537453" y="2680214"/>
              <a:ext cx="82461" cy="62609"/>
            </a:xfrm>
            <a:custGeom>
              <a:avLst/>
              <a:gdLst>
                <a:gd name="connsiteX0" fmla="*/ 0 w 82461"/>
                <a:gd name="connsiteY0" fmla="*/ 62609 h 62609"/>
                <a:gd name="connsiteX1" fmla="*/ 41231 w 82461"/>
                <a:gd name="connsiteY1" fmla="*/ 0 h 62609"/>
                <a:gd name="connsiteX2" fmla="*/ 82461 w 82461"/>
                <a:gd name="connsiteY2" fmla="*/ 62609 h 62609"/>
                <a:gd name="connsiteX3" fmla="*/ 0 w 82461"/>
                <a:gd name="connsiteY3" fmla="*/ 62609 h 62609"/>
                <a:gd name="connsiteX4" fmla="*/ 0 w 82461"/>
                <a:gd name="connsiteY4" fmla="*/ 62609 h 62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1" h="62609">
                  <a:moveTo>
                    <a:pt x="0" y="62609"/>
                  </a:moveTo>
                  <a:lnTo>
                    <a:pt x="41231" y="0"/>
                  </a:lnTo>
                  <a:lnTo>
                    <a:pt x="82461" y="62609"/>
                  </a:lnTo>
                  <a:lnTo>
                    <a:pt x="0" y="62609"/>
                  </a:lnTo>
                  <a:lnTo>
                    <a:pt x="0" y="62609"/>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00" name="Freeform: Shape 99">
              <a:extLst>
                <a:ext uri="{FF2B5EF4-FFF2-40B4-BE49-F238E27FC236}">
                  <a16:creationId xmlns:a16="http://schemas.microsoft.com/office/drawing/2014/main" id="{EC7A23B9-65A7-63FA-07DF-6738042AD37E}"/>
                </a:ext>
              </a:extLst>
            </p:cNvPr>
            <p:cNvSpPr/>
            <p:nvPr/>
          </p:nvSpPr>
          <p:spPr>
            <a:xfrm>
              <a:off x="2774849" y="2244749"/>
              <a:ext cx="82461" cy="61082"/>
            </a:xfrm>
            <a:custGeom>
              <a:avLst/>
              <a:gdLst>
                <a:gd name="connsiteX0" fmla="*/ 0 w 82461"/>
                <a:gd name="connsiteY0" fmla="*/ 61082 h 61082"/>
                <a:gd name="connsiteX1" fmla="*/ 41231 w 82461"/>
                <a:gd name="connsiteY1" fmla="*/ 0 h 61082"/>
                <a:gd name="connsiteX2" fmla="*/ 82461 w 82461"/>
                <a:gd name="connsiteY2" fmla="*/ 61082 h 61082"/>
                <a:gd name="connsiteX3" fmla="*/ 0 w 82461"/>
                <a:gd name="connsiteY3" fmla="*/ 61082 h 61082"/>
                <a:gd name="connsiteX4" fmla="*/ 0 w 82461"/>
                <a:gd name="connsiteY4" fmla="*/ 61082 h 6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1" h="61082">
                  <a:moveTo>
                    <a:pt x="0" y="61082"/>
                  </a:moveTo>
                  <a:lnTo>
                    <a:pt x="41231" y="0"/>
                  </a:lnTo>
                  <a:lnTo>
                    <a:pt x="82461" y="61082"/>
                  </a:lnTo>
                  <a:lnTo>
                    <a:pt x="0" y="61082"/>
                  </a:lnTo>
                  <a:lnTo>
                    <a:pt x="0" y="61082"/>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01" name="Freeform: Shape 100">
              <a:extLst>
                <a:ext uri="{FF2B5EF4-FFF2-40B4-BE49-F238E27FC236}">
                  <a16:creationId xmlns:a16="http://schemas.microsoft.com/office/drawing/2014/main" id="{3153139F-6F63-9CAD-E412-58923A3CD88F}"/>
                </a:ext>
              </a:extLst>
            </p:cNvPr>
            <p:cNvSpPr/>
            <p:nvPr/>
          </p:nvSpPr>
          <p:spPr>
            <a:xfrm>
              <a:off x="3067153" y="2393128"/>
              <a:ext cx="82460" cy="62609"/>
            </a:xfrm>
            <a:custGeom>
              <a:avLst/>
              <a:gdLst>
                <a:gd name="connsiteX0" fmla="*/ 0 w 82460"/>
                <a:gd name="connsiteY0" fmla="*/ 62609 h 62609"/>
                <a:gd name="connsiteX1" fmla="*/ 41230 w 82460"/>
                <a:gd name="connsiteY1" fmla="*/ 0 h 62609"/>
                <a:gd name="connsiteX2" fmla="*/ 82461 w 82460"/>
                <a:gd name="connsiteY2" fmla="*/ 62609 h 62609"/>
                <a:gd name="connsiteX3" fmla="*/ 0 w 82460"/>
                <a:gd name="connsiteY3" fmla="*/ 62609 h 62609"/>
                <a:gd name="connsiteX4" fmla="*/ 0 w 82460"/>
                <a:gd name="connsiteY4" fmla="*/ 62609 h 62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0" h="62609">
                  <a:moveTo>
                    <a:pt x="0" y="62609"/>
                  </a:moveTo>
                  <a:lnTo>
                    <a:pt x="41230" y="0"/>
                  </a:lnTo>
                  <a:lnTo>
                    <a:pt x="82461" y="62609"/>
                  </a:lnTo>
                  <a:lnTo>
                    <a:pt x="0" y="62609"/>
                  </a:lnTo>
                  <a:lnTo>
                    <a:pt x="0" y="62609"/>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02" name="Freeform: Shape 101">
              <a:extLst>
                <a:ext uri="{FF2B5EF4-FFF2-40B4-BE49-F238E27FC236}">
                  <a16:creationId xmlns:a16="http://schemas.microsoft.com/office/drawing/2014/main" id="{234E3A28-8CE0-8476-7D6E-C4676B24E68D}"/>
                </a:ext>
              </a:extLst>
            </p:cNvPr>
            <p:cNvSpPr/>
            <p:nvPr/>
          </p:nvSpPr>
          <p:spPr>
            <a:xfrm>
              <a:off x="3361366" y="2471516"/>
              <a:ext cx="82461" cy="61082"/>
            </a:xfrm>
            <a:custGeom>
              <a:avLst/>
              <a:gdLst>
                <a:gd name="connsiteX0" fmla="*/ 0 w 82461"/>
                <a:gd name="connsiteY0" fmla="*/ 61082 h 61082"/>
                <a:gd name="connsiteX1" fmla="*/ 41231 w 82461"/>
                <a:gd name="connsiteY1" fmla="*/ 0 h 61082"/>
                <a:gd name="connsiteX2" fmla="*/ 82461 w 82461"/>
                <a:gd name="connsiteY2" fmla="*/ 61082 h 61082"/>
                <a:gd name="connsiteX3" fmla="*/ 0 w 82461"/>
                <a:gd name="connsiteY3" fmla="*/ 61082 h 61082"/>
                <a:gd name="connsiteX4" fmla="*/ 0 w 82461"/>
                <a:gd name="connsiteY4" fmla="*/ 61082 h 61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1" h="61082">
                  <a:moveTo>
                    <a:pt x="0" y="61082"/>
                  </a:moveTo>
                  <a:lnTo>
                    <a:pt x="41231" y="0"/>
                  </a:lnTo>
                  <a:lnTo>
                    <a:pt x="82461" y="61082"/>
                  </a:lnTo>
                  <a:lnTo>
                    <a:pt x="0" y="61082"/>
                  </a:lnTo>
                  <a:lnTo>
                    <a:pt x="0" y="61082"/>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03" name="Freeform: Shape 102">
              <a:extLst>
                <a:ext uri="{FF2B5EF4-FFF2-40B4-BE49-F238E27FC236}">
                  <a16:creationId xmlns:a16="http://schemas.microsoft.com/office/drawing/2014/main" id="{428ECC69-5126-CBDE-219F-B9D6EA16A508}"/>
                </a:ext>
              </a:extLst>
            </p:cNvPr>
            <p:cNvSpPr/>
            <p:nvPr/>
          </p:nvSpPr>
          <p:spPr>
            <a:xfrm>
              <a:off x="2478601" y="2191047"/>
              <a:ext cx="82461" cy="62609"/>
            </a:xfrm>
            <a:custGeom>
              <a:avLst/>
              <a:gdLst>
                <a:gd name="connsiteX0" fmla="*/ 0 w 82461"/>
                <a:gd name="connsiteY0" fmla="*/ 62609 h 62609"/>
                <a:gd name="connsiteX1" fmla="*/ 41230 w 82461"/>
                <a:gd name="connsiteY1" fmla="*/ 0 h 62609"/>
                <a:gd name="connsiteX2" fmla="*/ 82461 w 82461"/>
                <a:gd name="connsiteY2" fmla="*/ 62609 h 62609"/>
                <a:gd name="connsiteX3" fmla="*/ 0 w 82461"/>
                <a:gd name="connsiteY3" fmla="*/ 62609 h 62609"/>
                <a:gd name="connsiteX4" fmla="*/ 0 w 82461"/>
                <a:gd name="connsiteY4" fmla="*/ 62609 h 62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61" h="62609">
                  <a:moveTo>
                    <a:pt x="0" y="62609"/>
                  </a:moveTo>
                  <a:lnTo>
                    <a:pt x="41230" y="0"/>
                  </a:lnTo>
                  <a:lnTo>
                    <a:pt x="82461" y="62609"/>
                  </a:lnTo>
                  <a:lnTo>
                    <a:pt x="0" y="62609"/>
                  </a:lnTo>
                  <a:lnTo>
                    <a:pt x="0" y="62609"/>
                  </a:lnTo>
                  <a:close/>
                </a:path>
              </a:pathLst>
            </a:custGeom>
            <a:solidFill>
              <a:srgbClr val="6E1E50"/>
            </a:solid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nvGrpSpPr>
            <p:cNvPr id="104" name="Graphic 325">
              <a:extLst>
                <a:ext uri="{FF2B5EF4-FFF2-40B4-BE49-F238E27FC236}">
                  <a16:creationId xmlns:a16="http://schemas.microsoft.com/office/drawing/2014/main" id="{8E1534FA-7627-5F56-344A-2AA4B41AE362}"/>
                </a:ext>
              </a:extLst>
            </p:cNvPr>
            <p:cNvGrpSpPr/>
            <p:nvPr/>
          </p:nvGrpSpPr>
          <p:grpSpPr>
            <a:xfrm>
              <a:off x="10095300" y="3042106"/>
              <a:ext cx="129672" cy="1135001"/>
              <a:chOff x="10387944" y="3390302"/>
              <a:chExt cx="129672" cy="1135001"/>
            </a:xfrm>
            <a:noFill/>
          </p:grpSpPr>
          <p:sp>
            <p:nvSpPr>
              <p:cNvPr id="350" name="Freeform: Shape 349">
                <a:extLst>
                  <a:ext uri="{FF2B5EF4-FFF2-40B4-BE49-F238E27FC236}">
                    <a16:creationId xmlns:a16="http://schemas.microsoft.com/office/drawing/2014/main" id="{BCB069C2-83C4-A07F-929B-119E2263FA21}"/>
                  </a:ext>
                </a:extLst>
              </p:cNvPr>
              <p:cNvSpPr/>
              <p:nvPr/>
            </p:nvSpPr>
            <p:spPr>
              <a:xfrm>
                <a:off x="10452716" y="3392756"/>
                <a:ext cx="45719" cy="1118289"/>
              </a:xfrm>
              <a:custGeom>
                <a:avLst/>
                <a:gdLst>
                  <a:gd name="connsiteX0" fmla="*/ 0 w 12725"/>
                  <a:gd name="connsiteY0" fmla="*/ 0 h 1110296"/>
                  <a:gd name="connsiteX1" fmla="*/ 0 w 12725"/>
                  <a:gd name="connsiteY1" fmla="*/ 1110297 h 1110296"/>
                </a:gdLst>
                <a:ahLst/>
                <a:cxnLst>
                  <a:cxn ang="0">
                    <a:pos x="connsiteX0" y="connsiteY0"/>
                  </a:cxn>
                  <a:cxn ang="0">
                    <a:pos x="connsiteX1" y="connsiteY1"/>
                  </a:cxn>
                </a:cxnLst>
                <a:rect l="l" t="t" r="r" b="b"/>
                <a:pathLst>
                  <a:path w="12725" h="1110296">
                    <a:moveTo>
                      <a:pt x="0" y="0"/>
                    </a:moveTo>
                    <a:lnTo>
                      <a:pt x="0" y="1110297"/>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51" name="Freeform: Shape 350">
                <a:extLst>
                  <a:ext uri="{FF2B5EF4-FFF2-40B4-BE49-F238E27FC236}">
                    <a16:creationId xmlns:a16="http://schemas.microsoft.com/office/drawing/2014/main" id="{18F76873-CA1B-BC52-BDDD-A7F9D6979E60}"/>
                  </a:ext>
                </a:extLst>
              </p:cNvPr>
              <p:cNvSpPr/>
              <p:nvPr/>
            </p:nvSpPr>
            <p:spPr>
              <a:xfrm>
                <a:off x="10387944" y="3390302"/>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52" name="Freeform: Shape 351">
                <a:extLst>
                  <a:ext uri="{FF2B5EF4-FFF2-40B4-BE49-F238E27FC236}">
                    <a16:creationId xmlns:a16="http://schemas.microsoft.com/office/drawing/2014/main" id="{4DADAD79-CFA4-887E-D2FF-2526745F6CCE}"/>
                  </a:ext>
                </a:extLst>
              </p:cNvPr>
              <p:cNvSpPr/>
              <p:nvPr/>
            </p:nvSpPr>
            <p:spPr>
              <a:xfrm>
                <a:off x="10387944" y="4512578"/>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05" name="Graphic 325">
              <a:extLst>
                <a:ext uri="{FF2B5EF4-FFF2-40B4-BE49-F238E27FC236}">
                  <a16:creationId xmlns:a16="http://schemas.microsoft.com/office/drawing/2014/main" id="{5AF98800-F24F-E750-7782-01FA47E678CC}"/>
                </a:ext>
              </a:extLst>
            </p:cNvPr>
            <p:cNvGrpSpPr/>
            <p:nvPr/>
          </p:nvGrpSpPr>
          <p:grpSpPr>
            <a:xfrm>
              <a:off x="9800706" y="3187649"/>
              <a:ext cx="129545" cy="927595"/>
              <a:chOff x="10093350" y="3535845"/>
              <a:chExt cx="129545" cy="927595"/>
            </a:xfrm>
            <a:noFill/>
          </p:grpSpPr>
          <p:sp>
            <p:nvSpPr>
              <p:cNvPr id="347" name="Freeform: Shape 346">
                <a:extLst>
                  <a:ext uri="{FF2B5EF4-FFF2-40B4-BE49-F238E27FC236}">
                    <a16:creationId xmlns:a16="http://schemas.microsoft.com/office/drawing/2014/main" id="{D366E06C-63C9-C6D7-C5E7-78771CF6A6F3}"/>
                  </a:ext>
                </a:extLst>
              </p:cNvPr>
              <p:cNvSpPr/>
              <p:nvPr/>
            </p:nvSpPr>
            <p:spPr>
              <a:xfrm>
                <a:off x="10158122" y="3537408"/>
                <a:ext cx="12725" cy="913179"/>
              </a:xfrm>
              <a:custGeom>
                <a:avLst/>
                <a:gdLst>
                  <a:gd name="connsiteX0" fmla="*/ 0 w 12725"/>
                  <a:gd name="connsiteY0" fmla="*/ 0 h 913179"/>
                  <a:gd name="connsiteX1" fmla="*/ 0 w 12725"/>
                  <a:gd name="connsiteY1" fmla="*/ 913179 h 913179"/>
                </a:gdLst>
                <a:ahLst/>
                <a:cxnLst>
                  <a:cxn ang="0">
                    <a:pos x="connsiteX0" y="connsiteY0"/>
                  </a:cxn>
                  <a:cxn ang="0">
                    <a:pos x="connsiteX1" y="connsiteY1"/>
                  </a:cxn>
                </a:cxnLst>
                <a:rect l="l" t="t" r="r" b="b"/>
                <a:pathLst>
                  <a:path w="12725" h="913179">
                    <a:moveTo>
                      <a:pt x="0" y="0"/>
                    </a:moveTo>
                    <a:lnTo>
                      <a:pt x="0" y="913179"/>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48" name="Freeform: Shape 347">
                <a:extLst>
                  <a:ext uri="{FF2B5EF4-FFF2-40B4-BE49-F238E27FC236}">
                    <a16:creationId xmlns:a16="http://schemas.microsoft.com/office/drawing/2014/main" id="{AB882404-A35F-31CD-ADD0-21FC65076A8D}"/>
                  </a:ext>
                </a:extLst>
              </p:cNvPr>
              <p:cNvSpPr/>
              <p:nvPr/>
            </p:nvSpPr>
            <p:spPr>
              <a:xfrm>
                <a:off x="10093350" y="3535845"/>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49" name="Freeform: Shape 348">
                <a:extLst>
                  <a:ext uri="{FF2B5EF4-FFF2-40B4-BE49-F238E27FC236}">
                    <a16:creationId xmlns:a16="http://schemas.microsoft.com/office/drawing/2014/main" id="{F6FB0204-5806-6861-6310-F479CB161033}"/>
                  </a:ext>
                </a:extLst>
              </p:cNvPr>
              <p:cNvSpPr/>
              <p:nvPr/>
            </p:nvSpPr>
            <p:spPr>
              <a:xfrm>
                <a:off x="10093350" y="4450715"/>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06" name="Graphic 325">
              <a:extLst>
                <a:ext uri="{FF2B5EF4-FFF2-40B4-BE49-F238E27FC236}">
                  <a16:creationId xmlns:a16="http://schemas.microsoft.com/office/drawing/2014/main" id="{32778374-32E8-4AAF-238C-2904A98B74D5}"/>
                </a:ext>
              </a:extLst>
            </p:cNvPr>
            <p:cNvGrpSpPr/>
            <p:nvPr/>
          </p:nvGrpSpPr>
          <p:grpSpPr>
            <a:xfrm>
              <a:off x="9506875" y="3267729"/>
              <a:ext cx="129672" cy="902235"/>
              <a:chOff x="9799519" y="3615925"/>
              <a:chExt cx="129672" cy="902235"/>
            </a:xfrm>
            <a:noFill/>
          </p:grpSpPr>
          <p:sp>
            <p:nvSpPr>
              <p:cNvPr id="344" name="Freeform: Shape 343">
                <a:extLst>
                  <a:ext uri="{FF2B5EF4-FFF2-40B4-BE49-F238E27FC236}">
                    <a16:creationId xmlns:a16="http://schemas.microsoft.com/office/drawing/2014/main" id="{00BD795E-7A32-614C-D7D2-3745F83B915E}"/>
                  </a:ext>
                </a:extLst>
              </p:cNvPr>
              <p:cNvSpPr/>
              <p:nvPr/>
            </p:nvSpPr>
            <p:spPr>
              <a:xfrm>
                <a:off x="9864291" y="3619742"/>
                <a:ext cx="12725" cy="885692"/>
              </a:xfrm>
              <a:custGeom>
                <a:avLst/>
                <a:gdLst>
                  <a:gd name="connsiteX0" fmla="*/ 0 w 12725"/>
                  <a:gd name="connsiteY0" fmla="*/ 0 h 885692"/>
                  <a:gd name="connsiteX1" fmla="*/ 0 w 12725"/>
                  <a:gd name="connsiteY1" fmla="*/ 885692 h 885692"/>
                </a:gdLst>
                <a:ahLst/>
                <a:cxnLst>
                  <a:cxn ang="0">
                    <a:pos x="connsiteX0" y="connsiteY0"/>
                  </a:cxn>
                  <a:cxn ang="0">
                    <a:pos x="connsiteX1" y="connsiteY1"/>
                  </a:cxn>
                </a:cxnLst>
                <a:rect l="l" t="t" r="r" b="b"/>
                <a:pathLst>
                  <a:path w="12725" h="885692">
                    <a:moveTo>
                      <a:pt x="0" y="0"/>
                    </a:moveTo>
                    <a:lnTo>
                      <a:pt x="0" y="885692"/>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45" name="Freeform: Shape 344">
                <a:extLst>
                  <a:ext uri="{FF2B5EF4-FFF2-40B4-BE49-F238E27FC236}">
                    <a16:creationId xmlns:a16="http://schemas.microsoft.com/office/drawing/2014/main" id="{A77D53C5-4A37-0AB5-334E-99DDE948C49D}"/>
                  </a:ext>
                </a:extLst>
              </p:cNvPr>
              <p:cNvSpPr/>
              <p:nvPr/>
            </p:nvSpPr>
            <p:spPr>
              <a:xfrm>
                <a:off x="9799519" y="3615925"/>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46" name="Freeform: Shape 345">
                <a:extLst>
                  <a:ext uri="{FF2B5EF4-FFF2-40B4-BE49-F238E27FC236}">
                    <a16:creationId xmlns:a16="http://schemas.microsoft.com/office/drawing/2014/main" id="{8A38746D-C7B0-CA61-4DCF-80AF07E1407C}"/>
                  </a:ext>
                </a:extLst>
              </p:cNvPr>
              <p:cNvSpPr/>
              <p:nvPr/>
            </p:nvSpPr>
            <p:spPr>
              <a:xfrm>
                <a:off x="9799519" y="4505435"/>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07" name="Graphic 325">
              <a:extLst>
                <a:ext uri="{FF2B5EF4-FFF2-40B4-BE49-F238E27FC236}">
                  <a16:creationId xmlns:a16="http://schemas.microsoft.com/office/drawing/2014/main" id="{E7AF2519-6B19-8D24-67DC-ADB7AC7D4AB8}"/>
                </a:ext>
              </a:extLst>
            </p:cNvPr>
            <p:cNvGrpSpPr/>
            <p:nvPr/>
          </p:nvGrpSpPr>
          <p:grpSpPr>
            <a:xfrm>
              <a:off x="9215589" y="3215354"/>
              <a:ext cx="129672" cy="825628"/>
              <a:chOff x="9508233" y="3563550"/>
              <a:chExt cx="129672" cy="825628"/>
            </a:xfrm>
            <a:noFill/>
          </p:grpSpPr>
          <p:sp>
            <p:nvSpPr>
              <p:cNvPr id="341" name="Freeform: Shape 340">
                <a:extLst>
                  <a:ext uri="{FF2B5EF4-FFF2-40B4-BE49-F238E27FC236}">
                    <a16:creationId xmlns:a16="http://schemas.microsoft.com/office/drawing/2014/main" id="{1112D136-88A2-3DC1-9604-B3E2C927D334}"/>
                  </a:ext>
                </a:extLst>
              </p:cNvPr>
              <p:cNvSpPr/>
              <p:nvPr/>
            </p:nvSpPr>
            <p:spPr>
              <a:xfrm>
                <a:off x="9573132" y="3567113"/>
                <a:ext cx="12725" cy="809339"/>
              </a:xfrm>
              <a:custGeom>
                <a:avLst/>
                <a:gdLst>
                  <a:gd name="connsiteX0" fmla="*/ 0 w 12725"/>
                  <a:gd name="connsiteY0" fmla="*/ 0 h 809339"/>
                  <a:gd name="connsiteX1" fmla="*/ 0 w 12725"/>
                  <a:gd name="connsiteY1" fmla="*/ 809339 h 809339"/>
                </a:gdLst>
                <a:ahLst/>
                <a:cxnLst>
                  <a:cxn ang="0">
                    <a:pos x="connsiteX0" y="connsiteY0"/>
                  </a:cxn>
                  <a:cxn ang="0">
                    <a:pos x="connsiteX1" y="connsiteY1"/>
                  </a:cxn>
                </a:cxnLst>
                <a:rect l="l" t="t" r="r" b="b"/>
                <a:pathLst>
                  <a:path w="12725" h="809339">
                    <a:moveTo>
                      <a:pt x="0" y="0"/>
                    </a:moveTo>
                    <a:lnTo>
                      <a:pt x="0" y="809339"/>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42" name="Freeform: Shape 341">
                <a:extLst>
                  <a:ext uri="{FF2B5EF4-FFF2-40B4-BE49-F238E27FC236}">
                    <a16:creationId xmlns:a16="http://schemas.microsoft.com/office/drawing/2014/main" id="{D89B04C7-2E95-C74C-6D5F-805EC0BE997C}"/>
                  </a:ext>
                </a:extLst>
              </p:cNvPr>
              <p:cNvSpPr/>
              <p:nvPr/>
            </p:nvSpPr>
            <p:spPr>
              <a:xfrm>
                <a:off x="9508233" y="3563550"/>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43" name="Freeform: Shape 342">
                <a:extLst>
                  <a:ext uri="{FF2B5EF4-FFF2-40B4-BE49-F238E27FC236}">
                    <a16:creationId xmlns:a16="http://schemas.microsoft.com/office/drawing/2014/main" id="{17D7104F-3BAA-6995-CFED-FCD9349A58E5}"/>
                  </a:ext>
                </a:extLst>
              </p:cNvPr>
              <p:cNvSpPr/>
              <p:nvPr/>
            </p:nvSpPr>
            <p:spPr>
              <a:xfrm>
                <a:off x="9508233" y="4376453"/>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08" name="Graphic 325">
              <a:extLst>
                <a:ext uri="{FF2B5EF4-FFF2-40B4-BE49-F238E27FC236}">
                  <a16:creationId xmlns:a16="http://schemas.microsoft.com/office/drawing/2014/main" id="{21C1160F-CD61-A70B-DBBE-A73E79C14418}"/>
                </a:ext>
              </a:extLst>
            </p:cNvPr>
            <p:cNvGrpSpPr/>
            <p:nvPr/>
          </p:nvGrpSpPr>
          <p:grpSpPr>
            <a:xfrm>
              <a:off x="8922394" y="3151344"/>
              <a:ext cx="129545" cy="789106"/>
              <a:chOff x="9215038" y="3499540"/>
              <a:chExt cx="129545" cy="789106"/>
            </a:xfrm>
            <a:noFill/>
          </p:grpSpPr>
          <p:sp>
            <p:nvSpPr>
              <p:cNvPr id="338" name="Freeform: Shape 337">
                <a:extLst>
                  <a:ext uri="{FF2B5EF4-FFF2-40B4-BE49-F238E27FC236}">
                    <a16:creationId xmlns:a16="http://schemas.microsoft.com/office/drawing/2014/main" id="{59C77051-A047-946B-0ED1-80697476E0D4}"/>
                  </a:ext>
                </a:extLst>
              </p:cNvPr>
              <p:cNvSpPr/>
              <p:nvPr/>
            </p:nvSpPr>
            <p:spPr>
              <a:xfrm>
                <a:off x="9279811" y="3500468"/>
                <a:ext cx="12725" cy="773071"/>
              </a:xfrm>
              <a:custGeom>
                <a:avLst/>
                <a:gdLst>
                  <a:gd name="connsiteX0" fmla="*/ 0 w 12725"/>
                  <a:gd name="connsiteY0" fmla="*/ 0 h 773071"/>
                  <a:gd name="connsiteX1" fmla="*/ 0 w 12725"/>
                  <a:gd name="connsiteY1" fmla="*/ 773072 h 773071"/>
                </a:gdLst>
                <a:ahLst/>
                <a:cxnLst>
                  <a:cxn ang="0">
                    <a:pos x="connsiteX0" y="connsiteY0"/>
                  </a:cxn>
                  <a:cxn ang="0">
                    <a:pos x="connsiteX1" y="connsiteY1"/>
                  </a:cxn>
                </a:cxnLst>
                <a:rect l="l" t="t" r="r" b="b"/>
                <a:pathLst>
                  <a:path w="12725" h="773071">
                    <a:moveTo>
                      <a:pt x="0" y="0"/>
                    </a:moveTo>
                    <a:lnTo>
                      <a:pt x="0" y="773072"/>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39" name="Freeform: Shape 338">
                <a:extLst>
                  <a:ext uri="{FF2B5EF4-FFF2-40B4-BE49-F238E27FC236}">
                    <a16:creationId xmlns:a16="http://schemas.microsoft.com/office/drawing/2014/main" id="{DC93B36F-4E01-CB68-75DE-37550740C0F4}"/>
                  </a:ext>
                </a:extLst>
              </p:cNvPr>
              <p:cNvSpPr/>
              <p:nvPr/>
            </p:nvSpPr>
            <p:spPr>
              <a:xfrm>
                <a:off x="9215038" y="3499540"/>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40" name="Freeform: Shape 339">
                <a:extLst>
                  <a:ext uri="{FF2B5EF4-FFF2-40B4-BE49-F238E27FC236}">
                    <a16:creationId xmlns:a16="http://schemas.microsoft.com/office/drawing/2014/main" id="{F9165652-7DF6-1809-5D74-B0C770DA038E}"/>
                  </a:ext>
                </a:extLst>
              </p:cNvPr>
              <p:cNvSpPr/>
              <p:nvPr/>
            </p:nvSpPr>
            <p:spPr>
              <a:xfrm>
                <a:off x="9215038" y="4275921"/>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09" name="Graphic 325">
              <a:extLst>
                <a:ext uri="{FF2B5EF4-FFF2-40B4-BE49-F238E27FC236}">
                  <a16:creationId xmlns:a16="http://schemas.microsoft.com/office/drawing/2014/main" id="{48C8C64B-9CF1-B36C-A954-10A4EC0197EA}"/>
                </a:ext>
              </a:extLst>
            </p:cNvPr>
            <p:cNvGrpSpPr/>
            <p:nvPr/>
          </p:nvGrpSpPr>
          <p:grpSpPr>
            <a:xfrm>
              <a:off x="8627036" y="3037344"/>
              <a:ext cx="129672" cy="766779"/>
              <a:chOff x="8919680" y="3385540"/>
              <a:chExt cx="129672" cy="766779"/>
            </a:xfrm>
            <a:noFill/>
          </p:grpSpPr>
          <p:sp>
            <p:nvSpPr>
              <p:cNvPr id="335" name="Freeform: Shape 334">
                <a:extLst>
                  <a:ext uri="{FF2B5EF4-FFF2-40B4-BE49-F238E27FC236}">
                    <a16:creationId xmlns:a16="http://schemas.microsoft.com/office/drawing/2014/main" id="{1668BBBB-68D2-2853-E775-F16BABFED550}"/>
                  </a:ext>
                </a:extLst>
              </p:cNvPr>
              <p:cNvSpPr/>
              <p:nvPr/>
            </p:nvSpPr>
            <p:spPr>
              <a:xfrm>
                <a:off x="8984453" y="3386340"/>
                <a:ext cx="45719" cy="748468"/>
              </a:xfrm>
              <a:custGeom>
                <a:avLst/>
                <a:gdLst>
                  <a:gd name="connsiteX0" fmla="*/ 0 w 12725"/>
                  <a:gd name="connsiteY0" fmla="*/ 0 h 738840"/>
                  <a:gd name="connsiteX1" fmla="*/ 0 w 12725"/>
                  <a:gd name="connsiteY1" fmla="*/ 738840 h 738840"/>
                </a:gdLst>
                <a:ahLst/>
                <a:cxnLst>
                  <a:cxn ang="0">
                    <a:pos x="connsiteX0" y="connsiteY0"/>
                  </a:cxn>
                  <a:cxn ang="0">
                    <a:pos x="connsiteX1" y="connsiteY1"/>
                  </a:cxn>
                </a:cxnLst>
                <a:rect l="l" t="t" r="r" b="b"/>
                <a:pathLst>
                  <a:path w="12725" h="738840">
                    <a:moveTo>
                      <a:pt x="0" y="0"/>
                    </a:moveTo>
                    <a:lnTo>
                      <a:pt x="0" y="738840"/>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36" name="Freeform: Shape 335">
                <a:extLst>
                  <a:ext uri="{FF2B5EF4-FFF2-40B4-BE49-F238E27FC236}">
                    <a16:creationId xmlns:a16="http://schemas.microsoft.com/office/drawing/2014/main" id="{AB5A6992-5810-0EBB-2D9B-B7D81C4982B3}"/>
                  </a:ext>
                </a:extLst>
              </p:cNvPr>
              <p:cNvSpPr/>
              <p:nvPr/>
            </p:nvSpPr>
            <p:spPr>
              <a:xfrm>
                <a:off x="8919680" y="3385540"/>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37" name="Freeform: Shape 336">
                <a:extLst>
                  <a:ext uri="{FF2B5EF4-FFF2-40B4-BE49-F238E27FC236}">
                    <a16:creationId xmlns:a16="http://schemas.microsoft.com/office/drawing/2014/main" id="{9E4B36E0-C1AA-60BB-957F-C2EAAEB411E6}"/>
                  </a:ext>
                </a:extLst>
              </p:cNvPr>
              <p:cNvSpPr/>
              <p:nvPr/>
            </p:nvSpPr>
            <p:spPr>
              <a:xfrm>
                <a:off x="8919680" y="4139594"/>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10" name="Graphic 325">
              <a:extLst>
                <a:ext uri="{FF2B5EF4-FFF2-40B4-BE49-F238E27FC236}">
                  <a16:creationId xmlns:a16="http://schemas.microsoft.com/office/drawing/2014/main" id="{735E5329-9A47-E51E-9010-B100461458E9}"/>
                </a:ext>
              </a:extLst>
            </p:cNvPr>
            <p:cNvGrpSpPr/>
            <p:nvPr/>
          </p:nvGrpSpPr>
          <p:grpSpPr>
            <a:xfrm>
              <a:off x="8334987" y="3008457"/>
              <a:ext cx="129672" cy="744567"/>
              <a:chOff x="8627631" y="3356653"/>
              <a:chExt cx="129672" cy="744567"/>
            </a:xfrm>
            <a:noFill/>
          </p:grpSpPr>
          <p:sp>
            <p:nvSpPr>
              <p:cNvPr id="332" name="Freeform: Shape 331">
                <a:extLst>
                  <a:ext uri="{FF2B5EF4-FFF2-40B4-BE49-F238E27FC236}">
                    <a16:creationId xmlns:a16="http://schemas.microsoft.com/office/drawing/2014/main" id="{1DB67D75-6121-1000-E83A-AE1872F0B577}"/>
                  </a:ext>
                </a:extLst>
              </p:cNvPr>
              <p:cNvSpPr/>
              <p:nvPr/>
            </p:nvSpPr>
            <p:spPr>
              <a:xfrm>
                <a:off x="8692403" y="3359835"/>
                <a:ext cx="12725" cy="728660"/>
              </a:xfrm>
              <a:custGeom>
                <a:avLst/>
                <a:gdLst>
                  <a:gd name="connsiteX0" fmla="*/ 0 w 12725"/>
                  <a:gd name="connsiteY0" fmla="*/ 0 h 728660"/>
                  <a:gd name="connsiteX1" fmla="*/ 0 w 12725"/>
                  <a:gd name="connsiteY1" fmla="*/ 728660 h 728660"/>
                </a:gdLst>
                <a:ahLst/>
                <a:cxnLst>
                  <a:cxn ang="0">
                    <a:pos x="connsiteX0" y="connsiteY0"/>
                  </a:cxn>
                  <a:cxn ang="0">
                    <a:pos x="connsiteX1" y="connsiteY1"/>
                  </a:cxn>
                </a:cxnLst>
                <a:rect l="l" t="t" r="r" b="b"/>
                <a:pathLst>
                  <a:path w="12725" h="728660">
                    <a:moveTo>
                      <a:pt x="0" y="0"/>
                    </a:moveTo>
                    <a:lnTo>
                      <a:pt x="0" y="728660"/>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33" name="Freeform: Shape 332">
                <a:extLst>
                  <a:ext uri="{FF2B5EF4-FFF2-40B4-BE49-F238E27FC236}">
                    <a16:creationId xmlns:a16="http://schemas.microsoft.com/office/drawing/2014/main" id="{301BF66B-50F5-A76B-D9EA-3E1E1DA4855B}"/>
                  </a:ext>
                </a:extLst>
              </p:cNvPr>
              <p:cNvSpPr/>
              <p:nvPr/>
            </p:nvSpPr>
            <p:spPr>
              <a:xfrm>
                <a:off x="8627631" y="3356653"/>
                <a:ext cx="129672" cy="12725"/>
              </a:xfrm>
              <a:custGeom>
                <a:avLst/>
                <a:gdLst>
                  <a:gd name="connsiteX0" fmla="*/ 0 w 129672"/>
                  <a:gd name="connsiteY0" fmla="*/ 0 h 12725"/>
                  <a:gd name="connsiteX1" fmla="*/ 129672 w 129672"/>
                  <a:gd name="connsiteY1" fmla="*/ 0 h 12725"/>
                </a:gdLst>
                <a:ahLst/>
                <a:cxnLst>
                  <a:cxn ang="0">
                    <a:pos x="connsiteX0" y="connsiteY0"/>
                  </a:cxn>
                  <a:cxn ang="0">
                    <a:pos x="connsiteX1" y="connsiteY1"/>
                  </a:cxn>
                </a:cxnLst>
                <a:rect l="l" t="t" r="r" b="b"/>
                <a:pathLst>
                  <a:path w="129672" h="12725">
                    <a:moveTo>
                      <a:pt x="0" y="0"/>
                    </a:moveTo>
                    <a:lnTo>
                      <a:pt x="129672"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34" name="Freeform: Shape 333">
                <a:extLst>
                  <a:ext uri="{FF2B5EF4-FFF2-40B4-BE49-F238E27FC236}">
                    <a16:creationId xmlns:a16="http://schemas.microsoft.com/office/drawing/2014/main" id="{3C941F1B-1933-E276-1148-89A61478A13B}"/>
                  </a:ext>
                </a:extLst>
              </p:cNvPr>
              <p:cNvSpPr/>
              <p:nvPr/>
            </p:nvSpPr>
            <p:spPr>
              <a:xfrm>
                <a:off x="8627631" y="4088495"/>
                <a:ext cx="129672" cy="12725"/>
              </a:xfrm>
              <a:custGeom>
                <a:avLst/>
                <a:gdLst>
                  <a:gd name="connsiteX0" fmla="*/ 0 w 129672"/>
                  <a:gd name="connsiteY0" fmla="*/ 0 h 12725"/>
                  <a:gd name="connsiteX1" fmla="*/ 129672 w 129672"/>
                  <a:gd name="connsiteY1" fmla="*/ 0 h 12725"/>
                </a:gdLst>
                <a:ahLst/>
                <a:cxnLst>
                  <a:cxn ang="0">
                    <a:pos x="connsiteX0" y="connsiteY0"/>
                  </a:cxn>
                  <a:cxn ang="0">
                    <a:pos x="connsiteX1" y="connsiteY1"/>
                  </a:cxn>
                </a:cxnLst>
                <a:rect l="l" t="t" r="r" b="b"/>
                <a:pathLst>
                  <a:path w="129672" h="12725">
                    <a:moveTo>
                      <a:pt x="0" y="0"/>
                    </a:moveTo>
                    <a:lnTo>
                      <a:pt x="129672"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11" name="Graphic 325">
              <a:extLst>
                <a:ext uri="{FF2B5EF4-FFF2-40B4-BE49-F238E27FC236}">
                  <a16:creationId xmlns:a16="http://schemas.microsoft.com/office/drawing/2014/main" id="{AF047049-6627-5752-3927-C7337A2B48A2}"/>
                </a:ext>
              </a:extLst>
            </p:cNvPr>
            <p:cNvGrpSpPr/>
            <p:nvPr/>
          </p:nvGrpSpPr>
          <p:grpSpPr>
            <a:xfrm>
              <a:off x="8039883" y="2769744"/>
              <a:ext cx="129545" cy="754747"/>
              <a:chOff x="8332527" y="3117940"/>
              <a:chExt cx="129545" cy="754747"/>
            </a:xfrm>
            <a:noFill/>
          </p:grpSpPr>
          <p:sp>
            <p:nvSpPr>
              <p:cNvPr id="329" name="Freeform: Shape 328">
                <a:extLst>
                  <a:ext uri="{FF2B5EF4-FFF2-40B4-BE49-F238E27FC236}">
                    <a16:creationId xmlns:a16="http://schemas.microsoft.com/office/drawing/2014/main" id="{FDBD140A-4AE9-DBA2-9390-7E4FE81B4B99}"/>
                  </a:ext>
                </a:extLst>
              </p:cNvPr>
              <p:cNvSpPr/>
              <p:nvPr/>
            </p:nvSpPr>
            <p:spPr>
              <a:xfrm>
                <a:off x="8397300" y="3121122"/>
                <a:ext cx="12725" cy="738840"/>
              </a:xfrm>
              <a:custGeom>
                <a:avLst/>
                <a:gdLst>
                  <a:gd name="connsiteX0" fmla="*/ 0 w 12725"/>
                  <a:gd name="connsiteY0" fmla="*/ 0 h 738840"/>
                  <a:gd name="connsiteX1" fmla="*/ 0 w 12725"/>
                  <a:gd name="connsiteY1" fmla="*/ 738840 h 738840"/>
                </a:gdLst>
                <a:ahLst/>
                <a:cxnLst>
                  <a:cxn ang="0">
                    <a:pos x="connsiteX0" y="connsiteY0"/>
                  </a:cxn>
                  <a:cxn ang="0">
                    <a:pos x="connsiteX1" y="connsiteY1"/>
                  </a:cxn>
                </a:cxnLst>
                <a:rect l="l" t="t" r="r" b="b"/>
                <a:pathLst>
                  <a:path w="12725" h="738840">
                    <a:moveTo>
                      <a:pt x="0" y="0"/>
                    </a:moveTo>
                    <a:lnTo>
                      <a:pt x="0" y="738840"/>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30" name="Freeform: Shape 329">
                <a:extLst>
                  <a:ext uri="{FF2B5EF4-FFF2-40B4-BE49-F238E27FC236}">
                    <a16:creationId xmlns:a16="http://schemas.microsoft.com/office/drawing/2014/main" id="{CC2A18A7-632D-9721-4C99-B50460FD4762}"/>
                  </a:ext>
                </a:extLst>
              </p:cNvPr>
              <p:cNvSpPr/>
              <p:nvPr/>
            </p:nvSpPr>
            <p:spPr>
              <a:xfrm>
                <a:off x="8332527" y="3117940"/>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31" name="Freeform: Shape 330">
                <a:extLst>
                  <a:ext uri="{FF2B5EF4-FFF2-40B4-BE49-F238E27FC236}">
                    <a16:creationId xmlns:a16="http://schemas.microsoft.com/office/drawing/2014/main" id="{4A2D496D-CCA5-087A-832F-6B1AEB5A703A}"/>
                  </a:ext>
                </a:extLst>
              </p:cNvPr>
              <p:cNvSpPr/>
              <p:nvPr/>
            </p:nvSpPr>
            <p:spPr>
              <a:xfrm>
                <a:off x="8332527" y="3859962"/>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12" name="Graphic 325">
              <a:extLst>
                <a:ext uri="{FF2B5EF4-FFF2-40B4-BE49-F238E27FC236}">
                  <a16:creationId xmlns:a16="http://schemas.microsoft.com/office/drawing/2014/main" id="{2547E59D-286F-D84E-B004-06060BEDC3AA}"/>
                </a:ext>
              </a:extLst>
            </p:cNvPr>
            <p:cNvGrpSpPr/>
            <p:nvPr/>
          </p:nvGrpSpPr>
          <p:grpSpPr>
            <a:xfrm>
              <a:off x="7745925" y="2897819"/>
              <a:ext cx="129545" cy="753455"/>
              <a:chOff x="8038569" y="3246015"/>
              <a:chExt cx="129545" cy="753455"/>
            </a:xfrm>
            <a:noFill/>
          </p:grpSpPr>
          <p:sp>
            <p:nvSpPr>
              <p:cNvPr id="326" name="Freeform: Shape 325">
                <a:extLst>
                  <a:ext uri="{FF2B5EF4-FFF2-40B4-BE49-F238E27FC236}">
                    <a16:creationId xmlns:a16="http://schemas.microsoft.com/office/drawing/2014/main" id="{5908EBC4-6D65-70CA-AADB-7F34C75B7E2D}"/>
                  </a:ext>
                </a:extLst>
              </p:cNvPr>
              <p:cNvSpPr/>
              <p:nvPr/>
            </p:nvSpPr>
            <p:spPr>
              <a:xfrm>
                <a:off x="8103342" y="3249196"/>
                <a:ext cx="45719" cy="740355"/>
              </a:xfrm>
              <a:custGeom>
                <a:avLst/>
                <a:gdLst>
                  <a:gd name="connsiteX0" fmla="*/ 0 w 12725"/>
                  <a:gd name="connsiteY0" fmla="*/ 0 h 727896"/>
                  <a:gd name="connsiteX1" fmla="*/ 0 w 12725"/>
                  <a:gd name="connsiteY1" fmla="*/ 727897 h 727896"/>
                </a:gdLst>
                <a:ahLst/>
                <a:cxnLst>
                  <a:cxn ang="0">
                    <a:pos x="connsiteX0" y="connsiteY0"/>
                  </a:cxn>
                  <a:cxn ang="0">
                    <a:pos x="connsiteX1" y="connsiteY1"/>
                  </a:cxn>
                </a:cxnLst>
                <a:rect l="l" t="t" r="r" b="b"/>
                <a:pathLst>
                  <a:path w="12725" h="727896">
                    <a:moveTo>
                      <a:pt x="0" y="0"/>
                    </a:moveTo>
                    <a:lnTo>
                      <a:pt x="0" y="727897"/>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27" name="Freeform: Shape 326">
                <a:extLst>
                  <a:ext uri="{FF2B5EF4-FFF2-40B4-BE49-F238E27FC236}">
                    <a16:creationId xmlns:a16="http://schemas.microsoft.com/office/drawing/2014/main" id="{FD708ED2-D9C7-3170-E414-C737EF208F0A}"/>
                  </a:ext>
                </a:extLst>
              </p:cNvPr>
              <p:cNvSpPr/>
              <p:nvPr/>
            </p:nvSpPr>
            <p:spPr>
              <a:xfrm>
                <a:off x="8038569" y="3246015"/>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28" name="Freeform: Shape 327">
                <a:extLst>
                  <a:ext uri="{FF2B5EF4-FFF2-40B4-BE49-F238E27FC236}">
                    <a16:creationId xmlns:a16="http://schemas.microsoft.com/office/drawing/2014/main" id="{1A83C1A0-CD5B-7E6D-8BF1-29CCAE578D01}"/>
                  </a:ext>
                </a:extLst>
              </p:cNvPr>
              <p:cNvSpPr/>
              <p:nvPr/>
            </p:nvSpPr>
            <p:spPr>
              <a:xfrm>
                <a:off x="8038569" y="3986745"/>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13" name="Graphic 325">
              <a:extLst>
                <a:ext uri="{FF2B5EF4-FFF2-40B4-BE49-F238E27FC236}">
                  <a16:creationId xmlns:a16="http://schemas.microsoft.com/office/drawing/2014/main" id="{051A6843-8A73-8B06-49DB-3BC858FC5E6E}"/>
                </a:ext>
              </a:extLst>
            </p:cNvPr>
            <p:cNvGrpSpPr/>
            <p:nvPr/>
          </p:nvGrpSpPr>
          <p:grpSpPr>
            <a:xfrm>
              <a:off x="7454766" y="2844516"/>
              <a:ext cx="129545" cy="723443"/>
              <a:chOff x="7747410" y="3192712"/>
              <a:chExt cx="129545" cy="723443"/>
            </a:xfrm>
            <a:noFill/>
          </p:grpSpPr>
          <p:sp>
            <p:nvSpPr>
              <p:cNvPr id="323" name="Freeform: Shape 322">
                <a:extLst>
                  <a:ext uri="{FF2B5EF4-FFF2-40B4-BE49-F238E27FC236}">
                    <a16:creationId xmlns:a16="http://schemas.microsoft.com/office/drawing/2014/main" id="{1EB89DAC-76A4-2BB9-0379-FADED7F5433F}"/>
                  </a:ext>
                </a:extLst>
              </p:cNvPr>
              <p:cNvSpPr/>
              <p:nvPr/>
            </p:nvSpPr>
            <p:spPr>
              <a:xfrm>
                <a:off x="7812183" y="3195767"/>
                <a:ext cx="12725" cy="707663"/>
              </a:xfrm>
              <a:custGeom>
                <a:avLst/>
                <a:gdLst>
                  <a:gd name="connsiteX0" fmla="*/ 0 w 12725"/>
                  <a:gd name="connsiteY0" fmla="*/ 0 h 707663"/>
                  <a:gd name="connsiteX1" fmla="*/ 0 w 12725"/>
                  <a:gd name="connsiteY1" fmla="*/ 707663 h 707663"/>
                </a:gdLst>
                <a:ahLst/>
                <a:cxnLst>
                  <a:cxn ang="0">
                    <a:pos x="connsiteX0" y="connsiteY0"/>
                  </a:cxn>
                  <a:cxn ang="0">
                    <a:pos x="connsiteX1" y="connsiteY1"/>
                  </a:cxn>
                </a:cxnLst>
                <a:rect l="l" t="t" r="r" b="b"/>
                <a:pathLst>
                  <a:path w="12725" h="707663">
                    <a:moveTo>
                      <a:pt x="0" y="0"/>
                    </a:moveTo>
                    <a:lnTo>
                      <a:pt x="0" y="707663"/>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24" name="Freeform: Shape 323">
                <a:extLst>
                  <a:ext uri="{FF2B5EF4-FFF2-40B4-BE49-F238E27FC236}">
                    <a16:creationId xmlns:a16="http://schemas.microsoft.com/office/drawing/2014/main" id="{B7AF9BF1-E7EA-1FA1-A605-4DAB9888E837}"/>
                  </a:ext>
                </a:extLst>
              </p:cNvPr>
              <p:cNvSpPr/>
              <p:nvPr/>
            </p:nvSpPr>
            <p:spPr>
              <a:xfrm>
                <a:off x="7747410" y="3192712"/>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25" name="Freeform: Shape 324">
                <a:extLst>
                  <a:ext uri="{FF2B5EF4-FFF2-40B4-BE49-F238E27FC236}">
                    <a16:creationId xmlns:a16="http://schemas.microsoft.com/office/drawing/2014/main" id="{FBC5EA54-733F-144A-C66D-16612D0FED85}"/>
                  </a:ext>
                </a:extLst>
              </p:cNvPr>
              <p:cNvSpPr/>
              <p:nvPr/>
            </p:nvSpPr>
            <p:spPr>
              <a:xfrm>
                <a:off x="7747410" y="3903430"/>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14" name="Graphic 325">
              <a:extLst>
                <a:ext uri="{FF2B5EF4-FFF2-40B4-BE49-F238E27FC236}">
                  <a16:creationId xmlns:a16="http://schemas.microsoft.com/office/drawing/2014/main" id="{61D5F772-13C5-469E-D186-D8829C042FFD}"/>
                </a:ext>
              </a:extLst>
            </p:cNvPr>
            <p:cNvGrpSpPr/>
            <p:nvPr/>
          </p:nvGrpSpPr>
          <p:grpSpPr>
            <a:xfrm>
              <a:off x="7159281" y="2853662"/>
              <a:ext cx="129672" cy="713332"/>
              <a:chOff x="7451925" y="3201858"/>
              <a:chExt cx="129672" cy="713332"/>
            </a:xfrm>
            <a:noFill/>
          </p:grpSpPr>
          <p:sp>
            <p:nvSpPr>
              <p:cNvPr id="320" name="Freeform: Shape 319">
                <a:extLst>
                  <a:ext uri="{FF2B5EF4-FFF2-40B4-BE49-F238E27FC236}">
                    <a16:creationId xmlns:a16="http://schemas.microsoft.com/office/drawing/2014/main" id="{DCAF0243-6BF1-B065-AFB7-5255674AFA4C}"/>
                  </a:ext>
                </a:extLst>
              </p:cNvPr>
              <p:cNvSpPr/>
              <p:nvPr/>
            </p:nvSpPr>
            <p:spPr>
              <a:xfrm>
                <a:off x="7516825" y="3204784"/>
                <a:ext cx="45719" cy="696661"/>
              </a:xfrm>
              <a:custGeom>
                <a:avLst/>
                <a:gdLst>
                  <a:gd name="connsiteX0" fmla="*/ 0 w 12725"/>
                  <a:gd name="connsiteY0" fmla="*/ 0 h 685648"/>
                  <a:gd name="connsiteX1" fmla="*/ 0 w 12725"/>
                  <a:gd name="connsiteY1" fmla="*/ 685648 h 685648"/>
                </a:gdLst>
                <a:ahLst/>
                <a:cxnLst>
                  <a:cxn ang="0">
                    <a:pos x="connsiteX0" y="connsiteY0"/>
                  </a:cxn>
                  <a:cxn ang="0">
                    <a:pos x="connsiteX1" y="connsiteY1"/>
                  </a:cxn>
                </a:cxnLst>
                <a:rect l="l" t="t" r="r" b="b"/>
                <a:pathLst>
                  <a:path w="12725" h="685648">
                    <a:moveTo>
                      <a:pt x="0" y="0"/>
                    </a:moveTo>
                    <a:lnTo>
                      <a:pt x="0" y="685648"/>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21" name="Freeform: Shape 320">
                <a:extLst>
                  <a:ext uri="{FF2B5EF4-FFF2-40B4-BE49-F238E27FC236}">
                    <a16:creationId xmlns:a16="http://schemas.microsoft.com/office/drawing/2014/main" id="{110CE60A-BECE-556F-33C2-735515AAFA97}"/>
                  </a:ext>
                </a:extLst>
              </p:cNvPr>
              <p:cNvSpPr/>
              <p:nvPr/>
            </p:nvSpPr>
            <p:spPr>
              <a:xfrm>
                <a:off x="7451925" y="3201858"/>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22" name="Freeform: Shape 321">
                <a:extLst>
                  <a:ext uri="{FF2B5EF4-FFF2-40B4-BE49-F238E27FC236}">
                    <a16:creationId xmlns:a16="http://schemas.microsoft.com/office/drawing/2014/main" id="{0FFA84D3-4615-B1CF-BD2D-F3F5AF449CA9}"/>
                  </a:ext>
                </a:extLst>
              </p:cNvPr>
              <p:cNvSpPr/>
              <p:nvPr/>
            </p:nvSpPr>
            <p:spPr>
              <a:xfrm>
                <a:off x="7451925" y="3902465"/>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15" name="Graphic 325">
              <a:extLst>
                <a:ext uri="{FF2B5EF4-FFF2-40B4-BE49-F238E27FC236}">
                  <a16:creationId xmlns:a16="http://schemas.microsoft.com/office/drawing/2014/main" id="{DE939779-C43D-950C-1457-E9E36AA647BE}"/>
                </a:ext>
              </a:extLst>
            </p:cNvPr>
            <p:cNvGrpSpPr/>
            <p:nvPr/>
          </p:nvGrpSpPr>
          <p:grpSpPr>
            <a:xfrm>
              <a:off x="6864177" y="2710809"/>
              <a:ext cx="129545" cy="689555"/>
              <a:chOff x="7156821" y="3059005"/>
              <a:chExt cx="129545" cy="689555"/>
            </a:xfrm>
            <a:noFill/>
          </p:grpSpPr>
          <p:sp>
            <p:nvSpPr>
              <p:cNvPr id="317" name="Freeform: Shape 316">
                <a:extLst>
                  <a:ext uri="{FF2B5EF4-FFF2-40B4-BE49-F238E27FC236}">
                    <a16:creationId xmlns:a16="http://schemas.microsoft.com/office/drawing/2014/main" id="{9F6FA454-3958-2F01-AC77-6D08C866A748}"/>
                  </a:ext>
                </a:extLst>
              </p:cNvPr>
              <p:cNvSpPr/>
              <p:nvPr/>
            </p:nvSpPr>
            <p:spPr>
              <a:xfrm>
                <a:off x="7221594" y="3061804"/>
                <a:ext cx="12725" cy="671522"/>
              </a:xfrm>
              <a:custGeom>
                <a:avLst/>
                <a:gdLst>
                  <a:gd name="connsiteX0" fmla="*/ 0 w 12725"/>
                  <a:gd name="connsiteY0" fmla="*/ 0 h 671522"/>
                  <a:gd name="connsiteX1" fmla="*/ 0 w 12725"/>
                  <a:gd name="connsiteY1" fmla="*/ 671523 h 671522"/>
                </a:gdLst>
                <a:ahLst/>
                <a:cxnLst>
                  <a:cxn ang="0">
                    <a:pos x="connsiteX0" y="connsiteY0"/>
                  </a:cxn>
                  <a:cxn ang="0">
                    <a:pos x="connsiteX1" y="connsiteY1"/>
                  </a:cxn>
                </a:cxnLst>
                <a:rect l="l" t="t" r="r" b="b"/>
                <a:pathLst>
                  <a:path w="12725" h="671522">
                    <a:moveTo>
                      <a:pt x="0" y="0"/>
                    </a:moveTo>
                    <a:lnTo>
                      <a:pt x="0" y="671523"/>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18" name="Freeform: Shape 317">
                <a:extLst>
                  <a:ext uri="{FF2B5EF4-FFF2-40B4-BE49-F238E27FC236}">
                    <a16:creationId xmlns:a16="http://schemas.microsoft.com/office/drawing/2014/main" id="{ED686A83-9AF4-4F25-A09C-21DE322F09D1}"/>
                  </a:ext>
                </a:extLst>
              </p:cNvPr>
              <p:cNvSpPr/>
              <p:nvPr/>
            </p:nvSpPr>
            <p:spPr>
              <a:xfrm>
                <a:off x="7156821" y="3059005"/>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19" name="Freeform: Shape 318">
                <a:extLst>
                  <a:ext uri="{FF2B5EF4-FFF2-40B4-BE49-F238E27FC236}">
                    <a16:creationId xmlns:a16="http://schemas.microsoft.com/office/drawing/2014/main" id="{C4DD5C5D-8499-E05B-D787-7D06E3B1B30D}"/>
                  </a:ext>
                </a:extLst>
              </p:cNvPr>
              <p:cNvSpPr/>
              <p:nvPr/>
            </p:nvSpPr>
            <p:spPr>
              <a:xfrm>
                <a:off x="7156821" y="3735835"/>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16" name="Graphic 325">
              <a:extLst>
                <a:ext uri="{FF2B5EF4-FFF2-40B4-BE49-F238E27FC236}">
                  <a16:creationId xmlns:a16="http://schemas.microsoft.com/office/drawing/2014/main" id="{4B7D025D-0076-411A-2F42-87126866C923}"/>
                </a:ext>
              </a:extLst>
            </p:cNvPr>
            <p:cNvGrpSpPr/>
            <p:nvPr/>
          </p:nvGrpSpPr>
          <p:grpSpPr>
            <a:xfrm>
              <a:off x="6569583" y="2584445"/>
              <a:ext cx="129672" cy="683956"/>
              <a:chOff x="6862227" y="2932641"/>
              <a:chExt cx="129672" cy="683956"/>
            </a:xfrm>
            <a:noFill/>
          </p:grpSpPr>
          <p:sp>
            <p:nvSpPr>
              <p:cNvPr id="314" name="Freeform: Shape 313">
                <a:extLst>
                  <a:ext uri="{FF2B5EF4-FFF2-40B4-BE49-F238E27FC236}">
                    <a16:creationId xmlns:a16="http://schemas.microsoft.com/office/drawing/2014/main" id="{5EA4C6F9-2D72-27D4-8ADF-36D52E152026}"/>
                  </a:ext>
                </a:extLst>
              </p:cNvPr>
              <p:cNvSpPr/>
              <p:nvPr/>
            </p:nvSpPr>
            <p:spPr>
              <a:xfrm>
                <a:off x="6927127" y="2937821"/>
                <a:ext cx="12725" cy="666050"/>
              </a:xfrm>
              <a:custGeom>
                <a:avLst/>
                <a:gdLst>
                  <a:gd name="connsiteX0" fmla="*/ 0 w 12725"/>
                  <a:gd name="connsiteY0" fmla="*/ 0 h 666050"/>
                  <a:gd name="connsiteX1" fmla="*/ 0 w 12725"/>
                  <a:gd name="connsiteY1" fmla="*/ 666051 h 666050"/>
                </a:gdLst>
                <a:ahLst/>
                <a:cxnLst>
                  <a:cxn ang="0">
                    <a:pos x="connsiteX0" y="connsiteY0"/>
                  </a:cxn>
                  <a:cxn ang="0">
                    <a:pos x="connsiteX1" y="connsiteY1"/>
                  </a:cxn>
                </a:cxnLst>
                <a:rect l="l" t="t" r="r" b="b"/>
                <a:pathLst>
                  <a:path w="12725" h="666050">
                    <a:moveTo>
                      <a:pt x="0" y="0"/>
                    </a:moveTo>
                    <a:lnTo>
                      <a:pt x="0" y="666051"/>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15" name="Freeform: Shape 314">
                <a:extLst>
                  <a:ext uri="{FF2B5EF4-FFF2-40B4-BE49-F238E27FC236}">
                    <a16:creationId xmlns:a16="http://schemas.microsoft.com/office/drawing/2014/main" id="{C28662B5-FB84-9FA1-9828-C604695FEF6B}"/>
                  </a:ext>
                </a:extLst>
              </p:cNvPr>
              <p:cNvSpPr/>
              <p:nvPr/>
            </p:nvSpPr>
            <p:spPr>
              <a:xfrm>
                <a:off x="6862227" y="2932641"/>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16" name="Freeform: Shape 315">
                <a:extLst>
                  <a:ext uri="{FF2B5EF4-FFF2-40B4-BE49-F238E27FC236}">
                    <a16:creationId xmlns:a16="http://schemas.microsoft.com/office/drawing/2014/main" id="{5C00BE89-264F-1A09-27DB-EC716C09E176}"/>
                  </a:ext>
                </a:extLst>
              </p:cNvPr>
              <p:cNvSpPr/>
              <p:nvPr/>
            </p:nvSpPr>
            <p:spPr>
              <a:xfrm>
                <a:off x="6862227" y="3603872"/>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17" name="Graphic 325">
              <a:extLst>
                <a:ext uri="{FF2B5EF4-FFF2-40B4-BE49-F238E27FC236}">
                  <a16:creationId xmlns:a16="http://schemas.microsoft.com/office/drawing/2014/main" id="{666C6498-647E-0F67-B12D-B3D866F15D27}"/>
                </a:ext>
              </a:extLst>
            </p:cNvPr>
            <p:cNvGrpSpPr/>
            <p:nvPr/>
          </p:nvGrpSpPr>
          <p:grpSpPr>
            <a:xfrm>
              <a:off x="6277533" y="2726916"/>
              <a:ext cx="129545" cy="707352"/>
              <a:chOff x="6570177" y="3075112"/>
              <a:chExt cx="129545" cy="707352"/>
            </a:xfrm>
            <a:noFill/>
          </p:grpSpPr>
          <p:sp>
            <p:nvSpPr>
              <p:cNvPr id="311" name="Freeform: Shape 310">
                <a:extLst>
                  <a:ext uri="{FF2B5EF4-FFF2-40B4-BE49-F238E27FC236}">
                    <a16:creationId xmlns:a16="http://schemas.microsoft.com/office/drawing/2014/main" id="{0471962A-1583-46DD-4472-0D82C3C15500}"/>
                  </a:ext>
                </a:extLst>
              </p:cNvPr>
              <p:cNvSpPr/>
              <p:nvPr/>
            </p:nvSpPr>
            <p:spPr>
              <a:xfrm>
                <a:off x="6634950" y="3078039"/>
                <a:ext cx="45719" cy="692438"/>
              </a:xfrm>
              <a:custGeom>
                <a:avLst/>
                <a:gdLst>
                  <a:gd name="connsiteX0" fmla="*/ 0 w 12725"/>
                  <a:gd name="connsiteY0" fmla="*/ 0 h 679794"/>
                  <a:gd name="connsiteX1" fmla="*/ 0 w 12725"/>
                  <a:gd name="connsiteY1" fmla="*/ 679794 h 679794"/>
                </a:gdLst>
                <a:ahLst/>
                <a:cxnLst>
                  <a:cxn ang="0">
                    <a:pos x="connsiteX0" y="connsiteY0"/>
                  </a:cxn>
                  <a:cxn ang="0">
                    <a:pos x="connsiteX1" y="connsiteY1"/>
                  </a:cxn>
                </a:cxnLst>
                <a:rect l="l" t="t" r="r" b="b"/>
                <a:pathLst>
                  <a:path w="12725" h="679794">
                    <a:moveTo>
                      <a:pt x="0" y="0"/>
                    </a:moveTo>
                    <a:lnTo>
                      <a:pt x="0" y="679794"/>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12" name="Freeform: Shape 311">
                <a:extLst>
                  <a:ext uri="{FF2B5EF4-FFF2-40B4-BE49-F238E27FC236}">
                    <a16:creationId xmlns:a16="http://schemas.microsoft.com/office/drawing/2014/main" id="{1106244F-3FD8-F242-7D6A-F456BD9E15FF}"/>
                  </a:ext>
                </a:extLst>
              </p:cNvPr>
              <p:cNvSpPr/>
              <p:nvPr/>
            </p:nvSpPr>
            <p:spPr>
              <a:xfrm>
                <a:off x="6570177" y="3075112"/>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13" name="Freeform: Shape 312">
                <a:extLst>
                  <a:ext uri="{FF2B5EF4-FFF2-40B4-BE49-F238E27FC236}">
                    <a16:creationId xmlns:a16="http://schemas.microsoft.com/office/drawing/2014/main" id="{28C23505-0EA4-E19F-69B4-5CE790EE7E03}"/>
                  </a:ext>
                </a:extLst>
              </p:cNvPr>
              <p:cNvSpPr/>
              <p:nvPr/>
            </p:nvSpPr>
            <p:spPr>
              <a:xfrm>
                <a:off x="6570177" y="3769739"/>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18" name="Graphic 325">
              <a:extLst>
                <a:ext uri="{FF2B5EF4-FFF2-40B4-BE49-F238E27FC236}">
                  <a16:creationId xmlns:a16="http://schemas.microsoft.com/office/drawing/2014/main" id="{50E5C3BF-6A65-7022-9A22-D012AA3A1625}"/>
                </a:ext>
              </a:extLst>
            </p:cNvPr>
            <p:cNvGrpSpPr/>
            <p:nvPr/>
          </p:nvGrpSpPr>
          <p:grpSpPr>
            <a:xfrm>
              <a:off x="5982175" y="2623077"/>
              <a:ext cx="129545" cy="661921"/>
              <a:chOff x="6274819" y="2971273"/>
              <a:chExt cx="129545" cy="661921"/>
            </a:xfrm>
            <a:noFill/>
          </p:grpSpPr>
          <p:sp>
            <p:nvSpPr>
              <p:cNvPr id="308" name="Freeform: Shape 307">
                <a:extLst>
                  <a:ext uri="{FF2B5EF4-FFF2-40B4-BE49-F238E27FC236}">
                    <a16:creationId xmlns:a16="http://schemas.microsoft.com/office/drawing/2014/main" id="{9E2B6179-95AD-7AF0-93C9-4F18B0004D1A}"/>
                  </a:ext>
                </a:extLst>
              </p:cNvPr>
              <p:cNvSpPr/>
              <p:nvPr/>
            </p:nvSpPr>
            <p:spPr>
              <a:xfrm>
                <a:off x="6339592" y="2973945"/>
                <a:ext cx="45719" cy="646513"/>
              </a:xfrm>
              <a:custGeom>
                <a:avLst/>
                <a:gdLst>
                  <a:gd name="connsiteX0" fmla="*/ 0 w 12725"/>
                  <a:gd name="connsiteY0" fmla="*/ 0 h 634491"/>
                  <a:gd name="connsiteX1" fmla="*/ 0 w 12725"/>
                  <a:gd name="connsiteY1" fmla="*/ 634492 h 634491"/>
                </a:gdLst>
                <a:ahLst/>
                <a:cxnLst>
                  <a:cxn ang="0">
                    <a:pos x="connsiteX0" y="connsiteY0"/>
                  </a:cxn>
                  <a:cxn ang="0">
                    <a:pos x="connsiteX1" y="connsiteY1"/>
                  </a:cxn>
                </a:cxnLst>
                <a:rect l="l" t="t" r="r" b="b"/>
                <a:pathLst>
                  <a:path w="12725" h="634491">
                    <a:moveTo>
                      <a:pt x="0" y="0"/>
                    </a:moveTo>
                    <a:lnTo>
                      <a:pt x="0" y="634492"/>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09" name="Freeform: Shape 308">
                <a:extLst>
                  <a:ext uri="{FF2B5EF4-FFF2-40B4-BE49-F238E27FC236}">
                    <a16:creationId xmlns:a16="http://schemas.microsoft.com/office/drawing/2014/main" id="{09DEB4E2-8981-79D4-AD4F-7FF531064F30}"/>
                  </a:ext>
                </a:extLst>
              </p:cNvPr>
              <p:cNvSpPr/>
              <p:nvPr/>
            </p:nvSpPr>
            <p:spPr>
              <a:xfrm>
                <a:off x="6274819" y="2971273"/>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10" name="Freeform: Shape 309">
                <a:extLst>
                  <a:ext uri="{FF2B5EF4-FFF2-40B4-BE49-F238E27FC236}">
                    <a16:creationId xmlns:a16="http://schemas.microsoft.com/office/drawing/2014/main" id="{A6D743C0-E24B-5FB2-C7A6-C33A695E32CF}"/>
                  </a:ext>
                </a:extLst>
              </p:cNvPr>
              <p:cNvSpPr/>
              <p:nvPr/>
            </p:nvSpPr>
            <p:spPr>
              <a:xfrm>
                <a:off x="6274819" y="3620469"/>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19" name="Graphic 325">
              <a:extLst>
                <a:ext uri="{FF2B5EF4-FFF2-40B4-BE49-F238E27FC236}">
                  <a16:creationId xmlns:a16="http://schemas.microsoft.com/office/drawing/2014/main" id="{6CB61AB4-6E13-41E2-2BDD-94CA5AF5CDFA}"/>
                </a:ext>
              </a:extLst>
            </p:cNvPr>
            <p:cNvGrpSpPr/>
            <p:nvPr/>
          </p:nvGrpSpPr>
          <p:grpSpPr>
            <a:xfrm>
              <a:off x="5690508" y="2508038"/>
              <a:ext cx="129672" cy="646962"/>
              <a:chOff x="5983152" y="2856234"/>
              <a:chExt cx="129672" cy="646962"/>
            </a:xfrm>
            <a:noFill/>
          </p:grpSpPr>
          <p:sp>
            <p:nvSpPr>
              <p:cNvPr id="305" name="Freeform: Shape 304">
                <a:extLst>
                  <a:ext uri="{FF2B5EF4-FFF2-40B4-BE49-F238E27FC236}">
                    <a16:creationId xmlns:a16="http://schemas.microsoft.com/office/drawing/2014/main" id="{BF78F3EF-4255-EB70-156C-3AF307C3FC07}"/>
                  </a:ext>
                </a:extLst>
              </p:cNvPr>
              <p:cNvSpPr/>
              <p:nvPr/>
            </p:nvSpPr>
            <p:spPr>
              <a:xfrm>
                <a:off x="6047924" y="2859034"/>
                <a:ext cx="12725" cy="644162"/>
              </a:xfrm>
              <a:custGeom>
                <a:avLst/>
                <a:gdLst>
                  <a:gd name="connsiteX0" fmla="*/ 0 w 12725"/>
                  <a:gd name="connsiteY0" fmla="*/ 0 h 644162"/>
                  <a:gd name="connsiteX1" fmla="*/ 0 w 12725"/>
                  <a:gd name="connsiteY1" fmla="*/ 644163 h 644162"/>
                </a:gdLst>
                <a:ahLst/>
                <a:cxnLst>
                  <a:cxn ang="0">
                    <a:pos x="connsiteX0" y="connsiteY0"/>
                  </a:cxn>
                  <a:cxn ang="0">
                    <a:pos x="connsiteX1" y="connsiteY1"/>
                  </a:cxn>
                </a:cxnLst>
                <a:rect l="l" t="t" r="r" b="b"/>
                <a:pathLst>
                  <a:path w="12725" h="644162">
                    <a:moveTo>
                      <a:pt x="0" y="0"/>
                    </a:moveTo>
                    <a:lnTo>
                      <a:pt x="0" y="644163"/>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06" name="Freeform: Shape 305">
                <a:extLst>
                  <a:ext uri="{FF2B5EF4-FFF2-40B4-BE49-F238E27FC236}">
                    <a16:creationId xmlns:a16="http://schemas.microsoft.com/office/drawing/2014/main" id="{8244E0A6-9277-C8EE-ABCD-1027EBA09DC0}"/>
                  </a:ext>
                </a:extLst>
              </p:cNvPr>
              <p:cNvSpPr/>
              <p:nvPr/>
            </p:nvSpPr>
            <p:spPr>
              <a:xfrm>
                <a:off x="5983152" y="2856234"/>
                <a:ext cx="129672" cy="12725"/>
              </a:xfrm>
              <a:custGeom>
                <a:avLst/>
                <a:gdLst>
                  <a:gd name="connsiteX0" fmla="*/ 0 w 129672"/>
                  <a:gd name="connsiteY0" fmla="*/ 0 h 12725"/>
                  <a:gd name="connsiteX1" fmla="*/ 129672 w 129672"/>
                  <a:gd name="connsiteY1" fmla="*/ 0 h 12725"/>
                </a:gdLst>
                <a:ahLst/>
                <a:cxnLst>
                  <a:cxn ang="0">
                    <a:pos x="connsiteX0" y="connsiteY0"/>
                  </a:cxn>
                  <a:cxn ang="0">
                    <a:pos x="connsiteX1" y="connsiteY1"/>
                  </a:cxn>
                </a:cxnLst>
                <a:rect l="l" t="t" r="r" b="b"/>
                <a:pathLst>
                  <a:path w="129672" h="12725">
                    <a:moveTo>
                      <a:pt x="0" y="0"/>
                    </a:moveTo>
                    <a:lnTo>
                      <a:pt x="129672"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07" name="Freeform: Shape 306">
                <a:extLst>
                  <a:ext uri="{FF2B5EF4-FFF2-40B4-BE49-F238E27FC236}">
                    <a16:creationId xmlns:a16="http://schemas.microsoft.com/office/drawing/2014/main" id="{9A7D8EF6-9906-AF37-2E43-B326742C762F}"/>
                  </a:ext>
                </a:extLst>
              </p:cNvPr>
              <p:cNvSpPr/>
              <p:nvPr/>
            </p:nvSpPr>
            <p:spPr>
              <a:xfrm>
                <a:off x="5983152" y="3503197"/>
                <a:ext cx="129672" cy="12725"/>
              </a:xfrm>
              <a:custGeom>
                <a:avLst/>
                <a:gdLst>
                  <a:gd name="connsiteX0" fmla="*/ 0 w 129672"/>
                  <a:gd name="connsiteY0" fmla="*/ 0 h 12725"/>
                  <a:gd name="connsiteX1" fmla="*/ 129672 w 129672"/>
                  <a:gd name="connsiteY1" fmla="*/ 0 h 12725"/>
                </a:gdLst>
                <a:ahLst/>
                <a:cxnLst>
                  <a:cxn ang="0">
                    <a:pos x="connsiteX0" y="connsiteY0"/>
                  </a:cxn>
                  <a:cxn ang="0">
                    <a:pos x="connsiteX1" y="connsiteY1"/>
                  </a:cxn>
                </a:cxnLst>
                <a:rect l="l" t="t" r="r" b="b"/>
                <a:pathLst>
                  <a:path w="129672" h="12725">
                    <a:moveTo>
                      <a:pt x="0" y="0"/>
                    </a:moveTo>
                    <a:lnTo>
                      <a:pt x="129672"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20" name="Graphic 325">
              <a:extLst>
                <a:ext uri="{FF2B5EF4-FFF2-40B4-BE49-F238E27FC236}">
                  <a16:creationId xmlns:a16="http://schemas.microsoft.com/office/drawing/2014/main" id="{4EAE5E05-0C9E-E281-3519-E9729889741C}"/>
                </a:ext>
              </a:extLst>
            </p:cNvPr>
            <p:cNvGrpSpPr/>
            <p:nvPr/>
          </p:nvGrpSpPr>
          <p:grpSpPr>
            <a:xfrm>
              <a:off x="5396550" y="2458155"/>
              <a:ext cx="129672" cy="664449"/>
              <a:chOff x="5689194" y="2806351"/>
              <a:chExt cx="129672" cy="664449"/>
            </a:xfrm>
            <a:noFill/>
          </p:grpSpPr>
          <p:sp>
            <p:nvSpPr>
              <p:cNvPr id="302" name="Freeform: Shape 301">
                <a:extLst>
                  <a:ext uri="{FF2B5EF4-FFF2-40B4-BE49-F238E27FC236}">
                    <a16:creationId xmlns:a16="http://schemas.microsoft.com/office/drawing/2014/main" id="{DB67D6AC-6F85-B1A4-FEA9-6A7EF52C3C54}"/>
                  </a:ext>
                </a:extLst>
              </p:cNvPr>
              <p:cNvSpPr/>
              <p:nvPr/>
            </p:nvSpPr>
            <p:spPr>
              <a:xfrm>
                <a:off x="5753966" y="2809149"/>
                <a:ext cx="45719" cy="649383"/>
              </a:xfrm>
              <a:custGeom>
                <a:avLst/>
                <a:gdLst>
                  <a:gd name="connsiteX0" fmla="*/ 0 w 12725"/>
                  <a:gd name="connsiteY0" fmla="*/ 0 h 644162"/>
                  <a:gd name="connsiteX1" fmla="*/ 0 w 12725"/>
                  <a:gd name="connsiteY1" fmla="*/ 644163 h 644162"/>
                </a:gdLst>
                <a:ahLst/>
                <a:cxnLst>
                  <a:cxn ang="0">
                    <a:pos x="connsiteX0" y="connsiteY0"/>
                  </a:cxn>
                  <a:cxn ang="0">
                    <a:pos x="connsiteX1" y="connsiteY1"/>
                  </a:cxn>
                </a:cxnLst>
                <a:rect l="l" t="t" r="r" b="b"/>
                <a:pathLst>
                  <a:path w="12725" h="644162">
                    <a:moveTo>
                      <a:pt x="0" y="0"/>
                    </a:moveTo>
                    <a:lnTo>
                      <a:pt x="0" y="644163"/>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03" name="Freeform: Shape 302">
                <a:extLst>
                  <a:ext uri="{FF2B5EF4-FFF2-40B4-BE49-F238E27FC236}">
                    <a16:creationId xmlns:a16="http://schemas.microsoft.com/office/drawing/2014/main" id="{CFA5521B-F289-7BC0-B80B-AB8AF2313537}"/>
                  </a:ext>
                </a:extLst>
              </p:cNvPr>
              <p:cNvSpPr/>
              <p:nvPr/>
            </p:nvSpPr>
            <p:spPr>
              <a:xfrm>
                <a:off x="5689194" y="2806351"/>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04" name="Freeform: Shape 303">
                <a:extLst>
                  <a:ext uri="{FF2B5EF4-FFF2-40B4-BE49-F238E27FC236}">
                    <a16:creationId xmlns:a16="http://schemas.microsoft.com/office/drawing/2014/main" id="{5BB8C1BC-5D04-D442-025B-D8DC2A5C1554}"/>
                  </a:ext>
                </a:extLst>
              </p:cNvPr>
              <p:cNvSpPr/>
              <p:nvPr/>
            </p:nvSpPr>
            <p:spPr>
              <a:xfrm>
                <a:off x="5689194" y="3458075"/>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21" name="Graphic 325">
              <a:extLst>
                <a:ext uri="{FF2B5EF4-FFF2-40B4-BE49-F238E27FC236}">
                  <a16:creationId xmlns:a16="http://schemas.microsoft.com/office/drawing/2014/main" id="{88ADBA06-321F-3DEB-2B89-5A16C11F0312}"/>
                </a:ext>
              </a:extLst>
            </p:cNvPr>
            <p:cNvGrpSpPr/>
            <p:nvPr/>
          </p:nvGrpSpPr>
          <p:grpSpPr>
            <a:xfrm>
              <a:off x="5100428" y="2414634"/>
              <a:ext cx="129545" cy="623802"/>
              <a:chOff x="5393072" y="2762830"/>
              <a:chExt cx="129545" cy="623802"/>
            </a:xfrm>
            <a:noFill/>
          </p:grpSpPr>
          <p:sp>
            <p:nvSpPr>
              <p:cNvPr id="299" name="Freeform: Shape 298">
                <a:extLst>
                  <a:ext uri="{FF2B5EF4-FFF2-40B4-BE49-F238E27FC236}">
                    <a16:creationId xmlns:a16="http://schemas.microsoft.com/office/drawing/2014/main" id="{CF158871-D480-8555-B1AD-043E046AEB54}"/>
                  </a:ext>
                </a:extLst>
              </p:cNvPr>
              <p:cNvSpPr/>
              <p:nvPr/>
            </p:nvSpPr>
            <p:spPr>
              <a:xfrm>
                <a:off x="5457845" y="2765629"/>
                <a:ext cx="12725" cy="621002"/>
              </a:xfrm>
              <a:custGeom>
                <a:avLst/>
                <a:gdLst>
                  <a:gd name="connsiteX0" fmla="*/ 0 w 12725"/>
                  <a:gd name="connsiteY0" fmla="*/ 0 h 621002"/>
                  <a:gd name="connsiteX1" fmla="*/ 0 w 12725"/>
                  <a:gd name="connsiteY1" fmla="*/ 621003 h 621002"/>
                </a:gdLst>
                <a:ahLst/>
                <a:cxnLst>
                  <a:cxn ang="0">
                    <a:pos x="connsiteX0" y="connsiteY0"/>
                  </a:cxn>
                  <a:cxn ang="0">
                    <a:pos x="connsiteX1" y="connsiteY1"/>
                  </a:cxn>
                </a:cxnLst>
                <a:rect l="l" t="t" r="r" b="b"/>
                <a:pathLst>
                  <a:path w="12725" h="621002">
                    <a:moveTo>
                      <a:pt x="0" y="0"/>
                    </a:moveTo>
                    <a:lnTo>
                      <a:pt x="0" y="621003"/>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00" name="Freeform: Shape 299">
                <a:extLst>
                  <a:ext uri="{FF2B5EF4-FFF2-40B4-BE49-F238E27FC236}">
                    <a16:creationId xmlns:a16="http://schemas.microsoft.com/office/drawing/2014/main" id="{45D54186-042D-4B09-4817-97DB018B334F}"/>
                  </a:ext>
                </a:extLst>
              </p:cNvPr>
              <p:cNvSpPr/>
              <p:nvPr/>
            </p:nvSpPr>
            <p:spPr>
              <a:xfrm>
                <a:off x="5393072" y="2762830"/>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301" name="Freeform: Shape 300">
                <a:extLst>
                  <a:ext uri="{FF2B5EF4-FFF2-40B4-BE49-F238E27FC236}">
                    <a16:creationId xmlns:a16="http://schemas.microsoft.com/office/drawing/2014/main" id="{07FBD64B-964A-B154-58B7-EE2D9C5B18AD}"/>
                  </a:ext>
                </a:extLst>
              </p:cNvPr>
              <p:cNvSpPr/>
              <p:nvPr/>
            </p:nvSpPr>
            <p:spPr>
              <a:xfrm>
                <a:off x="5393072" y="3386632"/>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22" name="Graphic 325">
              <a:extLst>
                <a:ext uri="{FF2B5EF4-FFF2-40B4-BE49-F238E27FC236}">
                  <a16:creationId xmlns:a16="http://schemas.microsoft.com/office/drawing/2014/main" id="{971031E3-BC05-F3A0-AF88-E5672B6CD5F7}"/>
                </a:ext>
              </a:extLst>
            </p:cNvPr>
            <p:cNvGrpSpPr/>
            <p:nvPr/>
          </p:nvGrpSpPr>
          <p:grpSpPr>
            <a:xfrm>
              <a:off x="4808633" y="2433213"/>
              <a:ext cx="129545" cy="646051"/>
              <a:chOff x="5101277" y="2781409"/>
              <a:chExt cx="129545" cy="646051"/>
            </a:xfrm>
            <a:noFill/>
          </p:grpSpPr>
          <p:sp>
            <p:nvSpPr>
              <p:cNvPr id="296" name="Freeform: Shape 295">
                <a:extLst>
                  <a:ext uri="{FF2B5EF4-FFF2-40B4-BE49-F238E27FC236}">
                    <a16:creationId xmlns:a16="http://schemas.microsoft.com/office/drawing/2014/main" id="{4CA866C5-D9B4-FF1A-250B-C47349A7FB0D}"/>
                  </a:ext>
                </a:extLst>
              </p:cNvPr>
              <p:cNvSpPr/>
              <p:nvPr/>
            </p:nvSpPr>
            <p:spPr>
              <a:xfrm>
                <a:off x="5166050" y="2784081"/>
                <a:ext cx="45719" cy="631590"/>
              </a:xfrm>
              <a:custGeom>
                <a:avLst/>
                <a:gdLst>
                  <a:gd name="connsiteX0" fmla="*/ 0 w 12725"/>
                  <a:gd name="connsiteY0" fmla="*/ 0 h 621002"/>
                  <a:gd name="connsiteX1" fmla="*/ 0 w 12725"/>
                  <a:gd name="connsiteY1" fmla="*/ 621003 h 621002"/>
                </a:gdLst>
                <a:ahLst/>
                <a:cxnLst>
                  <a:cxn ang="0">
                    <a:pos x="connsiteX0" y="connsiteY0"/>
                  </a:cxn>
                  <a:cxn ang="0">
                    <a:pos x="connsiteX1" y="connsiteY1"/>
                  </a:cxn>
                </a:cxnLst>
                <a:rect l="l" t="t" r="r" b="b"/>
                <a:pathLst>
                  <a:path w="12725" h="621002">
                    <a:moveTo>
                      <a:pt x="0" y="0"/>
                    </a:moveTo>
                    <a:lnTo>
                      <a:pt x="0" y="621003"/>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97" name="Freeform: Shape 296">
                <a:extLst>
                  <a:ext uri="{FF2B5EF4-FFF2-40B4-BE49-F238E27FC236}">
                    <a16:creationId xmlns:a16="http://schemas.microsoft.com/office/drawing/2014/main" id="{2997EA9B-AD35-D0D8-F0CC-0F953F8D68C0}"/>
                  </a:ext>
                </a:extLst>
              </p:cNvPr>
              <p:cNvSpPr/>
              <p:nvPr/>
            </p:nvSpPr>
            <p:spPr>
              <a:xfrm>
                <a:off x="5101277" y="2781409"/>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98" name="Freeform: Shape 297">
                <a:extLst>
                  <a:ext uri="{FF2B5EF4-FFF2-40B4-BE49-F238E27FC236}">
                    <a16:creationId xmlns:a16="http://schemas.microsoft.com/office/drawing/2014/main" id="{33E74CDC-EA4B-E6D0-55C6-A53B588369F1}"/>
                  </a:ext>
                </a:extLst>
              </p:cNvPr>
              <p:cNvSpPr/>
              <p:nvPr/>
            </p:nvSpPr>
            <p:spPr>
              <a:xfrm>
                <a:off x="5101277" y="3414735"/>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23" name="Graphic 325">
              <a:extLst>
                <a:ext uri="{FF2B5EF4-FFF2-40B4-BE49-F238E27FC236}">
                  <a16:creationId xmlns:a16="http://schemas.microsoft.com/office/drawing/2014/main" id="{103D5457-C794-17F8-98D0-49A0D624D1C7}"/>
                </a:ext>
              </a:extLst>
            </p:cNvPr>
            <p:cNvGrpSpPr/>
            <p:nvPr/>
          </p:nvGrpSpPr>
          <p:grpSpPr>
            <a:xfrm>
              <a:off x="4513911" y="2412470"/>
              <a:ext cx="129545" cy="646051"/>
              <a:chOff x="4806555" y="2760666"/>
              <a:chExt cx="129545" cy="646051"/>
            </a:xfrm>
            <a:noFill/>
          </p:grpSpPr>
          <p:sp>
            <p:nvSpPr>
              <p:cNvPr id="293" name="Freeform: Shape 292">
                <a:extLst>
                  <a:ext uri="{FF2B5EF4-FFF2-40B4-BE49-F238E27FC236}">
                    <a16:creationId xmlns:a16="http://schemas.microsoft.com/office/drawing/2014/main" id="{FAC1491F-7108-7522-029C-80914AB1AC2C}"/>
                  </a:ext>
                </a:extLst>
              </p:cNvPr>
              <p:cNvSpPr/>
              <p:nvPr/>
            </p:nvSpPr>
            <p:spPr>
              <a:xfrm>
                <a:off x="4871328" y="2763339"/>
                <a:ext cx="45719" cy="633282"/>
              </a:xfrm>
              <a:custGeom>
                <a:avLst/>
                <a:gdLst>
                  <a:gd name="connsiteX0" fmla="*/ 0 w 12725"/>
                  <a:gd name="connsiteY0" fmla="*/ 0 h 621002"/>
                  <a:gd name="connsiteX1" fmla="*/ 0 w 12725"/>
                  <a:gd name="connsiteY1" fmla="*/ 621003 h 621002"/>
                </a:gdLst>
                <a:ahLst/>
                <a:cxnLst>
                  <a:cxn ang="0">
                    <a:pos x="connsiteX0" y="connsiteY0"/>
                  </a:cxn>
                  <a:cxn ang="0">
                    <a:pos x="connsiteX1" y="connsiteY1"/>
                  </a:cxn>
                </a:cxnLst>
                <a:rect l="l" t="t" r="r" b="b"/>
                <a:pathLst>
                  <a:path w="12725" h="621002">
                    <a:moveTo>
                      <a:pt x="0" y="0"/>
                    </a:moveTo>
                    <a:lnTo>
                      <a:pt x="0" y="621003"/>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94" name="Freeform: Shape 293">
                <a:extLst>
                  <a:ext uri="{FF2B5EF4-FFF2-40B4-BE49-F238E27FC236}">
                    <a16:creationId xmlns:a16="http://schemas.microsoft.com/office/drawing/2014/main" id="{3455BA81-56C3-DCB9-ADD0-DC45F79BC606}"/>
                  </a:ext>
                </a:extLst>
              </p:cNvPr>
              <p:cNvSpPr/>
              <p:nvPr/>
            </p:nvSpPr>
            <p:spPr>
              <a:xfrm>
                <a:off x="4806555" y="2760666"/>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95" name="Freeform: Shape 294">
                <a:extLst>
                  <a:ext uri="{FF2B5EF4-FFF2-40B4-BE49-F238E27FC236}">
                    <a16:creationId xmlns:a16="http://schemas.microsoft.com/office/drawing/2014/main" id="{4903FE79-AB03-CC37-4078-D14CEE6EC5C3}"/>
                  </a:ext>
                </a:extLst>
              </p:cNvPr>
              <p:cNvSpPr/>
              <p:nvPr/>
            </p:nvSpPr>
            <p:spPr>
              <a:xfrm>
                <a:off x="4806555" y="3393992"/>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24" name="Graphic 325">
              <a:extLst>
                <a:ext uri="{FF2B5EF4-FFF2-40B4-BE49-F238E27FC236}">
                  <a16:creationId xmlns:a16="http://schemas.microsoft.com/office/drawing/2014/main" id="{4945D0CF-105B-AD2E-F7EB-F7C24A20CD12}"/>
                </a:ext>
              </a:extLst>
            </p:cNvPr>
            <p:cNvGrpSpPr/>
            <p:nvPr/>
          </p:nvGrpSpPr>
          <p:grpSpPr>
            <a:xfrm>
              <a:off x="4220844" y="2269054"/>
              <a:ext cx="129545" cy="643670"/>
              <a:chOff x="4513488" y="2617250"/>
              <a:chExt cx="129545" cy="643670"/>
            </a:xfrm>
            <a:noFill/>
          </p:grpSpPr>
          <p:sp>
            <p:nvSpPr>
              <p:cNvPr id="290" name="Freeform: Shape 289">
                <a:extLst>
                  <a:ext uri="{FF2B5EF4-FFF2-40B4-BE49-F238E27FC236}">
                    <a16:creationId xmlns:a16="http://schemas.microsoft.com/office/drawing/2014/main" id="{A8EB0CBD-8552-BB7C-D509-CB8376A5F5DE}"/>
                  </a:ext>
                </a:extLst>
              </p:cNvPr>
              <p:cNvSpPr/>
              <p:nvPr/>
            </p:nvSpPr>
            <p:spPr>
              <a:xfrm>
                <a:off x="4578261" y="2619922"/>
                <a:ext cx="45719" cy="631441"/>
              </a:xfrm>
              <a:custGeom>
                <a:avLst/>
                <a:gdLst>
                  <a:gd name="connsiteX0" fmla="*/ 0 w 12725"/>
                  <a:gd name="connsiteY0" fmla="*/ 0 h 621002"/>
                  <a:gd name="connsiteX1" fmla="*/ 0 w 12725"/>
                  <a:gd name="connsiteY1" fmla="*/ 621003 h 621002"/>
                </a:gdLst>
                <a:ahLst/>
                <a:cxnLst>
                  <a:cxn ang="0">
                    <a:pos x="connsiteX0" y="connsiteY0"/>
                  </a:cxn>
                  <a:cxn ang="0">
                    <a:pos x="connsiteX1" y="connsiteY1"/>
                  </a:cxn>
                </a:cxnLst>
                <a:rect l="l" t="t" r="r" b="b"/>
                <a:pathLst>
                  <a:path w="12725" h="621002">
                    <a:moveTo>
                      <a:pt x="0" y="0"/>
                    </a:moveTo>
                    <a:lnTo>
                      <a:pt x="0" y="621003"/>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91" name="Freeform: Shape 290">
                <a:extLst>
                  <a:ext uri="{FF2B5EF4-FFF2-40B4-BE49-F238E27FC236}">
                    <a16:creationId xmlns:a16="http://schemas.microsoft.com/office/drawing/2014/main" id="{999856AA-654D-2760-600E-28359007CAB8}"/>
                  </a:ext>
                </a:extLst>
              </p:cNvPr>
              <p:cNvSpPr/>
              <p:nvPr/>
            </p:nvSpPr>
            <p:spPr>
              <a:xfrm>
                <a:off x="4513488" y="2617250"/>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92" name="Freeform: Shape 291">
                <a:extLst>
                  <a:ext uri="{FF2B5EF4-FFF2-40B4-BE49-F238E27FC236}">
                    <a16:creationId xmlns:a16="http://schemas.microsoft.com/office/drawing/2014/main" id="{D0100AAD-78D4-2555-4704-40EF7DFC9CB7}"/>
                  </a:ext>
                </a:extLst>
              </p:cNvPr>
              <p:cNvSpPr/>
              <p:nvPr/>
            </p:nvSpPr>
            <p:spPr>
              <a:xfrm>
                <a:off x="4513488" y="3248195"/>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25" name="Graphic 325">
              <a:extLst>
                <a:ext uri="{FF2B5EF4-FFF2-40B4-BE49-F238E27FC236}">
                  <a16:creationId xmlns:a16="http://schemas.microsoft.com/office/drawing/2014/main" id="{FB863960-F80D-8050-A1C2-5DB575FEDC70}"/>
                </a:ext>
              </a:extLst>
            </p:cNvPr>
            <p:cNvGrpSpPr/>
            <p:nvPr/>
          </p:nvGrpSpPr>
          <p:grpSpPr>
            <a:xfrm>
              <a:off x="3926631" y="2350370"/>
              <a:ext cx="129672" cy="643670"/>
              <a:chOff x="4219275" y="2698566"/>
              <a:chExt cx="129672" cy="643670"/>
            </a:xfrm>
            <a:noFill/>
          </p:grpSpPr>
          <p:sp>
            <p:nvSpPr>
              <p:cNvPr id="287" name="Freeform: Shape 286">
                <a:extLst>
                  <a:ext uri="{FF2B5EF4-FFF2-40B4-BE49-F238E27FC236}">
                    <a16:creationId xmlns:a16="http://schemas.microsoft.com/office/drawing/2014/main" id="{CD9B0BB1-1C4F-7593-EA58-1C99F4ECC433}"/>
                  </a:ext>
                </a:extLst>
              </p:cNvPr>
              <p:cNvSpPr/>
              <p:nvPr/>
            </p:nvSpPr>
            <p:spPr>
              <a:xfrm>
                <a:off x="4284048" y="2701238"/>
                <a:ext cx="45719" cy="633470"/>
              </a:xfrm>
              <a:custGeom>
                <a:avLst/>
                <a:gdLst>
                  <a:gd name="connsiteX0" fmla="*/ 0 w 12725"/>
                  <a:gd name="connsiteY0" fmla="*/ 0 h 621002"/>
                  <a:gd name="connsiteX1" fmla="*/ 0 w 12725"/>
                  <a:gd name="connsiteY1" fmla="*/ 621003 h 621002"/>
                </a:gdLst>
                <a:ahLst/>
                <a:cxnLst>
                  <a:cxn ang="0">
                    <a:pos x="connsiteX0" y="connsiteY0"/>
                  </a:cxn>
                  <a:cxn ang="0">
                    <a:pos x="connsiteX1" y="connsiteY1"/>
                  </a:cxn>
                </a:cxnLst>
                <a:rect l="l" t="t" r="r" b="b"/>
                <a:pathLst>
                  <a:path w="12725" h="621002">
                    <a:moveTo>
                      <a:pt x="0" y="0"/>
                    </a:moveTo>
                    <a:lnTo>
                      <a:pt x="0" y="621003"/>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88" name="Freeform: Shape 287">
                <a:extLst>
                  <a:ext uri="{FF2B5EF4-FFF2-40B4-BE49-F238E27FC236}">
                    <a16:creationId xmlns:a16="http://schemas.microsoft.com/office/drawing/2014/main" id="{F416AF4A-FB0A-AD77-A1C7-1788DBEE2C66}"/>
                  </a:ext>
                </a:extLst>
              </p:cNvPr>
              <p:cNvSpPr/>
              <p:nvPr/>
            </p:nvSpPr>
            <p:spPr>
              <a:xfrm>
                <a:off x="4219275" y="2698566"/>
                <a:ext cx="129672" cy="12725"/>
              </a:xfrm>
              <a:custGeom>
                <a:avLst/>
                <a:gdLst>
                  <a:gd name="connsiteX0" fmla="*/ 0 w 129672"/>
                  <a:gd name="connsiteY0" fmla="*/ 0 h 12725"/>
                  <a:gd name="connsiteX1" fmla="*/ 129672 w 129672"/>
                  <a:gd name="connsiteY1" fmla="*/ 0 h 12725"/>
                </a:gdLst>
                <a:ahLst/>
                <a:cxnLst>
                  <a:cxn ang="0">
                    <a:pos x="connsiteX0" y="connsiteY0"/>
                  </a:cxn>
                  <a:cxn ang="0">
                    <a:pos x="connsiteX1" y="connsiteY1"/>
                  </a:cxn>
                </a:cxnLst>
                <a:rect l="l" t="t" r="r" b="b"/>
                <a:pathLst>
                  <a:path w="129672" h="12725">
                    <a:moveTo>
                      <a:pt x="0" y="0"/>
                    </a:moveTo>
                    <a:lnTo>
                      <a:pt x="129672"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89" name="Freeform: Shape 288">
                <a:extLst>
                  <a:ext uri="{FF2B5EF4-FFF2-40B4-BE49-F238E27FC236}">
                    <a16:creationId xmlns:a16="http://schemas.microsoft.com/office/drawing/2014/main" id="{BE11205F-A34F-C361-B913-3703C437769D}"/>
                  </a:ext>
                </a:extLst>
              </p:cNvPr>
              <p:cNvSpPr/>
              <p:nvPr/>
            </p:nvSpPr>
            <p:spPr>
              <a:xfrm>
                <a:off x="4219275" y="3329511"/>
                <a:ext cx="129672" cy="12725"/>
              </a:xfrm>
              <a:custGeom>
                <a:avLst/>
                <a:gdLst>
                  <a:gd name="connsiteX0" fmla="*/ 0 w 129672"/>
                  <a:gd name="connsiteY0" fmla="*/ 0 h 12725"/>
                  <a:gd name="connsiteX1" fmla="*/ 129672 w 129672"/>
                  <a:gd name="connsiteY1" fmla="*/ 0 h 12725"/>
                </a:gdLst>
                <a:ahLst/>
                <a:cxnLst>
                  <a:cxn ang="0">
                    <a:pos x="connsiteX0" y="connsiteY0"/>
                  </a:cxn>
                  <a:cxn ang="0">
                    <a:pos x="connsiteX1" y="connsiteY1"/>
                  </a:cxn>
                </a:cxnLst>
                <a:rect l="l" t="t" r="r" b="b"/>
                <a:pathLst>
                  <a:path w="129672" h="12725">
                    <a:moveTo>
                      <a:pt x="0" y="0"/>
                    </a:moveTo>
                    <a:lnTo>
                      <a:pt x="129672"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26" name="Graphic 325">
              <a:extLst>
                <a:ext uri="{FF2B5EF4-FFF2-40B4-BE49-F238E27FC236}">
                  <a16:creationId xmlns:a16="http://schemas.microsoft.com/office/drawing/2014/main" id="{9228D28A-7D9C-06D7-CEFB-F20C73F76878}"/>
                </a:ext>
              </a:extLst>
            </p:cNvPr>
            <p:cNvGrpSpPr/>
            <p:nvPr/>
          </p:nvGrpSpPr>
          <p:grpSpPr>
            <a:xfrm>
              <a:off x="3631782" y="2283689"/>
              <a:ext cx="129545" cy="643526"/>
              <a:chOff x="3924426" y="2631885"/>
              <a:chExt cx="129545" cy="643526"/>
            </a:xfrm>
            <a:noFill/>
          </p:grpSpPr>
          <p:sp>
            <p:nvSpPr>
              <p:cNvPr id="284" name="Freeform: Shape 283">
                <a:extLst>
                  <a:ext uri="{FF2B5EF4-FFF2-40B4-BE49-F238E27FC236}">
                    <a16:creationId xmlns:a16="http://schemas.microsoft.com/office/drawing/2014/main" id="{22BADD5E-DA27-2BB1-0885-B7C9A330C333}"/>
                  </a:ext>
                </a:extLst>
              </p:cNvPr>
              <p:cNvSpPr/>
              <p:nvPr/>
            </p:nvSpPr>
            <p:spPr>
              <a:xfrm>
                <a:off x="3989199" y="2634684"/>
                <a:ext cx="12725" cy="640727"/>
              </a:xfrm>
              <a:custGeom>
                <a:avLst/>
                <a:gdLst>
                  <a:gd name="connsiteX0" fmla="*/ 0 w 12725"/>
                  <a:gd name="connsiteY0" fmla="*/ 0 h 640727"/>
                  <a:gd name="connsiteX1" fmla="*/ 0 w 12725"/>
                  <a:gd name="connsiteY1" fmla="*/ 640727 h 640727"/>
                </a:gdLst>
                <a:ahLst/>
                <a:cxnLst>
                  <a:cxn ang="0">
                    <a:pos x="connsiteX0" y="connsiteY0"/>
                  </a:cxn>
                  <a:cxn ang="0">
                    <a:pos x="connsiteX1" y="connsiteY1"/>
                  </a:cxn>
                </a:cxnLst>
                <a:rect l="l" t="t" r="r" b="b"/>
                <a:pathLst>
                  <a:path w="12725" h="640727">
                    <a:moveTo>
                      <a:pt x="0" y="0"/>
                    </a:moveTo>
                    <a:lnTo>
                      <a:pt x="0" y="640727"/>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85" name="Freeform: Shape 284">
                <a:extLst>
                  <a:ext uri="{FF2B5EF4-FFF2-40B4-BE49-F238E27FC236}">
                    <a16:creationId xmlns:a16="http://schemas.microsoft.com/office/drawing/2014/main" id="{E84B914D-F1E8-05E7-B92C-8BA62C4C424B}"/>
                  </a:ext>
                </a:extLst>
              </p:cNvPr>
              <p:cNvSpPr/>
              <p:nvPr/>
            </p:nvSpPr>
            <p:spPr>
              <a:xfrm>
                <a:off x="3924426" y="2631885"/>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86" name="Freeform: Shape 285">
                <a:extLst>
                  <a:ext uri="{FF2B5EF4-FFF2-40B4-BE49-F238E27FC236}">
                    <a16:creationId xmlns:a16="http://schemas.microsoft.com/office/drawing/2014/main" id="{C7D41CF9-45F1-4F45-14B2-FD613F819C51}"/>
                  </a:ext>
                </a:extLst>
              </p:cNvPr>
              <p:cNvSpPr/>
              <p:nvPr/>
            </p:nvSpPr>
            <p:spPr>
              <a:xfrm>
                <a:off x="3924426" y="3275411"/>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27" name="Graphic 325">
              <a:extLst>
                <a:ext uri="{FF2B5EF4-FFF2-40B4-BE49-F238E27FC236}">
                  <a16:creationId xmlns:a16="http://schemas.microsoft.com/office/drawing/2014/main" id="{39F06485-A969-61BF-5A23-6BF25D56B8F7}"/>
                </a:ext>
              </a:extLst>
            </p:cNvPr>
            <p:cNvGrpSpPr/>
            <p:nvPr/>
          </p:nvGrpSpPr>
          <p:grpSpPr>
            <a:xfrm>
              <a:off x="3337824" y="2197028"/>
              <a:ext cx="129672" cy="627492"/>
              <a:chOff x="3630468" y="2545224"/>
              <a:chExt cx="129672" cy="627492"/>
            </a:xfrm>
            <a:noFill/>
          </p:grpSpPr>
          <p:sp>
            <p:nvSpPr>
              <p:cNvPr id="281" name="Freeform: Shape 280">
                <a:extLst>
                  <a:ext uri="{FF2B5EF4-FFF2-40B4-BE49-F238E27FC236}">
                    <a16:creationId xmlns:a16="http://schemas.microsoft.com/office/drawing/2014/main" id="{4BA079DF-0EEA-318B-DB60-F3F0B9F0E920}"/>
                  </a:ext>
                </a:extLst>
              </p:cNvPr>
              <p:cNvSpPr/>
              <p:nvPr/>
            </p:nvSpPr>
            <p:spPr>
              <a:xfrm>
                <a:off x="3695241" y="2548024"/>
                <a:ext cx="12725" cy="624693"/>
              </a:xfrm>
              <a:custGeom>
                <a:avLst/>
                <a:gdLst>
                  <a:gd name="connsiteX0" fmla="*/ 0 w 12725"/>
                  <a:gd name="connsiteY0" fmla="*/ 0 h 624693"/>
                  <a:gd name="connsiteX1" fmla="*/ 0 w 12725"/>
                  <a:gd name="connsiteY1" fmla="*/ 624693 h 624693"/>
                </a:gdLst>
                <a:ahLst/>
                <a:cxnLst>
                  <a:cxn ang="0">
                    <a:pos x="connsiteX0" y="connsiteY0"/>
                  </a:cxn>
                  <a:cxn ang="0">
                    <a:pos x="connsiteX1" y="connsiteY1"/>
                  </a:cxn>
                </a:cxnLst>
                <a:rect l="l" t="t" r="r" b="b"/>
                <a:pathLst>
                  <a:path w="12725" h="624693">
                    <a:moveTo>
                      <a:pt x="0" y="0"/>
                    </a:moveTo>
                    <a:lnTo>
                      <a:pt x="0" y="624693"/>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82" name="Freeform: Shape 281">
                <a:extLst>
                  <a:ext uri="{FF2B5EF4-FFF2-40B4-BE49-F238E27FC236}">
                    <a16:creationId xmlns:a16="http://schemas.microsoft.com/office/drawing/2014/main" id="{59FC7DC4-C1AA-1DAE-B8A6-7AA40C8CA28D}"/>
                  </a:ext>
                </a:extLst>
              </p:cNvPr>
              <p:cNvSpPr/>
              <p:nvPr/>
            </p:nvSpPr>
            <p:spPr>
              <a:xfrm>
                <a:off x="3630468" y="2545224"/>
                <a:ext cx="129672" cy="12725"/>
              </a:xfrm>
              <a:custGeom>
                <a:avLst/>
                <a:gdLst>
                  <a:gd name="connsiteX0" fmla="*/ 0 w 129672"/>
                  <a:gd name="connsiteY0" fmla="*/ 0 h 12725"/>
                  <a:gd name="connsiteX1" fmla="*/ 129672 w 129672"/>
                  <a:gd name="connsiteY1" fmla="*/ 0 h 12725"/>
                </a:gdLst>
                <a:ahLst/>
                <a:cxnLst>
                  <a:cxn ang="0">
                    <a:pos x="connsiteX0" y="connsiteY0"/>
                  </a:cxn>
                  <a:cxn ang="0">
                    <a:pos x="connsiteX1" y="connsiteY1"/>
                  </a:cxn>
                </a:cxnLst>
                <a:rect l="l" t="t" r="r" b="b"/>
                <a:pathLst>
                  <a:path w="129672" h="12725">
                    <a:moveTo>
                      <a:pt x="0" y="0"/>
                    </a:moveTo>
                    <a:lnTo>
                      <a:pt x="129672"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83" name="Freeform: Shape 282">
                <a:extLst>
                  <a:ext uri="{FF2B5EF4-FFF2-40B4-BE49-F238E27FC236}">
                    <a16:creationId xmlns:a16="http://schemas.microsoft.com/office/drawing/2014/main" id="{403792F7-AA9E-31A0-C583-7A5E883D187D}"/>
                  </a:ext>
                </a:extLst>
              </p:cNvPr>
              <p:cNvSpPr/>
              <p:nvPr/>
            </p:nvSpPr>
            <p:spPr>
              <a:xfrm>
                <a:off x="3630468" y="3172717"/>
                <a:ext cx="129672" cy="12725"/>
              </a:xfrm>
              <a:custGeom>
                <a:avLst/>
                <a:gdLst>
                  <a:gd name="connsiteX0" fmla="*/ 0 w 129672"/>
                  <a:gd name="connsiteY0" fmla="*/ 0 h 12725"/>
                  <a:gd name="connsiteX1" fmla="*/ 129672 w 129672"/>
                  <a:gd name="connsiteY1" fmla="*/ 0 h 12725"/>
                </a:gdLst>
                <a:ahLst/>
                <a:cxnLst>
                  <a:cxn ang="0">
                    <a:pos x="connsiteX0" y="connsiteY0"/>
                  </a:cxn>
                  <a:cxn ang="0">
                    <a:pos x="connsiteX1" y="connsiteY1"/>
                  </a:cxn>
                </a:cxnLst>
                <a:rect l="l" t="t" r="r" b="b"/>
                <a:pathLst>
                  <a:path w="129672" h="12725">
                    <a:moveTo>
                      <a:pt x="0" y="0"/>
                    </a:moveTo>
                    <a:lnTo>
                      <a:pt x="129672"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28" name="Graphic 325">
              <a:extLst>
                <a:ext uri="{FF2B5EF4-FFF2-40B4-BE49-F238E27FC236}">
                  <a16:creationId xmlns:a16="http://schemas.microsoft.com/office/drawing/2014/main" id="{BE719704-53C2-BF3A-B2CB-5B8F099D7CAD}"/>
                </a:ext>
              </a:extLst>
            </p:cNvPr>
            <p:cNvGrpSpPr/>
            <p:nvPr/>
          </p:nvGrpSpPr>
          <p:grpSpPr>
            <a:xfrm>
              <a:off x="3043611" y="2119530"/>
              <a:ext cx="129545" cy="627365"/>
              <a:chOff x="3336255" y="2467726"/>
              <a:chExt cx="129545" cy="627365"/>
            </a:xfrm>
            <a:noFill/>
          </p:grpSpPr>
          <p:sp>
            <p:nvSpPr>
              <p:cNvPr id="278" name="Freeform: Shape 277">
                <a:extLst>
                  <a:ext uri="{FF2B5EF4-FFF2-40B4-BE49-F238E27FC236}">
                    <a16:creationId xmlns:a16="http://schemas.microsoft.com/office/drawing/2014/main" id="{888ACE1D-732F-8E63-B7B1-EF256FA8DAF0}"/>
                  </a:ext>
                </a:extLst>
              </p:cNvPr>
              <p:cNvSpPr/>
              <p:nvPr/>
            </p:nvSpPr>
            <p:spPr>
              <a:xfrm>
                <a:off x="3401028" y="2470398"/>
                <a:ext cx="12725" cy="624693"/>
              </a:xfrm>
              <a:custGeom>
                <a:avLst/>
                <a:gdLst>
                  <a:gd name="connsiteX0" fmla="*/ 0 w 12725"/>
                  <a:gd name="connsiteY0" fmla="*/ 0 h 624693"/>
                  <a:gd name="connsiteX1" fmla="*/ 0 w 12725"/>
                  <a:gd name="connsiteY1" fmla="*/ 624693 h 624693"/>
                </a:gdLst>
                <a:ahLst/>
                <a:cxnLst>
                  <a:cxn ang="0">
                    <a:pos x="connsiteX0" y="connsiteY0"/>
                  </a:cxn>
                  <a:cxn ang="0">
                    <a:pos x="connsiteX1" y="connsiteY1"/>
                  </a:cxn>
                </a:cxnLst>
                <a:rect l="l" t="t" r="r" b="b"/>
                <a:pathLst>
                  <a:path w="12725" h="624693">
                    <a:moveTo>
                      <a:pt x="0" y="0"/>
                    </a:moveTo>
                    <a:lnTo>
                      <a:pt x="0" y="624693"/>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79" name="Freeform: Shape 278">
                <a:extLst>
                  <a:ext uri="{FF2B5EF4-FFF2-40B4-BE49-F238E27FC236}">
                    <a16:creationId xmlns:a16="http://schemas.microsoft.com/office/drawing/2014/main" id="{01C20D4A-D125-8282-D9A3-CCEBD67DF089}"/>
                  </a:ext>
                </a:extLst>
              </p:cNvPr>
              <p:cNvSpPr/>
              <p:nvPr/>
            </p:nvSpPr>
            <p:spPr>
              <a:xfrm>
                <a:off x="3336255" y="2467726"/>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80" name="Freeform: Shape 279">
                <a:extLst>
                  <a:ext uri="{FF2B5EF4-FFF2-40B4-BE49-F238E27FC236}">
                    <a16:creationId xmlns:a16="http://schemas.microsoft.com/office/drawing/2014/main" id="{0E4CCC84-E872-9699-4244-3C713F1EC54D}"/>
                  </a:ext>
                </a:extLst>
              </p:cNvPr>
              <p:cNvSpPr/>
              <p:nvPr/>
            </p:nvSpPr>
            <p:spPr>
              <a:xfrm>
                <a:off x="3336255" y="3095091"/>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29" name="Graphic 325">
              <a:extLst>
                <a:ext uri="{FF2B5EF4-FFF2-40B4-BE49-F238E27FC236}">
                  <a16:creationId xmlns:a16="http://schemas.microsoft.com/office/drawing/2014/main" id="{C24C50E4-0418-FF50-2E49-F655EC95A8AA}"/>
                </a:ext>
              </a:extLst>
            </p:cNvPr>
            <p:cNvGrpSpPr/>
            <p:nvPr/>
          </p:nvGrpSpPr>
          <p:grpSpPr>
            <a:xfrm>
              <a:off x="2751307" y="1966570"/>
              <a:ext cx="129545" cy="627492"/>
              <a:chOff x="3043951" y="2314766"/>
              <a:chExt cx="129545" cy="627492"/>
            </a:xfrm>
            <a:noFill/>
          </p:grpSpPr>
          <p:sp>
            <p:nvSpPr>
              <p:cNvPr id="275" name="Freeform: Shape 274">
                <a:extLst>
                  <a:ext uri="{FF2B5EF4-FFF2-40B4-BE49-F238E27FC236}">
                    <a16:creationId xmlns:a16="http://schemas.microsoft.com/office/drawing/2014/main" id="{6224430D-6913-F194-F365-41DD41C34096}"/>
                  </a:ext>
                </a:extLst>
              </p:cNvPr>
              <p:cNvSpPr/>
              <p:nvPr/>
            </p:nvSpPr>
            <p:spPr>
              <a:xfrm>
                <a:off x="3108724" y="2317565"/>
                <a:ext cx="12725" cy="624693"/>
              </a:xfrm>
              <a:custGeom>
                <a:avLst/>
                <a:gdLst>
                  <a:gd name="connsiteX0" fmla="*/ 0 w 12725"/>
                  <a:gd name="connsiteY0" fmla="*/ 0 h 624693"/>
                  <a:gd name="connsiteX1" fmla="*/ 0 w 12725"/>
                  <a:gd name="connsiteY1" fmla="*/ 624693 h 624693"/>
                </a:gdLst>
                <a:ahLst/>
                <a:cxnLst>
                  <a:cxn ang="0">
                    <a:pos x="connsiteX0" y="connsiteY0"/>
                  </a:cxn>
                  <a:cxn ang="0">
                    <a:pos x="connsiteX1" y="connsiteY1"/>
                  </a:cxn>
                </a:cxnLst>
                <a:rect l="l" t="t" r="r" b="b"/>
                <a:pathLst>
                  <a:path w="12725" h="624693">
                    <a:moveTo>
                      <a:pt x="0" y="0"/>
                    </a:moveTo>
                    <a:lnTo>
                      <a:pt x="0" y="624693"/>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76" name="Freeform: Shape 275">
                <a:extLst>
                  <a:ext uri="{FF2B5EF4-FFF2-40B4-BE49-F238E27FC236}">
                    <a16:creationId xmlns:a16="http://schemas.microsoft.com/office/drawing/2014/main" id="{F7F9B699-8082-072A-0B5B-BE4DBC0D7738}"/>
                  </a:ext>
                </a:extLst>
              </p:cNvPr>
              <p:cNvSpPr/>
              <p:nvPr/>
            </p:nvSpPr>
            <p:spPr>
              <a:xfrm>
                <a:off x="3043951" y="2314766"/>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77" name="Freeform: Shape 276">
                <a:extLst>
                  <a:ext uri="{FF2B5EF4-FFF2-40B4-BE49-F238E27FC236}">
                    <a16:creationId xmlns:a16="http://schemas.microsoft.com/office/drawing/2014/main" id="{46B7D48D-FA46-0A3B-D035-3D27E125CCD9}"/>
                  </a:ext>
                </a:extLst>
              </p:cNvPr>
              <p:cNvSpPr/>
              <p:nvPr/>
            </p:nvSpPr>
            <p:spPr>
              <a:xfrm>
                <a:off x="3043951" y="2942259"/>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30" name="Graphic 325">
              <a:extLst>
                <a:ext uri="{FF2B5EF4-FFF2-40B4-BE49-F238E27FC236}">
                  <a16:creationId xmlns:a16="http://schemas.microsoft.com/office/drawing/2014/main" id="{34CB0B86-4E32-4CE6-5EA7-5F5FED18608A}"/>
                </a:ext>
              </a:extLst>
            </p:cNvPr>
            <p:cNvGrpSpPr/>
            <p:nvPr/>
          </p:nvGrpSpPr>
          <p:grpSpPr>
            <a:xfrm>
              <a:off x="2455058" y="1947100"/>
              <a:ext cx="129545" cy="566283"/>
              <a:chOff x="2747702" y="2295296"/>
              <a:chExt cx="129545" cy="566283"/>
            </a:xfrm>
            <a:noFill/>
          </p:grpSpPr>
          <p:sp>
            <p:nvSpPr>
              <p:cNvPr id="272" name="Freeform: Shape 271">
                <a:extLst>
                  <a:ext uri="{FF2B5EF4-FFF2-40B4-BE49-F238E27FC236}">
                    <a16:creationId xmlns:a16="http://schemas.microsoft.com/office/drawing/2014/main" id="{F607695E-54CC-1AD2-BBD9-5C2E42E79488}"/>
                  </a:ext>
                </a:extLst>
              </p:cNvPr>
              <p:cNvSpPr/>
              <p:nvPr/>
            </p:nvSpPr>
            <p:spPr>
              <a:xfrm>
                <a:off x="2812475" y="2297841"/>
                <a:ext cx="12725" cy="563738"/>
              </a:xfrm>
              <a:custGeom>
                <a:avLst/>
                <a:gdLst>
                  <a:gd name="connsiteX0" fmla="*/ 0 w 12725"/>
                  <a:gd name="connsiteY0" fmla="*/ 0 h 563738"/>
                  <a:gd name="connsiteX1" fmla="*/ 0 w 12725"/>
                  <a:gd name="connsiteY1" fmla="*/ 563738 h 563738"/>
                </a:gdLst>
                <a:ahLst/>
                <a:cxnLst>
                  <a:cxn ang="0">
                    <a:pos x="connsiteX0" y="connsiteY0"/>
                  </a:cxn>
                  <a:cxn ang="0">
                    <a:pos x="connsiteX1" y="connsiteY1"/>
                  </a:cxn>
                </a:cxnLst>
                <a:rect l="l" t="t" r="r" b="b"/>
                <a:pathLst>
                  <a:path w="12725" h="563738">
                    <a:moveTo>
                      <a:pt x="0" y="0"/>
                    </a:moveTo>
                    <a:lnTo>
                      <a:pt x="0" y="563738"/>
                    </a:lnTo>
                  </a:path>
                </a:pathLst>
              </a:custGeom>
              <a:noFill/>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73" name="Freeform: Shape 272">
                <a:extLst>
                  <a:ext uri="{FF2B5EF4-FFF2-40B4-BE49-F238E27FC236}">
                    <a16:creationId xmlns:a16="http://schemas.microsoft.com/office/drawing/2014/main" id="{3C000D12-8F63-BBBA-AE1A-CD98AB86C3A9}"/>
                  </a:ext>
                </a:extLst>
              </p:cNvPr>
              <p:cNvSpPr/>
              <p:nvPr/>
            </p:nvSpPr>
            <p:spPr>
              <a:xfrm>
                <a:off x="2747702" y="2295296"/>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74" name="Freeform: Shape 273">
                <a:extLst>
                  <a:ext uri="{FF2B5EF4-FFF2-40B4-BE49-F238E27FC236}">
                    <a16:creationId xmlns:a16="http://schemas.microsoft.com/office/drawing/2014/main" id="{DE85C3E7-D054-ECAA-31FE-CE1BC0883C2F}"/>
                  </a:ext>
                </a:extLst>
              </p:cNvPr>
              <p:cNvSpPr/>
              <p:nvPr/>
            </p:nvSpPr>
            <p:spPr>
              <a:xfrm>
                <a:off x="2747702" y="2861579"/>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ln w="1272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sp>
          <p:nvSpPr>
            <p:cNvPr id="131" name="Freeform: Shape 130">
              <a:extLst>
                <a:ext uri="{FF2B5EF4-FFF2-40B4-BE49-F238E27FC236}">
                  <a16:creationId xmlns:a16="http://schemas.microsoft.com/office/drawing/2014/main" id="{714D18C8-AE77-CE66-07BC-1373F0BC4A14}"/>
                </a:ext>
              </a:extLst>
            </p:cNvPr>
            <p:cNvSpPr/>
            <p:nvPr/>
          </p:nvSpPr>
          <p:spPr>
            <a:xfrm>
              <a:off x="2584604" y="2088782"/>
              <a:ext cx="7648767" cy="1880824"/>
            </a:xfrm>
            <a:custGeom>
              <a:avLst/>
              <a:gdLst>
                <a:gd name="connsiteX0" fmla="*/ 0 w 7648767"/>
                <a:gd name="connsiteY0" fmla="*/ 0 h 1865807"/>
                <a:gd name="connsiteX1" fmla="*/ 296249 w 7648767"/>
                <a:gd name="connsiteY1" fmla="*/ 2672 h 1865807"/>
                <a:gd name="connsiteX2" fmla="*/ 588553 w 7648767"/>
                <a:gd name="connsiteY2" fmla="*/ 138071 h 1865807"/>
                <a:gd name="connsiteX3" fmla="*/ 897400 w 7648767"/>
                <a:gd name="connsiteY3" fmla="*/ 97732 h 1865807"/>
                <a:gd name="connsiteX4" fmla="*/ 1176724 w 7648767"/>
                <a:gd name="connsiteY4" fmla="*/ 151433 h 1865807"/>
                <a:gd name="connsiteX5" fmla="*/ 1471573 w 7648767"/>
                <a:gd name="connsiteY5" fmla="*/ 193045 h 1865807"/>
                <a:gd name="connsiteX6" fmla="*/ 1774184 w 7648767"/>
                <a:gd name="connsiteY6" fmla="*/ 362294 h 1865807"/>
                <a:gd name="connsiteX7" fmla="*/ 2071833 w 7648767"/>
                <a:gd name="connsiteY7" fmla="*/ 356567 h 1865807"/>
                <a:gd name="connsiteX8" fmla="*/ 2376353 w 7648767"/>
                <a:gd name="connsiteY8" fmla="*/ 330989 h 1865807"/>
                <a:gd name="connsiteX9" fmla="*/ 2645242 w 7648767"/>
                <a:gd name="connsiteY9" fmla="*/ 422231 h 1865807"/>
                <a:gd name="connsiteX10" fmla="*/ 2950145 w 7648767"/>
                <a:gd name="connsiteY10" fmla="*/ 490312 h 1865807"/>
                <a:gd name="connsiteX11" fmla="*/ 3243721 w 7648767"/>
                <a:gd name="connsiteY11" fmla="*/ 537142 h 1865807"/>
                <a:gd name="connsiteX12" fmla="*/ 3536916 w 7648767"/>
                <a:gd name="connsiteY12" fmla="*/ 619476 h 1865807"/>
                <a:gd name="connsiteX13" fmla="*/ 3822348 w 7648767"/>
                <a:gd name="connsiteY13" fmla="*/ 880729 h 1865807"/>
                <a:gd name="connsiteX14" fmla="*/ 4122160 w 7648767"/>
                <a:gd name="connsiteY14" fmla="*/ 807812 h 1865807"/>
                <a:gd name="connsiteX15" fmla="*/ 4425790 w 7648767"/>
                <a:gd name="connsiteY15" fmla="*/ 1074157 h 1865807"/>
                <a:gd name="connsiteX16" fmla="*/ 4704095 w 7648767"/>
                <a:gd name="connsiteY16" fmla="*/ 1177996 h 1865807"/>
                <a:gd name="connsiteX17" fmla="*/ 5012943 w 7648767"/>
                <a:gd name="connsiteY17" fmla="*/ 1291635 h 1865807"/>
                <a:gd name="connsiteX18" fmla="*/ 5290739 w 7648767"/>
                <a:gd name="connsiteY18" fmla="*/ 1308687 h 1865807"/>
                <a:gd name="connsiteX19" fmla="*/ 5596023 w 7648767"/>
                <a:gd name="connsiteY19" fmla="*/ 1420416 h 1865807"/>
                <a:gd name="connsiteX20" fmla="*/ 5891763 w 7648767"/>
                <a:gd name="connsiteY20" fmla="*/ 1291635 h 1865807"/>
                <a:gd name="connsiteX21" fmla="*/ 6186230 w 7648767"/>
                <a:gd name="connsiteY21" fmla="*/ 1338973 h 1865807"/>
                <a:gd name="connsiteX22" fmla="*/ 6474971 w 7648767"/>
                <a:gd name="connsiteY22" fmla="*/ 1394202 h 1865807"/>
                <a:gd name="connsiteX23" fmla="*/ 6773129 w 7648767"/>
                <a:gd name="connsiteY23" fmla="*/ 1648329 h 1865807"/>
                <a:gd name="connsiteX24" fmla="*/ 7061488 w 7648767"/>
                <a:gd name="connsiteY24" fmla="*/ 1564214 h 1865807"/>
                <a:gd name="connsiteX25" fmla="*/ 7364099 w 7648767"/>
                <a:gd name="connsiteY25" fmla="*/ 1495369 h 1865807"/>
                <a:gd name="connsiteX26" fmla="*/ 7648768 w 7648767"/>
                <a:gd name="connsiteY26" fmla="*/ 1865808 h 186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648767" h="1865807">
                  <a:moveTo>
                    <a:pt x="0" y="0"/>
                  </a:moveTo>
                  <a:lnTo>
                    <a:pt x="296249" y="2672"/>
                  </a:lnTo>
                  <a:lnTo>
                    <a:pt x="588553" y="138071"/>
                  </a:lnTo>
                  <a:lnTo>
                    <a:pt x="897400" y="97732"/>
                  </a:lnTo>
                  <a:lnTo>
                    <a:pt x="1176724" y="151433"/>
                  </a:lnTo>
                  <a:lnTo>
                    <a:pt x="1471573" y="193045"/>
                  </a:lnTo>
                  <a:lnTo>
                    <a:pt x="1774184" y="362294"/>
                  </a:lnTo>
                  <a:lnTo>
                    <a:pt x="2071833" y="356567"/>
                  </a:lnTo>
                  <a:lnTo>
                    <a:pt x="2376353" y="330989"/>
                  </a:lnTo>
                  <a:lnTo>
                    <a:pt x="2645242" y="422231"/>
                  </a:lnTo>
                  <a:lnTo>
                    <a:pt x="2950145" y="490312"/>
                  </a:lnTo>
                  <a:lnTo>
                    <a:pt x="3243721" y="537142"/>
                  </a:lnTo>
                  <a:lnTo>
                    <a:pt x="3536916" y="619476"/>
                  </a:lnTo>
                  <a:lnTo>
                    <a:pt x="3822348" y="880729"/>
                  </a:lnTo>
                  <a:lnTo>
                    <a:pt x="4122160" y="807812"/>
                  </a:lnTo>
                  <a:lnTo>
                    <a:pt x="4425790" y="1074157"/>
                  </a:lnTo>
                  <a:lnTo>
                    <a:pt x="4704095" y="1177996"/>
                  </a:lnTo>
                  <a:lnTo>
                    <a:pt x="5012943" y="1291635"/>
                  </a:lnTo>
                  <a:lnTo>
                    <a:pt x="5290739" y="1308687"/>
                  </a:lnTo>
                  <a:lnTo>
                    <a:pt x="5596023" y="1420416"/>
                  </a:lnTo>
                  <a:lnTo>
                    <a:pt x="5891763" y="1291635"/>
                  </a:lnTo>
                  <a:lnTo>
                    <a:pt x="6186230" y="1338973"/>
                  </a:lnTo>
                  <a:lnTo>
                    <a:pt x="6474971" y="1394202"/>
                  </a:lnTo>
                  <a:lnTo>
                    <a:pt x="6773129" y="1648329"/>
                  </a:lnTo>
                  <a:lnTo>
                    <a:pt x="7061488" y="1564214"/>
                  </a:lnTo>
                  <a:lnTo>
                    <a:pt x="7364099" y="1495369"/>
                  </a:lnTo>
                  <a:lnTo>
                    <a:pt x="7648768" y="1865808"/>
                  </a:lnTo>
                </a:path>
              </a:pathLst>
            </a:custGeom>
            <a:noFill/>
            <a:ln w="2857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nvGrpSpPr>
            <p:cNvPr id="132" name="Graphic 325">
              <a:extLst>
                <a:ext uri="{FF2B5EF4-FFF2-40B4-BE49-F238E27FC236}">
                  <a16:creationId xmlns:a16="http://schemas.microsoft.com/office/drawing/2014/main" id="{E2033147-A0C3-BE27-FFD8-3AF4433CE253}"/>
                </a:ext>
              </a:extLst>
            </p:cNvPr>
            <p:cNvGrpSpPr/>
            <p:nvPr/>
          </p:nvGrpSpPr>
          <p:grpSpPr>
            <a:xfrm>
              <a:off x="10168599" y="3313885"/>
              <a:ext cx="129672" cy="1328555"/>
              <a:chOff x="10461243" y="3662081"/>
              <a:chExt cx="129672" cy="1328555"/>
            </a:xfrm>
            <a:solidFill>
              <a:schemeClr val="accent2"/>
            </a:solidFill>
          </p:grpSpPr>
          <p:sp>
            <p:nvSpPr>
              <p:cNvPr id="269" name="Freeform: Shape 268">
                <a:extLst>
                  <a:ext uri="{FF2B5EF4-FFF2-40B4-BE49-F238E27FC236}">
                    <a16:creationId xmlns:a16="http://schemas.microsoft.com/office/drawing/2014/main" id="{FCD2CECB-5B94-D45C-763C-E8055874E694}"/>
                  </a:ext>
                </a:extLst>
              </p:cNvPr>
              <p:cNvSpPr/>
              <p:nvPr/>
            </p:nvSpPr>
            <p:spPr>
              <a:xfrm>
                <a:off x="10526015" y="3662918"/>
                <a:ext cx="45719" cy="1317234"/>
              </a:xfrm>
              <a:custGeom>
                <a:avLst/>
                <a:gdLst>
                  <a:gd name="connsiteX0" fmla="*/ 0 w 12725"/>
                  <a:gd name="connsiteY0" fmla="*/ 0 h 1303087"/>
                  <a:gd name="connsiteX1" fmla="*/ 0 w 12725"/>
                  <a:gd name="connsiteY1" fmla="*/ 1303088 h 1303087"/>
                </a:gdLst>
                <a:ahLst/>
                <a:cxnLst>
                  <a:cxn ang="0">
                    <a:pos x="connsiteX0" y="connsiteY0"/>
                  </a:cxn>
                  <a:cxn ang="0">
                    <a:pos x="connsiteX1" y="connsiteY1"/>
                  </a:cxn>
                </a:cxnLst>
                <a:rect l="l" t="t" r="r" b="b"/>
                <a:pathLst>
                  <a:path w="12725" h="1303087">
                    <a:moveTo>
                      <a:pt x="0" y="0"/>
                    </a:moveTo>
                    <a:lnTo>
                      <a:pt x="0" y="1303088"/>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70" name="Freeform: Shape 269">
                <a:extLst>
                  <a:ext uri="{FF2B5EF4-FFF2-40B4-BE49-F238E27FC236}">
                    <a16:creationId xmlns:a16="http://schemas.microsoft.com/office/drawing/2014/main" id="{E8544878-A313-22CB-1575-CCC2D3AC9075}"/>
                  </a:ext>
                </a:extLst>
              </p:cNvPr>
              <p:cNvSpPr/>
              <p:nvPr/>
            </p:nvSpPr>
            <p:spPr>
              <a:xfrm>
                <a:off x="10461243" y="3662081"/>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71" name="Freeform: Shape 270">
                <a:extLst>
                  <a:ext uri="{FF2B5EF4-FFF2-40B4-BE49-F238E27FC236}">
                    <a16:creationId xmlns:a16="http://schemas.microsoft.com/office/drawing/2014/main" id="{C9A1F87E-88C3-4F75-1C0D-2968E138A482}"/>
                  </a:ext>
                </a:extLst>
              </p:cNvPr>
              <p:cNvSpPr/>
              <p:nvPr/>
            </p:nvSpPr>
            <p:spPr>
              <a:xfrm>
                <a:off x="10461243" y="4977911"/>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sp>
          <p:nvSpPr>
            <p:cNvPr id="133" name="Freeform: Shape 132">
              <a:extLst>
                <a:ext uri="{FF2B5EF4-FFF2-40B4-BE49-F238E27FC236}">
                  <a16:creationId xmlns:a16="http://schemas.microsoft.com/office/drawing/2014/main" id="{30DADF91-48C8-B9B7-3FA8-2382F3E930B7}"/>
                </a:ext>
              </a:extLst>
            </p:cNvPr>
            <p:cNvSpPr/>
            <p:nvPr/>
          </p:nvSpPr>
          <p:spPr>
            <a:xfrm>
              <a:off x="10201304" y="3943213"/>
              <a:ext cx="64136" cy="56501"/>
            </a:xfrm>
            <a:custGeom>
              <a:avLst/>
              <a:gdLst>
                <a:gd name="connsiteX0" fmla="*/ 0 w 64136"/>
                <a:gd name="connsiteY0" fmla="*/ 28251 h 56501"/>
                <a:gd name="connsiteX1" fmla="*/ 32068 w 64136"/>
                <a:gd name="connsiteY1" fmla="*/ 0 h 56501"/>
                <a:gd name="connsiteX2" fmla="*/ 64136 w 64136"/>
                <a:gd name="connsiteY2" fmla="*/ 28251 h 56501"/>
                <a:gd name="connsiteX3" fmla="*/ 32068 w 64136"/>
                <a:gd name="connsiteY3" fmla="*/ 56501 h 56501"/>
                <a:gd name="connsiteX4" fmla="*/ 0 w 64136"/>
                <a:gd name="connsiteY4" fmla="*/ 28251 h 56501"/>
                <a:gd name="connsiteX5" fmla="*/ 0 w 64136"/>
                <a:gd name="connsiteY5" fmla="*/ 28251 h 5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136" h="56501">
                  <a:moveTo>
                    <a:pt x="0" y="28251"/>
                  </a:moveTo>
                  <a:cubicBezTo>
                    <a:pt x="0" y="12598"/>
                    <a:pt x="14379" y="0"/>
                    <a:pt x="32068" y="0"/>
                  </a:cubicBezTo>
                  <a:cubicBezTo>
                    <a:pt x="49756" y="0"/>
                    <a:pt x="64136" y="12598"/>
                    <a:pt x="64136" y="28251"/>
                  </a:cubicBezTo>
                  <a:cubicBezTo>
                    <a:pt x="64136" y="43903"/>
                    <a:pt x="49756" y="56501"/>
                    <a:pt x="32068" y="56501"/>
                  </a:cubicBezTo>
                  <a:cubicBezTo>
                    <a:pt x="14379" y="56501"/>
                    <a:pt x="0" y="43903"/>
                    <a:pt x="0" y="28251"/>
                  </a:cubicBezTo>
                  <a:lnTo>
                    <a:pt x="0" y="28251"/>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34" name="Freeform: Shape 133">
              <a:extLst>
                <a:ext uri="{FF2B5EF4-FFF2-40B4-BE49-F238E27FC236}">
                  <a16:creationId xmlns:a16="http://schemas.microsoft.com/office/drawing/2014/main" id="{6D0946D1-1746-C96A-3EFE-96F3F283F0C7}"/>
                </a:ext>
              </a:extLst>
            </p:cNvPr>
            <p:cNvSpPr/>
            <p:nvPr/>
          </p:nvSpPr>
          <p:spPr>
            <a:xfrm>
              <a:off x="9326555" y="3719610"/>
              <a:ext cx="62609" cy="54973"/>
            </a:xfrm>
            <a:custGeom>
              <a:avLst/>
              <a:gdLst>
                <a:gd name="connsiteX0" fmla="*/ 0 w 62609"/>
                <a:gd name="connsiteY0" fmla="*/ 27487 h 54973"/>
                <a:gd name="connsiteX1" fmla="*/ 31305 w 62609"/>
                <a:gd name="connsiteY1" fmla="*/ 0 h 54973"/>
                <a:gd name="connsiteX2" fmla="*/ 62610 w 62609"/>
                <a:gd name="connsiteY2" fmla="*/ 27487 h 54973"/>
                <a:gd name="connsiteX3" fmla="*/ 31305 w 62609"/>
                <a:gd name="connsiteY3" fmla="*/ 54974 h 54973"/>
                <a:gd name="connsiteX4" fmla="*/ 0 w 62609"/>
                <a:gd name="connsiteY4" fmla="*/ 27487 h 54973"/>
                <a:gd name="connsiteX5" fmla="*/ 0 w 62609"/>
                <a:gd name="connsiteY5" fmla="*/ 27487 h 5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4973">
                  <a:moveTo>
                    <a:pt x="0" y="27487"/>
                  </a:moveTo>
                  <a:cubicBezTo>
                    <a:pt x="0" y="12344"/>
                    <a:pt x="13998" y="0"/>
                    <a:pt x="31305" y="0"/>
                  </a:cubicBezTo>
                  <a:cubicBezTo>
                    <a:pt x="48611" y="0"/>
                    <a:pt x="62610" y="12344"/>
                    <a:pt x="62610" y="27487"/>
                  </a:cubicBezTo>
                  <a:cubicBezTo>
                    <a:pt x="62610" y="42630"/>
                    <a:pt x="48611" y="54974"/>
                    <a:pt x="31305" y="54974"/>
                  </a:cubicBezTo>
                  <a:cubicBezTo>
                    <a:pt x="13998"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35" name="Freeform: Shape 134">
              <a:extLst>
                <a:ext uri="{FF2B5EF4-FFF2-40B4-BE49-F238E27FC236}">
                  <a16:creationId xmlns:a16="http://schemas.microsoft.com/office/drawing/2014/main" id="{0A8C0682-3F94-81E5-A22B-6DB1AB4E24B2}"/>
                </a:ext>
              </a:extLst>
            </p:cNvPr>
            <p:cNvSpPr/>
            <p:nvPr/>
          </p:nvSpPr>
          <p:spPr>
            <a:xfrm>
              <a:off x="9614150" y="3644329"/>
              <a:ext cx="64136" cy="54974"/>
            </a:xfrm>
            <a:custGeom>
              <a:avLst/>
              <a:gdLst>
                <a:gd name="connsiteX0" fmla="*/ 0 w 64136"/>
                <a:gd name="connsiteY0" fmla="*/ 27487 h 54974"/>
                <a:gd name="connsiteX1" fmla="*/ 32068 w 64136"/>
                <a:gd name="connsiteY1" fmla="*/ 0 h 54974"/>
                <a:gd name="connsiteX2" fmla="*/ 64136 w 64136"/>
                <a:gd name="connsiteY2" fmla="*/ 27487 h 54974"/>
                <a:gd name="connsiteX3" fmla="*/ 32068 w 64136"/>
                <a:gd name="connsiteY3" fmla="*/ 54974 h 54974"/>
                <a:gd name="connsiteX4" fmla="*/ 0 w 64136"/>
                <a:gd name="connsiteY4" fmla="*/ 27487 h 54974"/>
                <a:gd name="connsiteX5" fmla="*/ 0 w 64136"/>
                <a:gd name="connsiteY5" fmla="*/ 27487 h 5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136" h="54974">
                  <a:moveTo>
                    <a:pt x="0" y="27487"/>
                  </a:moveTo>
                  <a:cubicBezTo>
                    <a:pt x="0" y="12344"/>
                    <a:pt x="14380" y="0"/>
                    <a:pt x="32068" y="0"/>
                  </a:cubicBezTo>
                  <a:cubicBezTo>
                    <a:pt x="49756" y="0"/>
                    <a:pt x="64136" y="12344"/>
                    <a:pt x="64136" y="27487"/>
                  </a:cubicBezTo>
                  <a:cubicBezTo>
                    <a:pt x="64136" y="42630"/>
                    <a:pt x="49756" y="54974"/>
                    <a:pt x="32068" y="54974"/>
                  </a:cubicBezTo>
                  <a:cubicBezTo>
                    <a:pt x="14380"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36" name="Freeform: Shape 135">
              <a:extLst>
                <a:ext uri="{FF2B5EF4-FFF2-40B4-BE49-F238E27FC236}">
                  <a16:creationId xmlns:a16="http://schemas.microsoft.com/office/drawing/2014/main" id="{F8CB1906-03F7-483F-2EAD-D95113A03E10}"/>
                </a:ext>
              </a:extLst>
            </p:cNvPr>
            <p:cNvSpPr/>
            <p:nvPr/>
          </p:nvSpPr>
          <p:spPr>
            <a:xfrm>
              <a:off x="9917525" y="3577101"/>
              <a:ext cx="62609" cy="56501"/>
            </a:xfrm>
            <a:custGeom>
              <a:avLst/>
              <a:gdLst>
                <a:gd name="connsiteX0" fmla="*/ 0 w 62609"/>
                <a:gd name="connsiteY0" fmla="*/ 28251 h 56501"/>
                <a:gd name="connsiteX1" fmla="*/ 31305 w 62609"/>
                <a:gd name="connsiteY1" fmla="*/ 0 h 56501"/>
                <a:gd name="connsiteX2" fmla="*/ 62610 w 62609"/>
                <a:gd name="connsiteY2" fmla="*/ 28251 h 56501"/>
                <a:gd name="connsiteX3" fmla="*/ 31305 w 62609"/>
                <a:gd name="connsiteY3" fmla="*/ 56501 h 56501"/>
                <a:gd name="connsiteX4" fmla="*/ 0 w 62609"/>
                <a:gd name="connsiteY4" fmla="*/ 28251 h 56501"/>
                <a:gd name="connsiteX5" fmla="*/ 0 w 62609"/>
                <a:gd name="connsiteY5" fmla="*/ 28251 h 5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6501">
                  <a:moveTo>
                    <a:pt x="0" y="28251"/>
                  </a:moveTo>
                  <a:cubicBezTo>
                    <a:pt x="0" y="12598"/>
                    <a:pt x="13998" y="0"/>
                    <a:pt x="31305" y="0"/>
                  </a:cubicBezTo>
                  <a:cubicBezTo>
                    <a:pt x="48611" y="0"/>
                    <a:pt x="62610" y="12598"/>
                    <a:pt x="62610" y="28251"/>
                  </a:cubicBezTo>
                  <a:cubicBezTo>
                    <a:pt x="62610" y="43903"/>
                    <a:pt x="48611" y="56501"/>
                    <a:pt x="31305" y="56501"/>
                  </a:cubicBezTo>
                  <a:cubicBezTo>
                    <a:pt x="13998" y="56501"/>
                    <a:pt x="0" y="43903"/>
                    <a:pt x="0" y="28251"/>
                  </a:cubicBezTo>
                  <a:lnTo>
                    <a:pt x="0" y="28251"/>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37" name="Freeform: Shape 136">
              <a:extLst>
                <a:ext uri="{FF2B5EF4-FFF2-40B4-BE49-F238E27FC236}">
                  <a16:creationId xmlns:a16="http://schemas.microsoft.com/office/drawing/2014/main" id="{8D5437CF-5804-16D7-EA86-C71C6381E26C}"/>
                </a:ext>
              </a:extLst>
            </p:cNvPr>
            <p:cNvSpPr/>
            <p:nvPr/>
          </p:nvSpPr>
          <p:spPr>
            <a:xfrm>
              <a:off x="7855873" y="3382077"/>
              <a:ext cx="62609" cy="54974"/>
            </a:xfrm>
            <a:custGeom>
              <a:avLst/>
              <a:gdLst>
                <a:gd name="connsiteX0" fmla="*/ 0 w 62609"/>
                <a:gd name="connsiteY0" fmla="*/ 27487 h 54974"/>
                <a:gd name="connsiteX1" fmla="*/ 31305 w 62609"/>
                <a:gd name="connsiteY1" fmla="*/ 0 h 54974"/>
                <a:gd name="connsiteX2" fmla="*/ 62609 w 62609"/>
                <a:gd name="connsiteY2" fmla="*/ 27487 h 54974"/>
                <a:gd name="connsiteX3" fmla="*/ 31305 w 62609"/>
                <a:gd name="connsiteY3" fmla="*/ 54974 h 54974"/>
                <a:gd name="connsiteX4" fmla="*/ 0 w 62609"/>
                <a:gd name="connsiteY4" fmla="*/ 27487 h 54974"/>
                <a:gd name="connsiteX5" fmla="*/ 0 w 62609"/>
                <a:gd name="connsiteY5" fmla="*/ 27487 h 5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4974">
                  <a:moveTo>
                    <a:pt x="0" y="27487"/>
                  </a:moveTo>
                  <a:cubicBezTo>
                    <a:pt x="0" y="12344"/>
                    <a:pt x="13998" y="0"/>
                    <a:pt x="31305" y="0"/>
                  </a:cubicBezTo>
                  <a:cubicBezTo>
                    <a:pt x="48611" y="0"/>
                    <a:pt x="62609" y="12344"/>
                    <a:pt x="62609" y="27487"/>
                  </a:cubicBezTo>
                  <a:cubicBezTo>
                    <a:pt x="62609" y="42630"/>
                    <a:pt x="48611" y="54974"/>
                    <a:pt x="31305" y="54974"/>
                  </a:cubicBezTo>
                  <a:cubicBezTo>
                    <a:pt x="13998"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38" name="Freeform: Shape 137">
              <a:extLst>
                <a:ext uri="{FF2B5EF4-FFF2-40B4-BE49-F238E27FC236}">
                  <a16:creationId xmlns:a16="http://schemas.microsoft.com/office/drawing/2014/main" id="{9E4E64BF-494C-61C5-D8D2-E2BB4AF60E4C}"/>
                </a:ext>
              </a:extLst>
            </p:cNvPr>
            <p:cNvSpPr/>
            <p:nvPr/>
          </p:nvSpPr>
          <p:spPr>
            <a:xfrm>
              <a:off x="8738893" y="3404383"/>
              <a:ext cx="64136" cy="54974"/>
            </a:xfrm>
            <a:custGeom>
              <a:avLst/>
              <a:gdLst>
                <a:gd name="connsiteX0" fmla="*/ 0 w 64136"/>
                <a:gd name="connsiteY0" fmla="*/ 27487 h 54974"/>
                <a:gd name="connsiteX1" fmla="*/ 32068 w 64136"/>
                <a:gd name="connsiteY1" fmla="*/ 0 h 54974"/>
                <a:gd name="connsiteX2" fmla="*/ 64136 w 64136"/>
                <a:gd name="connsiteY2" fmla="*/ 27487 h 54974"/>
                <a:gd name="connsiteX3" fmla="*/ 32068 w 64136"/>
                <a:gd name="connsiteY3" fmla="*/ 54974 h 54974"/>
                <a:gd name="connsiteX4" fmla="*/ 0 w 64136"/>
                <a:gd name="connsiteY4" fmla="*/ 27487 h 54974"/>
                <a:gd name="connsiteX5" fmla="*/ 0 w 64136"/>
                <a:gd name="connsiteY5" fmla="*/ 27487 h 5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136" h="54974">
                  <a:moveTo>
                    <a:pt x="0" y="27487"/>
                  </a:moveTo>
                  <a:cubicBezTo>
                    <a:pt x="0" y="12344"/>
                    <a:pt x="14379" y="0"/>
                    <a:pt x="32068" y="0"/>
                  </a:cubicBezTo>
                  <a:cubicBezTo>
                    <a:pt x="49756" y="0"/>
                    <a:pt x="64136" y="12344"/>
                    <a:pt x="64136" y="27487"/>
                  </a:cubicBezTo>
                  <a:cubicBezTo>
                    <a:pt x="64136" y="42630"/>
                    <a:pt x="49756" y="54974"/>
                    <a:pt x="32068" y="54974"/>
                  </a:cubicBezTo>
                  <a:cubicBezTo>
                    <a:pt x="14379"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39" name="Freeform: Shape 138">
              <a:extLst>
                <a:ext uri="{FF2B5EF4-FFF2-40B4-BE49-F238E27FC236}">
                  <a16:creationId xmlns:a16="http://schemas.microsoft.com/office/drawing/2014/main" id="{F21FC777-E246-7832-E502-CE6590D88E83}"/>
                </a:ext>
              </a:extLst>
            </p:cNvPr>
            <p:cNvSpPr/>
            <p:nvPr/>
          </p:nvSpPr>
          <p:spPr>
            <a:xfrm>
              <a:off x="9028397" y="3466755"/>
              <a:ext cx="62609" cy="56501"/>
            </a:xfrm>
            <a:custGeom>
              <a:avLst/>
              <a:gdLst>
                <a:gd name="connsiteX0" fmla="*/ 0 w 62609"/>
                <a:gd name="connsiteY0" fmla="*/ 28251 h 56501"/>
                <a:gd name="connsiteX1" fmla="*/ 31305 w 62609"/>
                <a:gd name="connsiteY1" fmla="*/ 0 h 56501"/>
                <a:gd name="connsiteX2" fmla="*/ 62610 w 62609"/>
                <a:gd name="connsiteY2" fmla="*/ 28251 h 56501"/>
                <a:gd name="connsiteX3" fmla="*/ 31305 w 62609"/>
                <a:gd name="connsiteY3" fmla="*/ 56501 h 56501"/>
                <a:gd name="connsiteX4" fmla="*/ 0 w 62609"/>
                <a:gd name="connsiteY4" fmla="*/ 28251 h 56501"/>
                <a:gd name="connsiteX5" fmla="*/ 0 w 62609"/>
                <a:gd name="connsiteY5" fmla="*/ 28251 h 5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6501">
                  <a:moveTo>
                    <a:pt x="0" y="28251"/>
                  </a:moveTo>
                  <a:cubicBezTo>
                    <a:pt x="0" y="12598"/>
                    <a:pt x="13998" y="0"/>
                    <a:pt x="31305" y="0"/>
                  </a:cubicBezTo>
                  <a:cubicBezTo>
                    <a:pt x="48611" y="0"/>
                    <a:pt x="62610" y="12598"/>
                    <a:pt x="62610" y="28251"/>
                  </a:cubicBezTo>
                  <a:cubicBezTo>
                    <a:pt x="62610" y="43903"/>
                    <a:pt x="48611" y="56501"/>
                    <a:pt x="31305" y="56501"/>
                  </a:cubicBezTo>
                  <a:cubicBezTo>
                    <a:pt x="13998" y="56501"/>
                    <a:pt x="0" y="43903"/>
                    <a:pt x="0" y="28251"/>
                  </a:cubicBezTo>
                  <a:lnTo>
                    <a:pt x="0" y="28251"/>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40" name="Freeform: Shape 139">
              <a:extLst>
                <a:ext uri="{FF2B5EF4-FFF2-40B4-BE49-F238E27FC236}">
                  <a16:creationId xmlns:a16="http://schemas.microsoft.com/office/drawing/2014/main" id="{9FDD00CA-B6E6-3169-50AF-34A2FA859738}"/>
                </a:ext>
              </a:extLst>
            </p:cNvPr>
            <p:cNvSpPr/>
            <p:nvPr/>
          </p:nvSpPr>
          <p:spPr>
            <a:xfrm>
              <a:off x="7566496" y="3366097"/>
              <a:ext cx="62609" cy="54973"/>
            </a:xfrm>
            <a:custGeom>
              <a:avLst/>
              <a:gdLst>
                <a:gd name="connsiteX0" fmla="*/ 0 w 62609"/>
                <a:gd name="connsiteY0" fmla="*/ 27487 h 54973"/>
                <a:gd name="connsiteX1" fmla="*/ 31305 w 62609"/>
                <a:gd name="connsiteY1" fmla="*/ 0 h 54973"/>
                <a:gd name="connsiteX2" fmla="*/ 62609 w 62609"/>
                <a:gd name="connsiteY2" fmla="*/ 27487 h 54973"/>
                <a:gd name="connsiteX3" fmla="*/ 31305 w 62609"/>
                <a:gd name="connsiteY3" fmla="*/ 54974 h 54973"/>
                <a:gd name="connsiteX4" fmla="*/ 0 w 62609"/>
                <a:gd name="connsiteY4" fmla="*/ 27487 h 54973"/>
                <a:gd name="connsiteX5" fmla="*/ 0 w 62609"/>
                <a:gd name="connsiteY5" fmla="*/ 27487 h 5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4973">
                  <a:moveTo>
                    <a:pt x="0" y="27487"/>
                  </a:moveTo>
                  <a:cubicBezTo>
                    <a:pt x="0" y="12344"/>
                    <a:pt x="13998" y="0"/>
                    <a:pt x="31305" y="0"/>
                  </a:cubicBezTo>
                  <a:cubicBezTo>
                    <a:pt x="48611" y="0"/>
                    <a:pt x="62609" y="12344"/>
                    <a:pt x="62609" y="27487"/>
                  </a:cubicBezTo>
                  <a:cubicBezTo>
                    <a:pt x="62609" y="42630"/>
                    <a:pt x="48611" y="54974"/>
                    <a:pt x="31305" y="54974"/>
                  </a:cubicBezTo>
                  <a:cubicBezTo>
                    <a:pt x="13998"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41" name="Freeform: Shape 140">
              <a:extLst>
                <a:ext uri="{FF2B5EF4-FFF2-40B4-BE49-F238E27FC236}">
                  <a16:creationId xmlns:a16="http://schemas.microsoft.com/office/drawing/2014/main" id="{9F7398CD-7700-CFFD-A0A6-6B0A3BF7AE25}"/>
                </a:ext>
              </a:extLst>
            </p:cNvPr>
            <p:cNvSpPr/>
            <p:nvPr/>
          </p:nvSpPr>
          <p:spPr>
            <a:xfrm>
              <a:off x="8148686" y="3491787"/>
              <a:ext cx="64136" cy="54974"/>
            </a:xfrm>
            <a:custGeom>
              <a:avLst/>
              <a:gdLst>
                <a:gd name="connsiteX0" fmla="*/ 0 w 64136"/>
                <a:gd name="connsiteY0" fmla="*/ 27487 h 54974"/>
                <a:gd name="connsiteX1" fmla="*/ 32068 w 64136"/>
                <a:gd name="connsiteY1" fmla="*/ 0 h 54974"/>
                <a:gd name="connsiteX2" fmla="*/ 64136 w 64136"/>
                <a:gd name="connsiteY2" fmla="*/ 27487 h 54974"/>
                <a:gd name="connsiteX3" fmla="*/ 32068 w 64136"/>
                <a:gd name="connsiteY3" fmla="*/ 54974 h 54974"/>
                <a:gd name="connsiteX4" fmla="*/ 0 w 64136"/>
                <a:gd name="connsiteY4" fmla="*/ 27487 h 54974"/>
                <a:gd name="connsiteX5" fmla="*/ 0 w 64136"/>
                <a:gd name="connsiteY5" fmla="*/ 27487 h 5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136" h="54974">
                  <a:moveTo>
                    <a:pt x="0" y="27487"/>
                  </a:moveTo>
                  <a:cubicBezTo>
                    <a:pt x="0" y="12344"/>
                    <a:pt x="14380" y="0"/>
                    <a:pt x="32068" y="0"/>
                  </a:cubicBezTo>
                  <a:cubicBezTo>
                    <a:pt x="49757" y="0"/>
                    <a:pt x="64136" y="12344"/>
                    <a:pt x="64136" y="27487"/>
                  </a:cubicBezTo>
                  <a:cubicBezTo>
                    <a:pt x="64136" y="42630"/>
                    <a:pt x="49757" y="54974"/>
                    <a:pt x="32068" y="54974"/>
                  </a:cubicBezTo>
                  <a:cubicBezTo>
                    <a:pt x="14380"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42" name="Freeform: Shape 141">
              <a:extLst>
                <a:ext uri="{FF2B5EF4-FFF2-40B4-BE49-F238E27FC236}">
                  <a16:creationId xmlns:a16="http://schemas.microsoft.com/office/drawing/2014/main" id="{B47E1410-AE8E-0D37-97D5-FB0F6F29DE02}"/>
                </a:ext>
              </a:extLst>
            </p:cNvPr>
            <p:cNvSpPr/>
            <p:nvPr/>
          </p:nvSpPr>
          <p:spPr>
            <a:xfrm>
              <a:off x="8445189" y="3379619"/>
              <a:ext cx="62609" cy="56501"/>
            </a:xfrm>
            <a:custGeom>
              <a:avLst/>
              <a:gdLst>
                <a:gd name="connsiteX0" fmla="*/ 0 w 62609"/>
                <a:gd name="connsiteY0" fmla="*/ 28251 h 56501"/>
                <a:gd name="connsiteX1" fmla="*/ 31305 w 62609"/>
                <a:gd name="connsiteY1" fmla="*/ 0 h 56501"/>
                <a:gd name="connsiteX2" fmla="*/ 62609 w 62609"/>
                <a:gd name="connsiteY2" fmla="*/ 28251 h 56501"/>
                <a:gd name="connsiteX3" fmla="*/ 31305 w 62609"/>
                <a:gd name="connsiteY3" fmla="*/ 56501 h 56501"/>
                <a:gd name="connsiteX4" fmla="*/ 0 w 62609"/>
                <a:gd name="connsiteY4" fmla="*/ 28251 h 56501"/>
                <a:gd name="connsiteX5" fmla="*/ 0 w 62609"/>
                <a:gd name="connsiteY5" fmla="*/ 28251 h 5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6501">
                  <a:moveTo>
                    <a:pt x="0" y="28251"/>
                  </a:moveTo>
                  <a:cubicBezTo>
                    <a:pt x="0" y="12598"/>
                    <a:pt x="13998" y="0"/>
                    <a:pt x="31305" y="0"/>
                  </a:cubicBezTo>
                  <a:cubicBezTo>
                    <a:pt x="48611" y="0"/>
                    <a:pt x="62609" y="12598"/>
                    <a:pt x="62609" y="28251"/>
                  </a:cubicBezTo>
                  <a:cubicBezTo>
                    <a:pt x="62609" y="43903"/>
                    <a:pt x="48611" y="56501"/>
                    <a:pt x="31305" y="56501"/>
                  </a:cubicBezTo>
                  <a:cubicBezTo>
                    <a:pt x="13998" y="56501"/>
                    <a:pt x="0" y="43903"/>
                    <a:pt x="0" y="28251"/>
                  </a:cubicBezTo>
                  <a:lnTo>
                    <a:pt x="0" y="28251"/>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43" name="Freeform: Shape 142">
              <a:extLst>
                <a:ext uri="{FF2B5EF4-FFF2-40B4-BE49-F238E27FC236}">
                  <a16:creationId xmlns:a16="http://schemas.microsoft.com/office/drawing/2014/main" id="{BBB4E90D-8CFF-9AEC-2C20-B3131465321C}"/>
                </a:ext>
              </a:extLst>
            </p:cNvPr>
            <p:cNvSpPr/>
            <p:nvPr/>
          </p:nvSpPr>
          <p:spPr>
            <a:xfrm>
              <a:off x="6979216" y="3129041"/>
              <a:ext cx="62609" cy="54973"/>
            </a:xfrm>
            <a:custGeom>
              <a:avLst/>
              <a:gdLst>
                <a:gd name="connsiteX0" fmla="*/ 0 w 62609"/>
                <a:gd name="connsiteY0" fmla="*/ 27487 h 54973"/>
                <a:gd name="connsiteX1" fmla="*/ 31305 w 62609"/>
                <a:gd name="connsiteY1" fmla="*/ 0 h 54973"/>
                <a:gd name="connsiteX2" fmla="*/ 62609 w 62609"/>
                <a:gd name="connsiteY2" fmla="*/ 27487 h 54973"/>
                <a:gd name="connsiteX3" fmla="*/ 31305 w 62609"/>
                <a:gd name="connsiteY3" fmla="*/ 54974 h 54973"/>
                <a:gd name="connsiteX4" fmla="*/ 0 w 62609"/>
                <a:gd name="connsiteY4" fmla="*/ 27487 h 54973"/>
                <a:gd name="connsiteX5" fmla="*/ 0 w 62609"/>
                <a:gd name="connsiteY5" fmla="*/ 27487 h 5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4973">
                  <a:moveTo>
                    <a:pt x="0" y="27487"/>
                  </a:moveTo>
                  <a:cubicBezTo>
                    <a:pt x="0" y="12344"/>
                    <a:pt x="13998" y="0"/>
                    <a:pt x="31305" y="0"/>
                  </a:cubicBezTo>
                  <a:cubicBezTo>
                    <a:pt x="48611" y="0"/>
                    <a:pt x="62609" y="12344"/>
                    <a:pt x="62609" y="27487"/>
                  </a:cubicBezTo>
                  <a:cubicBezTo>
                    <a:pt x="62609" y="42630"/>
                    <a:pt x="48611" y="54974"/>
                    <a:pt x="31305" y="54974"/>
                  </a:cubicBezTo>
                  <a:cubicBezTo>
                    <a:pt x="13998"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44" name="Freeform: Shape 143">
              <a:extLst>
                <a:ext uri="{FF2B5EF4-FFF2-40B4-BE49-F238E27FC236}">
                  <a16:creationId xmlns:a16="http://schemas.microsoft.com/office/drawing/2014/main" id="{D0966EFC-6476-AE1F-908A-FD7519C077CF}"/>
                </a:ext>
              </a:extLst>
            </p:cNvPr>
            <p:cNvSpPr/>
            <p:nvPr/>
          </p:nvSpPr>
          <p:spPr>
            <a:xfrm>
              <a:off x="7264266" y="3239116"/>
              <a:ext cx="64136" cy="54974"/>
            </a:xfrm>
            <a:custGeom>
              <a:avLst/>
              <a:gdLst>
                <a:gd name="connsiteX0" fmla="*/ 0 w 64136"/>
                <a:gd name="connsiteY0" fmla="*/ 27487 h 54974"/>
                <a:gd name="connsiteX1" fmla="*/ 32068 w 64136"/>
                <a:gd name="connsiteY1" fmla="*/ 0 h 54974"/>
                <a:gd name="connsiteX2" fmla="*/ 64136 w 64136"/>
                <a:gd name="connsiteY2" fmla="*/ 27487 h 54974"/>
                <a:gd name="connsiteX3" fmla="*/ 32068 w 64136"/>
                <a:gd name="connsiteY3" fmla="*/ 54974 h 54974"/>
                <a:gd name="connsiteX4" fmla="*/ 0 w 64136"/>
                <a:gd name="connsiteY4" fmla="*/ 27487 h 54974"/>
                <a:gd name="connsiteX5" fmla="*/ 0 w 64136"/>
                <a:gd name="connsiteY5" fmla="*/ 27487 h 5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136" h="54974">
                  <a:moveTo>
                    <a:pt x="0" y="27487"/>
                  </a:moveTo>
                  <a:cubicBezTo>
                    <a:pt x="0" y="12344"/>
                    <a:pt x="14380" y="0"/>
                    <a:pt x="32068" y="0"/>
                  </a:cubicBezTo>
                  <a:cubicBezTo>
                    <a:pt x="49757" y="0"/>
                    <a:pt x="64136" y="12344"/>
                    <a:pt x="64136" y="27487"/>
                  </a:cubicBezTo>
                  <a:cubicBezTo>
                    <a:pt x="64136" y="42630"/>
                    <a:pt x="49757" y="54974"/>
                    <a:pt x="32068" y="54974"/>
                  </a:cubicBezTo>
                  <a:cubicBezTo>
                    <a:pt x="14380"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45" name="Freeform: Shape 144">
              <a:extLst>
                <a:ext uri="{FF2B5EF4-FFF2-40B4-BE49-F238E27FC236}">
                  <a16:creationId xmlns:a16="http://schemas.microsoft.com/office/drawing/2014/main" id="{365092B5-5759-2B77-8ED5-0B9DE47AD171}"/>
                </a:ext>
              </a:extLst>
            </p:cNvPr>
            <p:cNvSpPr/>
            <p:nvPr/>
          </p:nvSpPr>
          <p:spPr>
            <a:xfrm>
              <a:off x="6675713" y="2872877"/>
              <a:ext cx="62609" cy="56501"/>
            </a:xfrm>
            <a:custGeom>
              <a:avLst/>
              <a:gdLst>
                <a:gd name="connsiteX0" fmla="*/ 0 w 62609"/>
                <a:gd name="connsiteY0" fmla="*/ 28251 h 56501"/>
                <a:gd name="connsiteX1" fmla="*/ 31305 w 62609"/>
                <a:gd name="connsiteY1" fmla="*/ 0 h 56501"/>
                <a:gd name="connsiteX2" fmla="*/ 62609 w 62609"/>
                <a:gd name="connsiteY2" fmla="*/ 28251 h 56501"/>
                <a:gd name="connsiteX3" fmla="*/ 31305 w 62609"/>
                <a:gd name="connsiteY3" fmla="*/ 56501 h 56501"/>
                <a:gd name="connsiteX4" fmla="*/ 0 w 62609"/>
                <a:gd name="connsiteY4" fmla="*/ 28251 h 56501"/>
                <a:gd name="connsiteX5" fmla="*/ 0 w 62609"/>
                <a:gd name="connsiteY5" fmla="*/ 28251 h 5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6501">
                  <a:moveTo>
                    <a:pt x="0" y="28251"/>
                  </a:moveTo>
                  <a:cubicBezTo>
                    <a:pt x="0" y="12598"/>
                    <a:pt x="13998" y="0"/>
                    <a:pt x="31305" y="0"/>
                  </a:cubicBezTo>
                  <a:cubicBezTo>
                    <a:pt x="48611" y="0"/>
                    <a:pt x="62609" y="12598"/>
                    <a:pt x="62609" y="28251"/>
                  </a:cubicBezTo>
                  <a:cubicBezTo>
                    <a:pt x="62609" y="43903"/>
                    <a:pt x="48611" y="56501"/>
                    <a:pt x="31305" y="56501"/>
                  </a:cubicBezTo>
                  <a:cubicBezTo>
                    <a:pt x="13998" y="56501"/>
                    <a:pt x="0" y="43903"/>
                    <a:pt x="0" y="28251"/>
                  </a:cubicBezTo>
                  <a:lnTo>
                    <a:pt x="0" y="28251"/>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46" name="Freeform: Shape 145">
              <a:extLst>
                <a:ext uri="{FF2B5EF4-FFF2-40B4-BE49-F238E27FC236}">
                  <a16:creationId xmlns:a16="http://schemas.microsoft.com/office/drawing/2014/main" id="{AA30B80E-E611-C2E1-2088-05EA58732022}"/>
                </a:ext>
              </a:extLst>
            </p:cNvPr>
            <p:cNvSpPr/>
            <p:nvPr/>
          </p:nvSpPr>
          <p:spPr>
            <a:xfrm>
              <a:off x="6383536" y="2946685"/>
              <a:ext cx="62609" cy="54973"/>
            </a:xfrm>
            <a:custGeom>
              <a:avLst/>
              <a:gdLst>
                <a:gd name="connsiteX0" fmla="*/ 0 w 62609"/>
                <a:gd name="connsiteY0" fmla="*/ 27487 h 54973"/>
                <a:gd name="connsiteX1" fmla="*/ 31305 w 62609"/>
                <a:gd name="connsiteY1" fmla="*/ 0 h 54973"/>
                <a:gd name="connsiteX2" fmla="*/ 62609 w 62609"/>
                <a:gd name="connsiteY2" fmla="*/ 27487 h 54973"/>
                <a:gd name="connsiteX3" fmla="*/ 31305 w 62609"/>
                <a:gd name="connsiteY3" fmla="*/ 54974 h 54973"/>
                <a:gd name="connsiteX4" fmla="*/ 0 w 62609"/>
                <a:gd name="connsiteY4" fmla="*/ 27487 h 54973"/>
                <a:gd name="connsiteX5" fmla="*/ 0 w 62609"/>
                <a:gd name="connsiteY5" fmla="*/ 27487 h 5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4973">
                  <a:moveTo>
                    <a:pt x="0" y="27487"/>
                  </a:moveTo>
                  <a:cubicBezTo>
                    <a:pt x="0" y="12344"/>
                    <a:pt x="13998" y="0"/>
                    <a:pt x="31305" y="0"/>
                  </a:cubicBezTo>
                  <a:cubicBezTo>
                    <a:pt x="48611" y="0"/>
                    <a:pt x="62609" y="12344"/>
                    <a:pt x="62609" y="27487"/>
                  </a:cubicBezTo>
                  <a:cubicBezTo>
                    <a:pt x="62609" y="42630"/>
                    <a:pt x="48611" y="54974"/>
                    <a:pt x="31305" y="54974"/>
                  </a:cubicBezTo>
                  <a:cubicBezTo>
                    <a:pt x="13998"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47" name="Freeform: Shape 146">
              <a:extLst>
                <a:ext uri="{FF2B5EF4-FFF2-40B4-BE49-F238E27FC236}">
                  <a16:creationId xmlns:a16="http://schemas.microsoft.com/office/drawing/2014/main" id="{B155864A-07C7-96C3-170E-3520EBD7EEDD}"/>
                </a:ext>
              </a:extLst>
            </p:cNvPr>
            <p:cNvSpPr/>
            <p:nvPr/>
          </p:nvSpPr>
          <p:spPr>
            <a:xfrm>
              <a:off x="5206431" y="2488059"/>
              <a:ext cx="64136" cy="54974"/>
            </a:xfrm>
            <a:custGeom>
              <a:avLst/>
              <a:gdLst>
                <a:gd name="connsiteX0" fmla="*/ 0 w 64136"/>
                <a:gd name="connsiteY0" fmla="*/ 27487 h 54974"/>
                <a:gd name="connsiteX1" fmla="*/ 32068 w 64136"/>
                <a:gd name="connsiteY1" fmla="*/ 0 h 54974"/>
                <a:gd name="connsiteX2" fmla="*/ 64136 w 64136"/>
                <a:gd name="connsiteY2" fmla="*/ 27487 h 54974"/>
                <a:gd name="connsiteX3" fmla="*/ 32068 w 64136"/>
                <a:gd name="connsiteY3" fmla="*/ 54974 h 54974"/>
                <a:gd name="connsiteX4" fmla="*/ 0 w 64136"/>
                <a:gd name="connsiteY4" fmla="*/ 27487 h 54974"/>
                <a:gd name="connsiteX5" fmla="*/ 0 w 64136"/>
                <a:gd name="connsiteY5" fmla="*/ 27487 h 5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136" h="54974">
                  <a:moveTo>
                    <a:pt x="0" y="27487"/>
                  </a:moveTo>
                  <a:cubicBezTo>
                    <a:pt x="0" y="12344"/>
                    <a:pt x="14380" y="0"/>
                    <a:pt x="32068" y="0"/>
                  </a:cubicBezTo>
                  <a:cubicBezTo>
                    <a:pt x="49757" y="0"/>
                    <a:pt x="64136" y="12344"/>
                    <a:pt x="64136" y="27487"/>
                  </a:cubicBezTo>
                  <a:cubicBezTo>
                    <a:pt x="64136" y="42630"/>
                    <a:pt x="49757" y="54974"/>
                    <a:pt x="32068" y="54974"/>
                  </a:cubicBezTo>
                  <a:cubicBezTo>
                    <a:pt x="14380"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48" name="Freeform: Shape 147">
              <a:extLst>
                <a:ext uri="{FF2B5EF4-FFF2-40B4-BE49-F238E27FC236}">
                  <a16:creationId xmlns:a16="http://schemas.microsoft.com/office/drawing/2014/main" id="{0A7FA36D-38B4-4F38-BCCD-022CF9147A3B}"/>
                </a:ext>
              </a:extLst>
            </p:cNvPr>
            <p:cNvSpPr/>
            <p:nvPr/>
          </p:nvSpPr>
          <p:spPr>
            <a:xfrm>
              <a:off x="4625259" y="2421760"/>
              <a:ext cx="62609" cy="56501"/>
            </a:xfrm>
            <a:custGeom>
              <a:avLst/>
              <a:gdLst>
                <a:gd name="connsiteX0" fmla="*/ 0 w 62609"/>
                <a:gd name="connsiteY0" fmla="*/ 28251 h 56501"/>
                <a:gd name="connsiteX1" fmla="*/ 31305 w 62609"/>
                <a:gd name="connsiteY1" fmla="*/ 0 h 56501"/>
                <a:gd name="connsiteX2" fmla="*/ 62609 w 62609"/>
                <a:gd name="connsiteY2" fmla="*/ 28251 h 56501"/>
                <a:gd name="connsiteX3" fmla="*/ 31305 w 62609"/>
                <a:gd name="connsiteY3" fmla="*/ 56501 h 56501"/>
                <a:gd name="connsiteX4" fmla="*/ 0 w 62609"/>
                <a:gd name="connsiteY4" fmla="*/ 28251 h 56501"/>
                <a:gd name="connsiteX5" fmla="*/ 0 w 62609"/>
                <a:gd name="connsiteY5" fmla="*/ 28251 h 5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6501">
                  <a:moveTo>
                    <a:pt x="0" y="28251"/>
                  </a:moveTo>
                  <a:cubicBezTo>
                    <a:pt x="0" y="12598"/>
                    <a:pt x="13998" y="0"/>
                    <a:pt x="31305" y="0"/>
                  </a:cubicBezTo>
                  <a:cubicBezTo>
                    <a:pt x="48611" y="0"/>
                    <a:pt x="62609" y="12598"/>
                    <a:pt x="62609" y="28251"/>
                  </a:cubicBezTo>
                  <a:cubicBezTo>
                    <a:pt x="62609" y="43903"/>
                    <a:pt x="48611" y="56501"/>
                    <a:pt x="31305" y="56501"/>
                  </a:cubicBezTo>
                  <a:cubicBezTo>
                    <a:pt x="13998" y="56501"/>
                    <a:pt x="0" y="43903"/>
                    <a:pt x="0" y="28251"/>
                  </a:cubicBezTo>
                  <a:lnTo>
                    <a:pt x="0" y="28251"/>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49" name="Freeform: Shape 148">
              <a:extLst>
                <a:ext uri="{FF2B5EF4-FFF2-40B4-BE49-F238E27FC236}">
                  <a16:creationId xmlns:a16="http://schemas.microsoft.com/office/drawing/2014/main" id="{D6DEFF7A-4212-095E-5758-5ED82E7942B1}"/>
                </a:ext>
              </a:extLst>
            </p:cNvPr>
            <p:cNvSpPr/>
            <p:nvPr/>
          </p:nvSpPr>
          <p:spPr>
            <a:xfrm>
              <a:off x="6090342" y="2683777"/>
              <a:ext cx="62609" cy="54974"/>
            </a:xfrm>
            <a:custGeom>
              <a:avLst/>
              <a:gdLst>
                <a:gd name="connsiteX0" fmla="*/ 0 w 62609"/>
                <a:gd name="connsiteY0" fmla="*/ 27487 h 54974"/>
                <a:gd name="connsiteX1" fmla="*/ 31305 w 62609"/>
                <a:gd name="connsiteY1" fmla="*/ 0 h 54974"/>
                <a:gd name="connsiteX2" fmla="*/ 62609 w 62609"/>
                <a:gd name="connsiteY2" fmla="*/ 27487 h 54974"/>
                <a:gd name="connsiteX3" fmla="*/ 31305 w 62609"/>
                <a:gd name="connsiteY3" fmla="*/ 54974 h 54974"/>
                <a:gd name="connsiteX4" fmla="*/ 0 w 62609"/>
                <a:gd name="connsiteY4" fmla="*/ 27487 h 54974"/>
                <a:gd name="connsiteX5" fmla="*/ 0 w 62609"/>
                <a:gd name="connsiteY5" fmla="*/ 27487 h 5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4974">
                  <a:moveTo>
                    <a:pt x="0" y="27487"/>
                  </a:moveTo>
                  <a:cubicBezTo>
                    <a:pt x="0" y="12344"/>
                    <a:pt x="13998" y="0"/>
                    <a:pt x="31305" y="0"/>
                  </a:cubicBezTo>
                  <a:cubicBezTo>
                    <a:pt x="48611" y="0"/>
                    <a:pt x="62609" y="12344"/>
                    <a:pt x="62609" y="27487"/>
                  </a:cubicBezTo>
                  <a:cubicBezTo>
                    <a:pt x="62609" y="42630"/>
                    <a:pt x="48611" y="54974"/>
                    <a:pt x="31305" y="54974"/>
                  </a:cubicBezTo>
                  <a:cubicBezTo>
                    <a:pt x="13998"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50" name="Freeform: Shape 149">
              <a:extLst>
                <a:ext uri="{FF2B5EF4-FFF2-40B4-BE49-F238E27FC236}">
                  <a16:creationId xmlns:a16="http://schemas.microsoft.com/office/drawing/2014/main" id="{85211A17-7446-14A3-7908-F9AABB1BD3C4}"/>
                </a:ext>
              </a:extLst>
            </p:cNvPr>
            <p:cNvSpPr/>
            <p:nvPr/>
          </p:nvSpPr>
          <p:spPr>
            <a:xfrm>
              <a:off x="5796384" y="2598262"/>
              <a:ext cx="64136" cy="54974"/>
            </a:xfrm>
            <a:custGeom>
              <a:avLst/>
              <a:gdLst>
                <a:gd name="connsiteX0" fmla="*/ 0 w 64136"/>
                <a:gd name="connsiteY0" fmla="*/ 27487 h 54974"/>
                <a:gd name="connsiteX1" fmla="*/ 32068 w 64136"/>
                <a:gd name="connsiteY1" fmla="*/ 0 h 54974"/>
                <a:gd name="connsiteX2" fmla="*/ 64136 w 64136"/>
                <a:gd name="connsiteY2" fmla="*/ 27487 h 54974"/>
                <a:gd name="connsiteX3" fmla="*/ 32068 w 64136"/>
                <a:gd name="connsiteY3" fmla="*/ 54974 h 54974"/>
                <a:gd name="connsiteX4" fmla="*/ 0 w 64136"/>
                <a:gd name="connsiteY4" fmla="*/ 27487 h 54974"/>
                <a:gd name="connsiteX5" fmla="*/ 0 w 64136"/>
                <a:gd name="connsiteY5" fmla="*/ 27487 h 5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136" h="54974">
                  <a:moveTo>
                    <a:pt x="0" y="27487"/>
                  </a:moveTo>
                  <a:cubicBezTo>
                    <a:pt x="0" y="12344"/>
                    <a:pt x="14380" y="0"/>
                    <a:pt x="32068" y="0"/>
                  </a:cubicBezTo>
                  <a:cubicBezTo>
                    <a:pt x="49757" y="0"/>
                    <a:pt x="64136" y="12344"/>
                    <a:pt x="64136" y="27487"/>
                  </a:cubicBezTo>
                  <a:cubicBezTo>
                    <a:pt x="64136" y="42630"/>
                    <a:pt x="49757" y="54974"/>
                    <a:pt x="32068" y="54974"/>
                  </a:cubicBezTo>
                  <a:cubicBezTo>
                    <a:pt x="14380"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51" name="Freeform: Shape 150">
              <a:extLst>
                <a:ext uri="{FF2B5EF4-FFF2-40B4-BE49-F238E27FC236}">
                  <a16:creationId xmlns:a16="http://schemas.microsoft.com/office/drawing/2014/main" id="{24AE9F53-A16D-2568-5D65-2BFFC0C29B76}"/>
                </a:ext>
              </a:extLst>
            </p:cNvPr>
            <p:cNvSpPr/>
            <p:nvPr/>
          </p:nvSpPr>
          <p:spPr>
            <a:xfrm>
              <a:off x="5503571" y="2555377"/>
              <a:ext cx="62609" cy="56501"/>
            </a:xfrm>
            <a:custGeom>
              <a:avLst/>
              <a:gdLst>
                <a:gd name="connsiteX0" fmla="*/ 0 w 62609"/>
                <a:gd name="connsiteY0" fmla="*/ 28251 h 56501"/>
                <a:gd name="connsiteX1" fmla="*/ 31305 w 62609"/>
                <a:gd name="connsiteY1" fmla="*/ 0 h 56501"/>
                <a:gd name="connsiteX2" fmla="*/ 62609 w 62609"/>
                <a:gd name="connsiteY2" fmla="*/ 28251 h 56501"/>
                <a:gd name="connsiteX3" fmla="*/ 31305 w 62609"/>
                <a:gd name="connsiteY3" fmla="*/ 56501 h 56501"/>
                <a:gd name="connsiteX4" fmla="*/ 0 w 62609"/>
                <a:gd name="connsiteY4" fmla="*/ 28251 h 56501"/>
                <a:gd name="connsiteX5" fmla="*/ 0 w 62609"/>
                <a:gd name="connsiteY5" fmla="*/ 28251 h 5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6501">
                  <a:moveTo>
                    <a:pt x="0" y="28251"/>
                  </a:moveTo>
                  <a:cubicBezTo>
                    <a:pt x="0" y="12598"/>
                    <a:pt x="13998" y="0"/>
                    <a:pt x="31305" y="0"/>
                  </a:cubicBezTo>
                  <a:cubicBezTo>
                    <a:pt x="48611" y="0"/>
                    <a:pt x="62609" y="12598"/>
                    <a:pt x="62609" y="28251"/>
                  </a:cubicBezTo>
                  <a:cubicBezTo>
                    <a:pt x="62609" y="43903"/>
                    <a:pt x="48611" y="56501"/>
                    <a:pt x="31305" y="56501"/>
                  </a:cubicBezTo>
                  <a:cubicBezTo>
                    <a:pt x="13998" y="56501"/>
                    <a:pt x="0" y="43903"/>
                    <a:pt x="0" y="28251"/>
                  </a:cubicBezTo>
                  <a:lnTo>
                    <a:pt x="0" y="28251"/>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52" name="Freeform: Shape 151">
              <a:extLst>
                <a:ext uri="{FF2B5EF4-FFF2-40B4-BE49-F238E27FC236}">
                  <a16:creationId xmlns:a16="http://schemas.microsoft.com/office/drawing/2014/main" id="{CC09CC8E-4BF9-3AF7-3223-FFAC81FCDA76}"/>
                </a:ext>
              </a:extLst>
            </p:cNvPr>
            <p:cNvSpPr/>
            <p:nvPr/>
          </p:nvSpPr>
          <p:spPr>
            <a:xfrm>
              <a:off x="3450699" y="2165469"/>
              <a:ext cx="62609" cy="54974"/>
            </a:xfrm>
            <a:custGeom>
              <a:avLst/>
              <a:gdLst>
                <a:gd name="connsiteX0" fmla="*/ 0 w 62609"/>
                <a:gd name="connsiteY0" fmla="*/ 27487 h 54974"/>
                <a:gd name="connsiteX1" fmla="*/ 31305 w 62609"/>
                <a:gd name="connsiteY1" fmla="*/ 0 h 54974"/>
                <a:gd name="connsiteX2" fmla="*/ 62609 w 62609"/>
                <a:gd name="connsiteY2" fmla="*/ 27487 h 54974"/>
                <a:gd name="connsiteX3" fmla="*/ 31305 w 62609"/>
                <a:gd name="connsiteY3" fmla="*/ 54974 h 54974"/>
                <a:gd name="connsiteX4" fmla="*/ 0 w 62609"/>
                <a:gd name="connsiteY4" fmla="*/ 27487 h 54974"/>
                <a:gd name="connsiteX5" fmla="*/ 0 w 62609"/>
                <a:gd name="connsiteY5" fmla="*/ 27487 h 5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4974">
                  <a:moveTo>
                    <a:pt x="0" y="27487"/>
                  </a:moveTo>
                  <a:cubicBezTo>
                    <a:pt x="0" y="12344"/>
                    <a:pt x="13998" y="0"/>
                    <a:pt x="31305" y="0"/>
                  </a:cubicBezTo>
                  <a:cubicBezTo>
                    <a:pt x="48611" y="0"/>
                    <a:pt x="62609" y="12344"/>
                    <a:pt x="62609" y="27487"/>
                  </a:cubicBezTo>
                  <a:cubicBezTo>
                    <a:pt x="62609" y="42630"/>
                    <a:pt x="48611" y="54974"/>
                    <a:pt x="31305" y="54974"/>
                  </a:cubicBezTo>
                  <a:cubicBezTo>
                    <a:pt x="13998"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53" name="Freeform: Shape 152">
              <a:extLst>
                <a:ext uri="{FF2B5EF4-FFF2-40B4-BE49-F238E27FC236}">
                  <a16:creationId xmlns:a16="http://schemas.microsoft.com/office/drawing/2014/main" id="{F34956D5-3775-CFBA-9A3E-CEACF9F2B733}"/>
                </a:ext>
              </a:extLst>
            </p:cNvPr>
            <p:cNvSpPr/>
            <p:nvPr/>
          </p:nvSpPr>
          <p:spPr>
            <a:xfrm>
              <a:off x="3737022" y="2204027"/>
              <a:ext cx="64136" cy="54974"/>
            </a:xfrm>
            <a:custGeom>
              <a:avLst/>
              <a:gdLst>
                <a:gd name="connsiteX0" fmla="*/ 0 w 64136"/>
                <a:gd name="connsiteY0" fmla="*/ 27487 h 54974"/>
                <a:gd name="connsiteX1" fmla="*/ 32068 w 64136"/>
                <a:gd name="connsiteY1" fmla="*/ 0 h 54974"/>
                <a:gd name="connsiteX2" fmla="*/ 64136 w 64136"/>
                <a:gd name="connsiteY2" fmla="*/ 27487 h 54974"/>
                <a:gd name="connsiteX3" fmla="*/ 32068 w 64136"/>
                <a:gd name="connsiteY3" fmla="*/ 54974 h 54974"/>
                <a:gd name="connsiteX4" fmla="*/ 0 w 64136"/>
                <a:gd name="connsiteY4" fmla="*/ 27487 h 54974"/>
                <a:gd name="connsiteX5" fmla="*/ 0 w 64136"/>
                <a:gd name="connsiteY5" fmla="*/ 27487 h 5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136" h="54974">
                  <a:moveTo>
                    <a:pt x="0" y="27487"/>
                  </a:moveTo>
                  <a:cubicBezTo>
                    <a:pt x="0" y="12344"/>
                    <a:pt x="14380" y="0"/>
                    <a:pt x="32068" y="0"/>
                  </a:cubicBezTo>
                  <a:cubicBezTo>
                    <a:pt x="49757" y="0"/>
                    <a:pt x="64136" y="12344"/>
                    <a:pt x="64136" y="27487"/>
                  </a:cubicBezTo>
                  <a:cubicBezTo>
                    <a:pt x="64136" y="42630"/>
                    <a:pt x="49757" y="54974"/>
                    <a:pt x="32068" y="54974"/>
                  </a:cubicBezTo>
                  <a:cubicBezTo>
                    <a:pt x="14380"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54" name="Freeform: Shape 153">
              <a:extLst>
                <a:ext uri="{FF2B5EF4-FFF2-40B4-BE49-F238E27FC236}">
                  <a16:creationId xmlns:a16="http://schemas.microsoft.com/office/drawing/2014/main" id="{9CF1C6F8-4E37-7905-CA5F-F576F7F5B065}"/>
                </a:ext>
              </a:extLst>
            </p:cNvPr>
            <p:cNvSpPr/>
            <p:nvPr/>
          </p:nvSpPr>
          <p:spPr>
            <a:xfrm>
              <a:off x="3149614" y="2203264"/>
              <a:ext cx="62609" cy="56500"/>
            </a:xfrm>
            <a:custGeom>
              <a:avLst/>
              <a:gdLst>
                <a:gd name="connsiteX0" fmla="*/ 0 w 62609"/>
                <a:gd name="connsiteY0" fmla="*/ 28251 h 56500"/>
                <a:gd name="connsiteX1" fmla="*/ 31305 w 62609"/>
                <a:gd name="connsiteY1" fmla="*/ 0 h 56500"/>
                <a:gd name="connsiteX2" fmla="*/ 62609 w 62609"/>
                <a:gd name="connsiteY2" fmla="*/ 28251 h 56500"/>
                <a:gd name="connsiteX3" fmla="*/ 31305 w 62609"/>
                <a:gd name="connsiteY3" fmla="*/ 56501 h 56500"/>
                <a:gd name="connsiteX4" fmla="*/ 0 w 62609"/>
                <a:gd name="connsiteY4" fmla="*/ 28251 h 56500"/>
                <a:gd name="connsiteX5" fmla="*/ 0 w 62609"/>
                <a:gd name="connsiteY5" fmla="*/ 28251 h 5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6500">
                  <a:moveTo>
                    <a:pt x="0" y="28251"/>
                  </a:moveTo>
                  <a:cubicBezTo>
                    <a:pt x="0" y="12598"/>
                    <a:pt x="13998" y="0"/>
                    <a:pt x="31305" y="0"/>
                  </a:cubicBezTo>
                  <a:cubicBezTo>
                    <a:pt x="48611" y="0"/>
                    <a:pt x="62609" y="12598"/>
                    <a:pt x="62609" y="28251"/>
                  </a:cubicBezTo>
                  <a:cubicBezTo>
                    <a:pt x="62609" y="43903"/>
                    <a:pt x="48611" y="56501"/>
                    <a:pt x="31305" y="56501"/>
                  </a:cubicBezTo>
                  <a:cubicBezTo>
                    <a:pt x="13998" y="56501"/>
                    <a:pt x="0" y="43903"/>
                    <a:pt x="0" y="28251"/>
                  </a:cubicBezTo>
                  <a:lnTo>
                    <a:pt x="0" y="28251"/>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55" name="Freeform: Shape 154">
              <a:extLst>
                <a:ext uri="{FF2B5EF4-FFF2-40B4-BE49-F238E27FC236}">
                  <a16:creationId xmlns:a16="http://schemas.microsoft.com/office/drawing/2014/main" id="{CE471836-4E7D-E930-7AE9-F730DA75B0F4}"/>
                </a:ext>
              </a:extLst>
            </p:cNvPr>
            <p:cNvSpPr/>
            <p:nvPr/>
          </p:nvSpPr>
          <p:spPr>
            <a:xfrm>
              <a:off x="4915909" y="2396436"/>
              <a:ext cx="62609" cy="54974"/>
            </a:xfrm>
            <a:custGeom>
              <a:avLst/>
              <a:gdLst>
                <a:gd name="connsiteX0" fmla="*/ 0 w 62609"/>
                <a:gd name="connsiteY0" fmla="*/ 27487 h 54974"/>
                <a:gd name="connsiteX1" fmla="*/ 31305 w 62609"/>
                <a:gd name="connsiteY1" fmla="*/ 0 h 54974"/>
                <a:gd name="connsiteX2" fmla="*/ 62609 w 62609"/>
                <a:gd name="connsiteY2" fmla="*/ 27487 h 54974"/>
                <a:gd name="connsiteX3" fmla="*/ 31305 w 62609"/>
                <a:gd name="connsiteY3" fmla="*/ 54974 h 54974"/>
                <a:gd name="connsiteX4" fmla="*/ 0 w 62609"/>
                <a:gd name="connsiteY4" fmla="*/ 27487 h 54974"/>
                <a:gd name="connsiteX5" fmla="*/ 0 w 62609"/>
                <a:gd name="connsiteY5" fmla="*/ 27487 h 5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4974">
                  <a:moveTo>
                    <a:pt x="0" y="27487"/>
                  </a:moveTo>
                  <a:cubicBezTo>
                    <a:pt x="0" y="12344"/>
                    <a:pt x="13998" y="0"/>
                    <a:pt x="31305" y="0"/>
                  </a:cubicBezTo>
                  <a:cubicBezTo>
                    <a:pt x="48611" y="0"/>
                    <a:pt x="62609" y="12344"/>
                    <a:pt x="62609" y="27487"/>
                  </a:cubicBezTo>
                  <a:cubicBezTo>
                    <a:pt x="62609" y="42630"/>
                    <a:pt x="48611" y="54974"/>
                    <a:pt x="31305" y="54974"/>
                  </a:cubicBezTo>
                  <a:cubicBezTo>
                    <a:pt x="13998"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56" name="Freeform: Shape 155">
              <a:extLst>
                <a:ext uri="{FF2B5EF4-FFF2-40B4-BE49-F238E27FC236}">
                  <a16:creationId xmlns:a16="http://schemas.microsoft.com/office/drawing/2014/main" id="{1C5717DE-4D76-0A88-244B-872F78409EDC}"/>
                </a:ext>
              </a:extLst>
            </p:cNvPr>
            <p:cNvSpPr/>
            <p:nvPr/>
          </p:nvSpPr>
          <p:spPr>
            <a:xfrm>
              <a:off x="4326847" y="2428250"/>
              <a:ext cx="64136" cy="54974"/>
            </a:xfrm>
            <a:custGeom>
              <a:avLst/>
              <a:gdLst>
                <a:gd name="connsiteX0" fmla="*/ 0 w 64136"/>
                <a:gd name="connsiteY0" fmla="*/ 27487 h 54974"/>
                <a:gd name="connsiteX1" fmla="*/ 32068 w 64136"/>
                <a:gd name="connsiteY1" fmla="*/ 0 h 54974"/>
                <a:gd name="connsiteX2" fmla="*/ 64136 w 64136"/>
                <a:gd name="connsiteY2" fmla="*/ 27487 h 54974"/>
                <a:gd name="connsiteX3" fmla="*/ 32068 w 64136"/>
                <a:gd name="connsiteY3" fmla="*/ 54974 h 54974"/>
                <a:gd name="connsiteX4" fmla="*/ 0 w 64136"/>
                <a:gd name="connsiteY4" fmla="*/ 27487 h 54974"/>
                <a:gd name="connsiteX5" fmla="*/ 0 w 64136"/>
                <a:gd name="connsiteY5" fmla="*/ 27487 h 5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136" h="54974">
                  <a:moveTo>
                    <a:pt x="0" y="27487"/>
                  </a:moveTo>
                  <a:cubicBezTo>
                    <a:pt x="0" y="12344"/>
                    <a:pt x="14380" y="0"/>
                    <a:pt x="32068" y="0"/>
                  </a:cubicBezTo>
                  <a:cubicBezTo>
                    <a:pt x="49756" y="0"/>
                    <a:pt x="64136" y="12344"/>
                    <a:pt x="64136" y="27487"/>
                  </a:cubicBezTo>
                  <a:cubicBezTo>
                    <a:pt x="64136" y="42630"/>
                    <a:pt x="49756" y="54974"/>
                    <a:pt x="32068" y="54974"/>
                  </a:cubicBezTo>
                  <a:cubicBezTo>
                    <a:pt x="14380"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57" name="Freeform: Shape 156">
              <a:extLst>
                <a:ext uri="{FF2B5EF4-FFF2-40B4-BE49-F238E27FC236}">
                  <a16:creationId xmlns:a16="http://schemas.microsoft.com/office/drawing/2014/main" id="{12C7E531-D9FB-0819-A613-6E5141002D9A}"/>
                </a:ext>
              </a:extLst>
            </p:cNvPr>
            <p:cNvSpPr/>
            <p:nvPr/>
          </p:nvSpPr>
          <p:spPr>
            <a:xfrm>
              <a:off x="4031871" y="2255438"/>
              <a:ext cx="62609" cy="56501"/>
            </a:xfrm>
            <a:custGeom>
              <a:avLst/>
              <a:gdLst>
                <a:gd name="connsiteX0" fmla="*/ 0 w 62609"/>
                <a:gd name="connsiteY0" fmla="*/ 28251 h 56501"/>
                <a:gd name="connsiteX1" fmla="*/ 31305 w 62609"/>
                <a:gd name="connsiteY1" fmla="*/ 0 h 56501"/>
                <a:gd name="connsiteX2" fmla="*/ 62609 w 62609"/>
                <a:gd name="connsiteY2" fmla="*/ 28251 h 56501"/>
                <a:gd name="connsiteX3" fmla="*/ 31305 w 62609"/>
                <a:gd name="connsiteY3" fmla="*/ 56501 h 56501"/>
                <a:gd name="connsiteX4" fmla="*/ 0 w 62609"/>
                <a:gd name="connsiteY4" fmla="*/ 28251 h 56501"/>
                <a:gd name="connsiteX5" fmla="*/ 0 w 62609"/>
                <a:gd name="connsiteY5" fmla="*/ 28251 h 5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6501">
                  <a:moveTo>
                    <a:pt x="0" y="28251"/>
                  </a:moveTo>
                  <a:cubicBezTo>
                    <a:pt x="0" y="12598"/>
                    <a:pt x="13998" y="0"/>
                    <a:pt x="31305" y="0"/>
                  </a:cubicBezTo>
                  <a:cubicBezTo>
                    <a:pt x="48611" y="0"/>
                    <a:pt x="62609" y="12598"/>
                    <a:pt x="62609" y="28251"/>
                  </a:cubicBezTo>
                  <a:cubicBezTo>
                    <a:pt x="62609" y="43903"/>
                    <a:pt x="48611" y="56501"/>
                    <a:pt x="31305" y="56501"/>
                  </a:cubicBezTo>
                  <a:cubicBezTo>
                    <a:pt x="13998" y="56501"/>
                    <a:pt x="0" y="43903"/>
                    <a:pt x="0" y="28251"/>
                  </a:cubicBezTo>
                  <a:lnTo>
                    <a:pt x="0" y="28251"/>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58" name="Freeform: Shape 157">
              <a:extLst>
                <a:ext uri="{FF2B5EF4-FFF2-40B4-BE49-F238E27FC236}">
                  <a16:creationId xmlns:a16="http://schemas.microsoft.com/office/drawing/2014/main" id="{63706641-0982-39BC-8704-9BB224FF7655}"/>
                </a:ext>
              </a:extLst>
            </p:cNvPr>
            <p:cNvSpPr/>
            <p:nvPr/>
          </p:nvSpPr>
          <p:spPr>
            <a:xfrm>
              <a:off x="2862273" y="2067228"/>
              <a:ext cx="62609" cy="54974"/>
            </a:xfrm>
            <a:custGeom>
              <a:avLst/>
              <a:gdLst>
                <a:gd name="connsiteX0" fmla="*/ 0 w 62609"/>
                <a:gd name="connsiteY0" fmla="*/ 27487 h 54974"/>
                <a:gd name="connsiteX1" fmla="*/ 31305 w 62609"/>
                <a:gd name="connsiteY1" fmla="*/ 0 h 54974"/>
                <a:gd name="connsiteX2" fmla="*/ 62609 w 62609"/>
                <a:gd name="connsiteY2" fmla="*/ 27487 h 54974"/>
                <a:gd name="connsiteX3" fmla="*/ 31305 w 62609"/>
                <a:gd name="connsiteY3" fmla="*/ 54974 h 54974"/>
                <a:gd name="connsiteX4" fmla="*/ 0 w 62609"/>
                <a:gd name="connsiteY4" fmla="*/ 27487 h 54974"/>
                <a:gd name="connsiteX5" fmla="*/ 0 w 62609"/>
                <a:gd name="connsiteY5" fmla="*/ 27487 h 5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4974">
                  <a:moveTo>
                    <a:pt x="0" y="27487"/>
                  </a:moveTo>
                  <a:cubicBezTo>
                    <a:pt x="0" y="12344"/>
                    <a:pt x="13998" y="0"/>
                    <a:pt x="31305" y="0"/>
                  </a:cubicBezTo>
                  <a:cubicBezTo>
                    <a:pt x="48611" y="0"/>
                    <a:pt x="62609" y="12344"/>
                    <a:pt x="62609" y="27487"/>
                  </a:cubicBezTo>
                  <a:cubicBezTo>
                    <a:pt x="62609" y="42630"/>
                    <a:pt x="48611" y="54974"/>
                    <a:pt x="31305" y="54974"/>
                  </a:cubicBezTo>
                  <a:cubicBezTo>
                    <a:pt x="13998"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59" name="Freeform: Shape 158">
              <a:extLst>
                <a:ext uri="{FF2B5EF4-FFF2-40B4-BE49-F238E27FC236}">
                  <a16:creationId xmlns:a16="http://schemas.microsoft.com/office/drawing/2014/main" id="{2F84E0CC-5220-3340-EADA-001199934E92}"/>
                </a:ext>
              </a:extLst>
            </p:cNvPr>
            <p:cNvSpPr/>
            <p:nvPr/>
          </p:nvSpPr>
          <p:spPr>
            <a:xfrm>
              <a:off x="2561062" y="2067228"/>
              <a:ext cx="62609" cy="54974"/>
            </a:xfrm>
            <a:custGeom>
              <a:avLst/>
              <a:gdLst>
                <a:gd name="connsiteX0" fmla="*/ 0 w 62609"/>
                <a:gd name="connsiteY0" fmla="*/ 27487 h 54974"/>
                <a:gd name="connsiteX1" fmla="*/ 31305 w 62609"/>
                <a:gd name="connsiteY1" fmla="*/ 0 h 54974"/>
                <a:gd name="connsiteX2" fmla="*/ 62609 w 62609"/>
                <a:gd name="connsiteY2" fmla="*/ 27487 h 54974"/>
                <a:gd name="connsiteX3" fmla="*/ 31305 w 62609"/>
                <a:gd name="connsiteY3" fmla="*/ 54974 h 54974"/>
                <a:gd name="connsiteX4" fmla="*/ 0 w 62609"/>
                <a:gd name="connsiteY4" fmla="*/ 27487 h 54974"/>
                <a:gd name="connsiteX5" fmla="*/ 0 w 62609"/>
                <a:gd name="connsiteY5" fmla="*/ 27487 h 5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609" h="54974">
                  <a:moveTo>
                    <a:pt x="0" y="27487"/>
                  </a:moveTo>
                  <a:cubicBezTo>
                    <a:pt x="0" y="12344"/>
                    <a:pt x="13998" y="0"/>
                    <a:pt x="31305" y="0"/>
                  </a:cubicBezTo>
                  <a:cubicBezTo>
                    <a:pt x="48611" y="0"/>
                    <a:pt x="62609" y="12344"/>
                    <a:pt x="62609" y="27487"/>
                  </a:cubicBezTo>
                  <a:cubicBezTo>
                    <a:pt x="62609" y="42630"/>
                    <a:pt x="48611" y="54974"/>
                    <a:pt x="31305" y="54974"/>
                  </a:cubicBezTo>
                  <a:cubicBezTo>
                    <a:pt x="13998" y="54974"/>
                    <a:pt x="0" y="42630"/>
                    <a:pt x="0" y="27487"/>
                  </a:cubicBezTo>
                  <a:lnTo>
                    <a:pt x="0" y="27487"/>
                  </a:lnTo>
                  <a:close/>
                </a:path>
              </a:pathLst>
            </a:custGeom>
            <a:solidFill>
              <a:schemeClr val="accent2"/>
            </a:solid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nvGrpSpPr>
            <p:cNvPr id="160" name="Graphic 325">
              <a:extLst>
                <a:ext uri="{FF2B5EF4-FFF2-40B4-BE49-F238E27FC236}">
                  <a16:creationId xmlns:a16="http://schemas.microsoft.com/office/drawing/2014/main" id="{2FBF124C-33AB-6FDC-AD22-F2AD7716CBC4}"/>
                </a:ext>
              </a:extLst>
            </p:cNvPr>
            <p:cNvGrpSpPr/>
            <p:nvPr/>
          </p:nvGrpSpPr>
          <p:grpSpPr>
            <a:xfrm>
              <a:off x="9884057" y="3073320"/>
              <a:ext cx="129545" cy="1070265"/>
              <a:chOff x="10176701" y="3421516"/>
              <a:chExt cx="129545" cy="1070265"/>
            </a:xfrm>
            <a:solidFill>
              <a:schemeClr val="accent2"/>
            </a:solidFill>
          </p:grpSpPr>
          <p:sp>
            <p:nvSpPr>
              <p:cNvPr id="266" name="Freeform: Shape 265">
                <a:extLst>
                  <a:ext uri="{FF2B5EF4-FFF2-40B4-BE49-F238E27FC236}">
                    <a16:creationId xmlns:a16="http://schemas.microsoft.com/office/drawing/2014/main" id="{68F60DAD-EC87-01C4-66AA-F57E9B44121D}"/>
                  </a:ext>
                </a:extLst>
              </p:cNvPr>
              <p:cNvSpPr/>
              <p:nvPr/>
            </p:nvSpPr>
            <p:spPr>
              <a:xfrm>
                <a:off x="10241474" y="3426097"/>
                <a:ext cx="12725" cy="1048069"/>
              </a:xfrm>
              <a:custGeom>
                <a:avLst/>
                <a:gdLst>
                  <a:gd name="connsiteX0" fmla="*/ 0 w 12725"/>
                  <a:gd name="connsiteY0" fmla="*/ 0 h 1048069"/>
                  <a:gd name="connsiteX1" fmla="*/ 0 w 12725"/>
                  <a:gd name="connsiteY1" fmla="*/ 1048069 h 1048069"/>
                </a:gdLst>
                <a:ahLst/>
                <a:cxnLst>
                  <a:cxn ang="0">
                    <a:pos x="connsiteX0" y="connsiteY0"/>
                  </a:cxn>
                  <a:cxn ang="0">
                    <a:pos x="connsiteX1" y="connsiteY1"/>
                  </a:cxn>
                </a:cxnLst>
                <a:rect l="l" t="t" r="r" b="b"/>
                <a:pathLst>
                  <a:path w="12725" h="1048069">
                    <a:moveTo>
                      <a:pt x="0" y="0"/>
                    </a:moveTo>
                    <a:lnTo>
                      <a:pt x="0" y="1048069"/>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67" name="Freeform: Shape 266">
                <a:extLst>
                  <a:ext uri="{FF2B5EF4-FFF2-40B4-BE49-F238E27FC236}">
                    <a16:creationId xmlns:a16="http://schemas.microsoft.com/office/drawing/2014/main" id="{FCB06B43-03B1-85C4-856D-AF04C9D7C308}"/>
                  </a:ext>
                </a:extLst>
              </p:cNvPr>
              <p:cNvSpPr/>
              <p:nvPr/>
            </p:nvSpPr>
            <p:spPr>
              <a:xfrm>
                <a:off x="10176701" y="3421516"/>
                <a:ext cx="129545" cy="12725"/>
              </a:xfrm>
              <a:custGeom>
                <a:avLst/>
                <a:gdLst>
                  <a:gd name="connsiteX0" fmla="*/ 0 w 129545"/>
                  <a:gd name="connsiteY0" fmla="*/ 0 h 12725"/>
                  <a:gd name="connsiteX1" fmla="*/ 129546 w 129545"/>
                  <a:gd name="connsiteY1" fmla="*/ 0 h 12725"/>
                </a:gdLst>
                <a:ahLst/>
                <a:cxnLst>
                  <a:cxn ang="0">
                    <a:pos x="connsiteX0" y="connsiteY0"/>
                  </a:cxn>
                  <a:cxn ang="0">
                    <a:pos x="connsiteX1" y="connsiteY1"/>
                  </a:cxn>
                </a:cxnLst>
                <a:rect l="l" t="t" r="r" b="b"/>
                <a:pathLst>
                  <a:path w="129545" h="12725">
                    <a:moveTo>
                      <a:pt x="0" y="0"/>
                    </a:moveTo>
                    <a:lnTo>
                      <a:pt x="129546"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68" name="Freeform: Shape 267">
                <a:extLst>
                  <a:ext uri="{FF2B5EF4-FFF2-40B4-BE49-F238E27FC236}">
                    <a16:creationId xmlns:a16="http://schemas.microsoft.com/office/drawing/2014/main" id="{F218EFDF-29C4-F773-80D2-15642B2BB25D}"/>
                  </a:ext>
                </a:extLst>
              </p:cNvPr>
              <p:cNvSpPr/>
              <p:nvPr/>
            </p:nvSpPr>
            <p:spPr>
              <a:xfrm>
                <a:off x="10176701" y="4479056"/>
                <a:ext cx="129545" cy="12725"/>
              </a:xfrm>
              <a:custGeom>
                <a:avLst/>
                <a:gdLst>
                  <a:gd name="connsiteX0" fmla="*/ 0 w 129545"/>
                  <a:gd name="connsiteY0" fmla="*/ 0 h 12725"/>
                  <a:gd name="connsiteX1" fmla="*/ 129546 w 129545"/>
                  <a:gd name="connsiteY1" fmla="*/ 0 h 12725"/>
                </a:gdLst>
                <a:ahLst/>
                <a:cxnLst>
                  <a:cxn ang="0">
                    <a:pos x="connsiteX0" y="connsiteY0"/>
                  </a:cxn>
                  <a:cxn ang="0">
                    <a:pos x="connsiteX1" y="connsiteY1"/>
                  </a:cxn>
                </a:cxnLst>
                <a:rect l="l" t="t" r="r" b="b"/>
                <a:pathLst>
                  <a:path w="129545" h="12725">
                    <a:moveTo>
                      <a:pt x="0" y="0"/>
                    </a:moveTo>
                    <a:lnTo>
                      <a:pt x="129546"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61" name="Graphic 325">
              <a:extLst>
                <a:ext uri="{FF2B5EF4-FFF2-40B4-BE49-F238E27FC236}">
                  <a16:creationId xmlns:a16="http://schemas.microsoft.com/office/drawing/2014/main" id="{99DE9F7B-47EB-74D3-F34B-97CCB94D2C64}"/>
                </a:ext>
              </a:extLst>
            </p:cNvPr>
            <p:cNvGrpSpPr/>
            <p:nvPr/>
          </p:nvGrpSpPr>
          <p:grpSpPr>
            <a:xfrm>
              <a:off x="9581446" y="3147928"/>
              <a:ext cx="129545" cy="1061247"/>
              <a:chOff x="9874090" y="3496124"/>
              <a:chExt cx="129545" cy="1061247"/>
            </a:xfrm>
            <a:solidFill>
              <a:schemeClr val="accent2"/>
            </a:solidFill>
          </p:grpSpPr>
          <p:sp>
            <p:nvSpPr>
              <p:cNvPr id="263" name="Freeform: Shape 262">
                <a:extLst>
                  <a:ext uri="{FF2B5EF4-FFF2-40B4-BE49-F238E27FC236}">
                    <a16:creationId xmlns:a16="http://schemas.microsoft.com/office/drawing/2014/main" id="{271E805D-6AB9-60FF-BA86-F2D5D77239CA}"/>
                  </a:ext>
                </a:extLst>
              </p:cNvPr>
              <p:cNvSpPr/>
              <p:nvPr/>
            </p:nvSpPr>
            <p:spPr>
              <a:xfrm>
                <a:off x="9938862" y="3500578"/>
                <a:ext cx="45719" cy="1046186"/>
              </a:xfrm>
              <a:custGeom>
                <a:avLst/>
                <a:gdLst>
                  <a:gd name="connsiteX0" fmla="*/ 0 w 12725"/>
                  <a:gd name="connsiteY0" fmla="*/ 0 h 1032162"/>
                  <a:gd name="connsiteX1" fmla="*/ 0 w 12725"/>
                  <a:gd name="connsiteY1" fmla="*/ 1032162 h 1032162"/>
                </a:gdLst>
                <a:ahLst/>
                <a:cxnLst>
                  <a:cxn ang="0">
                    <a:pos x="connsiteX0" y="connsiteY0"/>
                  </a:cxn>
                  <a:cxn ang="0">
                    <a:pos x="connsiteX1" y="connsiteY1"/>
                  </a:cxn>
                </a:cxnLst>
                <a:rect l="l" t="t" r="r" b="b"/>
                <a:pathLst>
                  <a:path w="12725" h="1032162">
                    <a:moveTo>
                      <a:pt x="0" y="0"/>
                    </a:moveTo>
                    <a:lnTo>
                      <a:pt x="0" y="1032162"/>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64" name="Freeform: Shape 263">
                <a:extLst>
                  <a:ext uri="{FF2B5EF4-FFF2-40B4-BE49-F238E27FC236}">
                    <a16:creationId xmlns:a16="http://schemas.microsoft.com/office/drawing/2014/main" id="{D03E1C3B-90B2-780C-6AED-7C8058B483E8}"/>
                  </a:ext>
                </a:extLst>
              </p:cNvPr>
              <p:cNvSpPr/>
              <p:nvPr/>
            </p:nvSpPr>
            <p:spPr>
              <a:xfrm>
                <a:off x="9874090" y="3496124"/>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65" name="Freeform: Shape 264">
                <a:extLst>
                  <a:ext uri="{FF2B5EF4-FFF2-40B4-BE49-F238E27FC236}">
                    <a16:creationId xmlns:a16="http://schemas.microsoft.com/office/drawing/2014/main" id="{611EA85F-F774-B2AD-2EAA-8534A7864163}"/>
                  </a:ext>
                </a:extLst>
              </p:cNvPr>
              <p:cNvSpPr/>
              <p:nvPr/>
            </p:nvSpPr>
            <p:spPr>
              <a:xfrm>
                <a:off x="9874090" y="4544646"/>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62" name="Graphic 325">
              <a:extLst>
                <a:ext uri="{FF2B5EF4-FFF2-40B4-BE49-F238E27FC236}">
                  <a16:creationId xmlns:a16="http://schemas.microsoft.com/office/drawing/2014/main" id="{7AE8429D-012F-EB18-36BB-59393A04CAB6}"/>
                </a:ext>
              </a:extLst>
            </p:cNvPr>
            <p:cNvGrpSpPr/>
            <p:nvPr/>
          </p:nvGrpSpPr>
          <p:grpSpPr>
            <a:xfrm>
              <a:off x="9292960" y="3280836"/>
              <a:ext cx="129672" cy="949319"/>
              <a:chOff x="9585604" y="3629032"/>
              <a:chExt cx="129672" cy="949319"/>
            </a:xfrm>
            <a:solidFill>
              <a:schemeClr val="accent2"/>
            </a:solidFill>
          </p:grpSpPr>
          <p:sp>
            <p:nvSpPr>
              <p:cNvPr id="260" name="Freeform: Shape 259">
                <a:extLst>
                  <a:ext uri="{FF2B5EF4-FFF2-40B4-BE49-F238E27FC236}">
                    <a16:creationId xmlns:a16="http://schemas.microsoft.com/office/drawing/2014/main" id="{69814AED-B5A1-3294-BB01-EEF18BF3FBE7}"/>
                  </a:ext>
                </a:extLst>
              </p:cNvPr>
              <p:cNvSpPr/>
              <p:nvPr/>
            </p:nvSpPr>
            <p:spPr>
              <a:xfrm>
                <a:off x="9650503" y="3633104"/>
                <a:ext cx="12725" cy="932649"/>
              </a:xfrm>
              <a:custGeom>
                <a:avLst/>
                <a:gdLst>
                  <a:gd name="connsiteX0" fmla="*/ 0 w 12725"/>
                  <a:gd name="connsiteY0" fmla="*/ 0 h 932649"/>
                  <a:gd name="connsiteX1" fmla="*/ 0 w 12725"/>
                  <a:gd name="connsiteY1" fmla="*/ 932649 h 932649"/>
                </a:gdLst>
                <a:ahLst/>
                <a:cxnLst>
                  <a:cxn ang="0">
                    <a:pos x="connsiteX0" y="connsiteY0"/>
                  </a:cxn>
                  <a:cxn ang="0">
                    <a:pos x="connsiteX1" y="connsiteY1"/>
                  </a:cxn>
                </a:cxnLst>
                <a:rect l="l" t="t" r="r" b="b"/>
                <a:pathLst>
                  <a:path w="12725" h="932649">
                    <a:moveTo>
                      <a:pt x="0" y="0"/>
                    </a:moveTo>
                    <a:lnTo>
                      <a:pt x="0" y="932649"/>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61" name="Freeform: Shape 260">
                <a:extLst>
                  <a:ext uri="{FF2B5EF4-FFF2-40B4-BE49-F238E27FC236}">
                    <a16:creationId xmlns:a16="http://schemas.microsoft.com/office/drawing/2014/main" id="{AF4D3B12-121F-59CF-6654-BEAD983CAAAE}"/>
                  </a:ext>
                </a:extLst>
              </p:cNvPr>
              <p:cNvSpPr/>
              <p:nvPr/>
            </p:nvSpPr>
            <p:spPr>
              <a:xfrm>
                <a:off x="9585604" y="3629032"/>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62" name="Freeform: Shape 261">
                <a:extLst>
                  <a:ext uri="{FF2B5EF4-FFF2-40B4-BE49-F238E27FC236}">
                    <a16:creationId xmlns:a16="http://schemas.microsoft.com/office/drawing/2014/main" id="{90B8F885-B747-AFC0-C729-C4C3EBC6C1C9}"/>
                  </a:ext>
                </a:extLst>
              </p:cNvPr>
              <p:cNvSpPr/>
              <p:nvPr/>
            </p:nvSpPr>
            <p:spPr>
              <a:xfrm>
                <a:off x="9585604" y="4565626"/>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63" name="Graphic 325">
              <a:extLst>
                <a:ext uri="{FF2B5EF4-FFF2-40B4-BE49-F238E27FC236}">
                  <a16:creationId xmlns:a16="http://schemas.microsoft.com/office/drawing/2014/main" id="{6B7BACE6-FC03-6471-F84A-DCF7BF3F71D5}"/>
                </a:ext>
              </a:extLst>
            </p:cNvPr>
            <p:cNvGrpSpPr/>
            <p:nvPr/>
          </p:nvGrpSpPr>
          <p:grpSpPr>
            <a:xfrm>
              <a:off x="8994929" y="3049561"/>
              <a:ext cx="129545" cy="892091"/>
              <a:chOff x="9287573" y="3397757"/>
              <a:chExt cx="129545" cy="892091"/>
            </a:xfrm>
            <a:solidFill>
              <a:schemeClr val="accent2"/>
            </a:solidFill>
          </p:grpSpPr>
          <p:sp>
            <p:nvSpPr>
              <p:cNvPr id="257" name="Freeform: Shape 256">
                <a:extLst>
                  <a:ext uri="{FF2B5EF4-FFF2-40B4-BE49-F238E27FC236}">
                    <a16:creationId xmlns:a16="http://schemas.microsoft.com/office/drawing/2014/main" id="{DA509D8F-571C-CBE6-7570-511A6790A5AC}"/>
                  </a:ext>
                </a:extLst>
              </p:cNvPr>
              <p:cNvSpPr/>
              <p:nvPr/>
            </p:nvSpPr>
            <p:spPr>
              <a:xfrm>
                <a:off x="9352346" y="3401574"/>
                <a:ext cx="12725" cy="877929"/>
              </a:xfrm>
              <a:custGeom>
                <a:avLst/>
                <a:gdLst>
                  <a:gd name="connsiteX0" fmla="*/ 0 w 12725"/>
                  <a:gd name="connsiteY0" fmla="*/ 0 h 877929"/>
                  <a:gd name="connsiteX1" fmla="*/ 0 w 12725"/>
                  <a:gd name="connsiteY1" fmla="*/ 877930 h 877929"/>
                </a:gdLst>
                <a:ahLst/>
                <a:cxnLst>
                  <a:cxn ang="0">
                    <a:pos x="connsiteX0" y="connsiteY0"/>
                  </a:cxn>
                  <a:cxn ang="0">
                    <a:pos x="connsiteX1" y="connsiteY1"/>
                  </a:cxn>
                </a:cxnLst>
                <a:rect l="l" t="t" r="r" b="b"/>
                <a:pathLst>
                  <a:path w="12725" h="877929">
                    <a:moveTo>
                      <a:pt x="0" y="0"/>
                    </a:moveTo>
                    <a:lnTo>
                      <a:pt x="0" y="87793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58" name="Freeform: Shape 257">
                <a:extLst>
                  <a:ext uri="{FF2B5EF4-FFF2-40B4-BE49-F238E27FC236}">
                    <a16:creationId xmlns:a16="http://schemas.microsoft.com/office/drawing/2014/main" id="{588C9B58-EE07-2C1E-BFD9-9A0704B14624}"/>
                  </a:ext>
                </a:extLst>
              </p:cNvPr>
              <p:cNvSpPr/>
              <p:nvPr/>
            </p:nvSpPr>
            <p:spPr>
              <a:xfrm>
                <a:off x="9287573" y="3397757"/>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59" name="Freeform: Shape 258">
                <a:extLst>
                  <a:ext uri="{FF2B5EF4-FFF2-40B4-BE49-F238E27FC236}">
                    <a16:creationId xmlns:a16="http://schemas.microsoft.com/office/drawing/2014/main" id="{96E68D93-A3EB-E1D9-BE72-5DE849304922}"/>
                  </a:ext>
                </a:extLst>
              </p:cNvPr>
              <p:cNvSpPr/>
              <p:nvPr/>
            </p:nvSpPr>
            <p:spPr>
              <a:xfrm>
                <a:off x="9287573" y="4277123"/>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64" name="Graphic 325">
              <a:extLst>
                <a:ext uri="{FF2B5EF4-FFF2-40B4-BE49-F238E27FC236}">
                  <a16:creationId xmlns:a16="http://schemas.microsoft.com/office/drawing/2014/main" id="{5674F3CB-E458-27AB-EE36-9A11638A2B0D}"/>
                </a:ext>
              </a:extLst>
            </p:cNvPr>
            <p:cNvGrpSpPr/>
            <p:nvPr/>
          </p:nvGrpSpPr>
          <p:grpSpPr>
            <a:xfrm>
              <a:off x="8706188" y="3017566"/>
              <a:ext cx="129545" cy="838862"/>
              <a:chOff x="8998832" y="3365762"/>
              <a:chExt cx="129545" cy="838862"/>
            </a:xfrm>
            <a:solidFill>
              <a:schemeClr val="accent2"/>
            </a:solidFill>
          </p:grpSpPr>
          <p:sp>
            <p:nvSpPr>
              <p:cNvPr id="254" name="Freeform: Shape 253">
                <a:extLst>
                  <a:ext uri="{FF2B5EF4-FFF2-40B4-BE49-F238E27FC236}">
                    <a16:creationId xmlns:a16="http://schemas.microsoft.com/office/drawing/2014/main" id="{5D468768-8B4D-413F-0A34-FE85EA21A2DA}"/>
                  </a:ext>
                </a:extLst>
              </p:cNvPr>
              <p:cNvSpPr/>
              <p:nvPr/>
            </p:nvSpPr>
            <p:spPr>
              <a:xfrm>
                <a:off x="9063605" y="3369452"/>
                <a:ext cx="12725" cy="835172"/>
              </a:xfrm>
              <a:custGeom>
                <a:avLst/>
                <a:gdLst>
                  <a:gd name="connsiteX0" fmla="*/ 0 w 12725"/>
                  <a:gd name="connsiteY0" fmla="*/ 0 h 835172"/>
                  <a:gd name="connsiteX1" fmla="*/ 0 w 12725"/>
                  <a:gd name="connsiteY1" fmla="*/ 835172 h 835172"/>
                </a:gdLst>
                <a:ahLst/>
                <a:cxnLst>
                  <a:cxn ang="0">
                    <a:pos x="connsiteX0" y="connsiteY0"/>
                  </a:cxn>
                  <a:cxn ang="0">
                    <a:pos x="connsiteX1" y="connsiteY1"/>
                  </a:cxn>
                </a:cxnLst>
                <a:rect l="l" t="t" r="r" b="b"/>
                <a:pathLst>
                  <a:path w="12725" h="835172">
                    <a:moveTo>
                      <a:pt x="0" y="0"/>
                    </a:moveTo>
                    <a:lnTo>
                      <a:pt x="0" y="835172"/>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55" name="Freeform: Shape 254">
                <a:extLst>
                  <a:ext uri="{FF2B5EF4-FFF2-40B4-BE49-F238E27FC236}">
                    <a16:creationId xmlns:a16="http://schemas.microsoft.com/office/drawing/2014/main" id="{05633C93-DF90-75BB-011B-D32441C54B46}"/>
                  </a:ext>
                </a:extLst>
              </p:cNvPr>
              <p:cNvSpPr/>
              <p:nvPr/>
            </p:nvSpPr>
            <p:spPr>
              <a:xfrm>
                <a:off x="8998832" y="3365762"/>
                <a:ext cx="129545" cy="12725"/>
              </a:xfrm>
              <a:custGeom>
                <a:avLst/>
                <a:gdLst>
                  <a:gd name="connsiteX0" fmla="*/ 0 w 129545"/>
                  <a:gd name="connsiteY0" fmla="*/ 0 h 12725"/>
                  <a:gd name="connsiteX1" fmla="*/ 129546 w 129545"/>
                  <a:gd name="connsiteY1" fmla="*/ 0 h 12725"/>
                </a:gdLst>
                <a:ahLst/>
                <a:cxnLst>
                  <a:cxn ang="0">
                    <a:pos x="connsiteX0" y="connsiteY0"/>
                  </a:cxn>
                  <a:cxn ang="0">
                    <a:pos x="connsiteX1" y="connsiteY1"/>
                  </a:cxn>
                </a:cxnLst>
                <a:rect l="l" t="t" r="r" b="b"/>
                <a:pathLst>
                  <a:path w="129545" h="12725">
                    <a:moveTo>
                      <a:pt x="0" y="0"/>
                    </a:moveTo>
                    <a:lnTo>
                      <a:pt x="129546"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56" name="Freeform: Shape 255">
                <a:extLst>
                  <a:ext uri="{FF2B5EF4-FFF2-40B4-BE49-F238E27FC236}">
                    <a16:creationId xmlns:a16="http://schemas.microsoft.com/office/drawing/2014/main" id="{0DDC5FD1-C455-A384-E301-D2EC6929ADE4}"/>
                  </a:ext>
                </a:extLst>
              </p:cNvPr>
              <p:cNvSpPr/>
              <p:nvPr/>
            </p:nvSpPr>
            <p:spPr>
              <a:xfrm>
                <a:off x="8998832" y="4204625"/>
                <a:ext cx="129545" cy="12725"/>
              </a:xfrm>
              <a:custGeom>
                <a:avLst/>
                <a:gdLst>
                  <a:gd name="connsiteX0" fmla="*/ 0 w 129545"/>
                  <a:gd name="connsiteY0" fmla="*/ 0 h 12725"/>
                  <a:gd name="connsiteX1" fmla="*/ 129546 w 129545"/>
                  <a:gd name="connsiteY1" fmla="*/ 0 h 12725"/>
                </a:gdLst>
                <a:ahLst/>
                <a:cxnLst>
                  <a:cxn ang="0">
                    <a:pos x="connsiteX0" y="connsiteY0"/>
                  </a:cxn>
                  <a:cxn ang="0">
                    <a:pos x="connsiteX1" y="connsiteY1"/>
                  </a:cxn>
                </a:cxnLst>
                <a:rect l="l" t="t" r="r" b="b"/>
                <a:pathLst>
                  <a:path w="129545" h="12725">
                    <a:moveTo>
                      <a:pt x="0" y="0"/>
                    </a:moveTo>
                    <a:lnTo>
                      <a:pt x="129546"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65" name="Graphic 325">
              <a:extLst>
                <a:ext uri="{FF2B5EF4-FFF2-40B4-BE49-F238E27FC236}">
                  <a16:creationId xmlns:a16="http://schemas.microsoft.com/office/drawing/2014/main" id="{D84B0CB9-3D91-5934-B278-9C00C19EC289}"/>
                </a:ext>
              </a:extLst>
            </p:cNvPr>
            <p:cNvGrpSpPr/>
            <p:nvPr/>
          </p:nvGrpSpPr>
          <p:grpSpPr>
            <a:xfrm>
              <a:off x="8411721" y="2994459"/>
              <a:ext cx="129672" cy="826355"/>
              <a:chOff x="8704365" y="3342655"/>
              <a:chExt cx="129672" cy="826355"/>
            </a:xfrm>
            <a:solidFill>
              <a:schemeClr val="accent2"/>
            </a:solidFill>
          </p:grpSpPr>
          <p:sp>
            <p:nvSpPr>
              <p:cNvPr id="251" name="Freeform: Shape 250">
                <a:extLst>
                  <a:ext uri="{FF2B5EF4-FFF2-40B4-BE49-F238E27FC236}">
                    <a16:creationId xmlns:a16="http://schemas.microsoft.com/office/drawing/2014/main" id="{8CDA88B9-76F0-7BF0-76F8-834138C32E3A}"/>
                  </a:ext>
                </a:extLst>
              </p:cNvPr>
              <p:cNvSpPr/>
              <p:nvPr/>
            </p:nvSpPr>
            <p:spPr>
              <a:xfrm>
                <a:off x="8769138" y="3342655"/>
                <a:ext cx="12725" cy="811248"/>
              </a:xfrm>
              <a:custGeom>
                <a:avLst/>
                <a:gdLst>
                  <a:gd name="connsiteX0" fmla="*/ 0 w 12725"/>
                  <a:gd name="connsiteY0" fmla="*/ 0 h 811248"/>
                  <a:gd name="connsiteX1" fmla="*/ 0 w 12725"/>
                  <a:gd name="connsiteY1" fmla="*/ 811248 h 811248"/>
                </a:gdLst>
                <a:ahLst/>
                <a:cxnLst>
                  <a:cxn ang="0">
                    <a:pos x="connsiteX0" y="connsiteY0"/>
                  </a:cxn>
                  <a:cxn ang="0">
                    <a:pos x="connsiteX1" y="connsiteY1"/>
                  </a:cxn>
                </a:cxnLst>
                <a:rect l="l" t="t" r="r" b="b"/>
                <a:pathLst>
                  <a:path w="12725" h="811248">
                    <a:moveTo>
                      <a:pt x="0" y="0"/>
                    </a:moveTo>
                    <a:lnTo>
                      <a:pt x="0" y="811248"/>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52" name="Freeform: Shape 251">
                <a:extLst>
                  <a:ext uri="{FF2B5EF4-FFF2-40B4-BE49-F238E27FC236}">
                    <a16:creationId xmlns:a16="http://schemas.microsoft.com/office/drawing/2014/main" id="{2446D371-C811-F20A-5708-CABD8F9F6AD8}"/>
                  </a:ext>
                </a:extLst>
              </p:cNvPr>
              <p:cNvSpPr/>
              <p:nvPr/>
            </p:nvSpPr>
            <p:spPr>
              <a:xfrm>
                <a:off x="8704365" y="3343981"/>
                <a:ext cx="129672" cy="12725"/>
              </a:xfrm>
              <a:custGeom>
                <a:avLst/>
                <a:gdLst>
                  <a:gd name="connsiteX0" fmla="*/ 0 w 129672"/>
                  <a:gd name="connsiteY0" fmla="*/ 0 h 12725"/>
                  <a:gd name="connsiteX1" fmla="*/ 129672 w 129672"/>
                  <a:gd name="connsiteY1" fmla="*/ 0 h 12725"/>
                </a:gdLst>
                <a:ahLst/>
                <a:cxnLst>
                  <a:cxn ang="0">
                    <a:pos x="connsiteX0" y="connsiteY0"/>
                  </a:cxn>
                  <a:cxn ang="0">
                    <a:pos x="connsiteX1" y="connsiteY1"/>
                  </a:cxn>
                </a:cxnLst>
                <a:rect l="l" t="t" r="r" b="b"/>
                <a:pathLst>
                  <a:path w="129672" h="12725">
                    <a:moveTo>
                      <a:pt x="0" y="0"/>
                    </a:moveTo>
                    <a:lnTo>
                      <a:pt x="129672"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53" name="Freeform: Shape 252">
                <a:extLst>
                  <a:ext uri="{FF2B5EF4-FFF2-40B4-BE49-F238E27FC236}">
                    <a16:creationId xmlns:a16="http://schemas.microsoft.com/office/drawing/2014/main" id="{A99A9CB2-5D88-4B4B-F159-C92D615DD7A0}"/>
                  </a:ext>
                </a:extLst>
              </p:cNvPr>
              <p:cNvSpPr/>
              <p:nvPr/>
            </p:nvSpPr>
            <p:spPr>
              <a:xfrm>
                <a:off x="8704365" y="4156285"/>
                <a:ext cx="129672" cy="12725"/>
              </a:xfrm>
              <a:custGeom>
                <a:avLst/>
                <a:gdLst>
                  <a:gd name="connsiteX0" fmla="*/ 0 w 129672"/>
                  <a:gd name="connsiteY0" fmla="*/ 0 h 12725"/>
                  <a:gd name="connsiteX1" fmla="*/ 129672 w 129672"/>
                  <a:gd name="connsiteY1" fmla="*/ 0 h 12725"/>
                </a:gdLst>
                <a:ahLst/>
                <a:cxnLst>
                  <a:cxn ang="0">
                    <a:pos x="connsiteX0" y="connsiteY0"/>
                  </a:cxn>
                  <a:cxn ang="0">
                    <a:pos x="connsiteX1" y="connsiteY1"/>
                  </a:cxn>
                </a:cxnLst>
                <a:rect l="l" t="t" r="r" b="b"/>
                <a:pathLst>
                  <a:path w="129672" h="12725">
                    <a:moveTo>
                      <a:pt x="0" y="0"/>
                    </a:moveTo>
                    <a:lnTo>
                      <a:pt x="129672"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66" name="Graphic 325">
              <a:extLst>
                <a:ext uri="{FF2B5EF4-FFF2-40B4-BE49-F238E27FC236}">
                  <a16:creationId xmlns:a16="http://schemas.microsoft.com/office/drawing/2014/main" id="{A8453751-3C6C-3F9D-B745-1E9B69966BD0}"/>
                </a:ext>
              </a:extLst>
            </p:cNvPr>
            <p:cNvGrpSpPr/>
            <p:nvPr/>
          </p:nvGrpSpPr>
          <p:grpSpPr>
            <a:xfrm>
              <a:off x="8115981" y="3119440"/>
              <a:ext cx="129672" cy="823973"/>
              <a:chOff x="8408625" y="3467636"/>
              <a:chExt cx="129672" cy="823973"/>
            </a:xfrm>
            <a:solidFill>
              <a:schemeClr val="accent2"/>
            </a:solidFill>
          </p:grpSpPr>
          <p:sp>
            <p:nvSpPr>
              <p:cNvPr id="248" name="Freeform: Shape 247">
                <a:extLst>
                  <a:ext uri="{FF2B5EF4-FFF2-40B4-BE49-F238E27FC236}">
                    <a16:creationId xmlns:a16="http://schemas.microsoft.com/office/drawing/2014/main" id="{30E2E142-6920-9E9B-7D44-96D096E096DA}"/>
                  </a:ext>
                </a:extLst>
              </p:cNvPr>
              <p:cNvSpPr/>
              <p:nvPr/>
            </p:nvSpPr>
            <p:spPr>
              <a:xfrm>
                <a:off x="8473398" y="3471199"/>
                <a:ext cx="12725" cy="807685"/>
              </a:xfrm>
              <a:custGeom>
                <a:avLst/>
                <a:gdLst>
                  <a:gd name="connsiteX0" fmla="*/ 0 w 12725"/>
                  <a:gd name="connsiteY0" fmla="*/ 0 h 807685"/>
                  <a:gd name="connsiteX1" fmla="*/ 0 w 12725"/>
                  <a:gd name="connsiteY1" fmla="*/ 807685 h 807685"/>
                </a:gdLst>
                <a:ahLst/>
                <a:cxnLst>
                  <a:cxn ang="0">
                    <a:pos x="connsiteX0" y="connsiteY0"/>
                  </a:cxn>
                  <a:cxn ang="0">
                    <a:pos x="connsiteX1" y="connsiteY1"/>
                  </a:cxn>
                </a:cxnLst>
                <a:rect l="l" t="t" r="r" b="b"/>
                <a:pathLst>
                  <a:path w="12725" h="807685">
                    <a:moveTo>
                      <a:pt x="0" y="0"/>
                    </a:moveTo>
                    <a:lnTo>
                      <a:pt x="0" y="807685"/>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49" name="Freeform: Shape 248">
                <a:extLst>
                  <a:ext uri="{FF2B5EF4-FFF2-40B4-BE49-F238E27FC236}">
                    <a16:creationId xmlns:a16="http://schemas.microsoft.com/office/drawing/2014/main" id="{3E25B231-3A5A-634B-1158-699C49851B44}"/>
                  </a:ext>
                </a:extLst>
              </p:cNvPr>
              <p:cNvSpPr/>
              <p:nvPr/>
            </p:nvSpPr>
            <p:spPr>
              <a:xfrm>
                <a:off x="8408625" y="3467636"/>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50" name="Freeform: Shape 249">
                <a:extLst>
                  <a:ext uri="{FF2B5EF4-FFF2-40B4-BE49-F238E27FC236}">
                    <a16:creationId xmlns:a16="http://schemas.microsoft.com/office/drawing/2014/main" id="{826DA312-EAFB-54E6-223F-0AF4A9D92245}"/>
                  </a:ext>
                </a:extLst>
              </p:cNvPr>
              <p:cNvSpPr/>
              <p:nvPr/>
            </p:nvSpPr>
            <p:spPr>
              <a:xfrm>
                <a:off x="8408625" y="4278884"/>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67" name="Graphic 325">
              <a:extLst>
                <a:ext uri="{FF2B5EF4-FFF2-40B4-BE49-F238E27FC236}">
                  <a16:creationId xmlns:a16="http://schemas.microsoft.com/office/drawing/2014/main" id="{74E35064-50E9-BB27-CBE2-5793121B6FEE}"/>
                </a:ext>
              </a:extLst>
            </p:cNvPr>
            <p:cNvGrpSpPr/>
            <p:nvPr/>
          </p:nvGrpSpPr>
          <p:grpSpPr>
            <a:xfrm>
              <a:off x="7824314" y="3013765"/>
              <a:ext cx="125600" cy="810501"/>
              <a:chOff x="8116958" y="3361961"/>
              <a:chExt cx="125600" cy="810501"/>
            </a:xfrm>
            <a:solidFill>
              <a:schemeClr val="accent2"/>
            </a:solidFill>
          </p:grpSpPr>
          <p:sp>
            <p:nvSpPr>
              <p:cNvPr id="245" name="Freeform: Shape 244">
                <a:extLst>
                  <a:ext uri="{FF2B5EF4-FFF2-40B4-BE49-F238E27FC236}">
                    <a16:creationId xmlns:a16="http://schemas.microsoft.com/office/drawing/2014/main" id="{FF1FE800-669E-E3EA-D63C-798A46FB0641}"/>
                  </a:ext>
                </a:extLst>
              </p:cNvPr>
              <p:cNvSpPr/>
              <p:nvPr/>
            </p:nvSpPr>
            <p:spPr>
              <a:xfrm>
                <a:off x="8179821" y="3363015"/>
                <a:ext cx="45719" cy="800367"/>
              </a:xfrm>
              <a:custGeom>
                <a:avLst/>
                <a:gdLst>
                  <a:gd name="connsiteX0" fmla="*/ 0 w 12725"/>
                  <a:gd name="connsiteY0" fmla="*/ 0 h 787070"/>
                  <a:gd name="connsiteX1" fmla="*/ 0 w 12725"/>
                  <a:gd name="connsiteY1" fmla="*/ 787070 h 787070"/>
                </a:gdLst>
                <a:ahLst/>
                <a:cxnLst>
                  <a:cxn ang="0">
                    <a:pos x="connsiteX0" y="connsiteY0"/>
                  </a:cxn>
                  <a:cxn ang="0">
                    <a:pos x="connsiteX1" y="connsiteY1"/>
                  </a:cxn>
                </a:cxnLst>
                <a:rect l="l" t="t" r="r" b="b"/>
                <a:pathLst>
                  <a:path w="12725" h="787070">
                    <a:moveTo>
                      <a:pt x="0" y="0"/>
                    </a:moveTo>
                    <a:lnTo>
                      <a:pt x="0" y="78707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46" name="Freeform: Shape 245">
                <a:extLst>
                  <a:ext uri="{FF2B5EF4-FFF2-40B4-BE49-F238E27FC236}">
                    <a16:creationId xmlns:a16="http://schemas.microsoft.com/office/drawing/2014/main" id="{74A496FB-8C38-77E4-1DBA-19B23E0D8B43}"/>
                  </a:ext>
                </a:extLst>
              </p:cNvPr>
              <p:cNvSpPr/>
              <p:nvPr/>
            </p:nvSpPr>
            <p:spPr>
              <a:xfrm>
                <a:off x="8116958" y="3361961"/>
                <a:ext cx="125600" cy="12725"/>
              </a:xfrm>
              <a:custGeom>
                <a:avLst/>
                <a:gdLst>
                  <a:gd name="connsiteX0" fmla="*/ 0 w 125600"/>
                  <a:gd name="connsiteY0" fmla="*/ 0 h 12725"/>
                  <a:gd name="connsiteX1" fmla="*/ 125601 w 125600"/>
                  <a:gd name="connsiteY1" fmla="*/ 0 h 12725"/>
                </a:gdLst>
                <a:ahLst/>
                <a:cxnLst>
                  <a:cxn ang="0">
                    <a:pos x="connsiteX0" y="connsiteY0"/>
                  </a:cxn>
                  <a:cxn ang="0">
                    <a:pos x="connsiteX1" y="connsiteY1"/>
                  </a:cxn>
                </a:cxnLst>
                <a:rect l="l" t="t" r="r" b="b"/>
                <a:pathLst>
                  <a:path w="125600" h="12725">
                    <a:moveTo>
                      <a:pt x="0" y="0"/>
                    </a:moveTo>
                    <a:lnTo>
                      <a:pt x="125601"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47" name="Freeform: Shape 246">
                <a:extLst>
                  <a:ext uri="{FF2B5EF4-FFF2-40B4-BE49-F238E27FC236}">
                    <a16:creationId xmlns:a16="http://schemas.microsoft.com/office/drawing/2014/main" id="{0BDD9CF0-6AD6-B22A-46CA-4F7B45EBBD0F}"/>
                  </a:ext>
                </a:extLst>
              </p:cNvPr>
              <p:cNvSpPr/>
              <p:nvPr/>
            </p:nvSpPr>
            <p:spPr>
              <a:xfrm>
                <a:off x="8116958" y="4159737"/>
                <a:ext cx="125600" cy="12725"/>
              </a:xfrm>
              <a:custGeom>
                <a:avLst/>
                <a:gdLst>
                  <a:gd name="connsiteX0" fmla="*/ 0 w 125600"/>
                  <a:gd name="connsiteY0" fmla="*/ 0 h 12725"/>
                  <a:gd name="connsiteX1" fmla="*/ 125601 w 125600"/>
                  <a:gd name="connsiteY1" fmla="*/ 0 h 12725"/>
                </a:gdLst>
                <a:ahLst/>
                <a:cxnLst>
                  <a:cxn ang="0">
                    <a:pos x="connsiteX0" y="connsiteY0"/>
                  </a:cxn>
                  <a:cxn ang="0">
                    <a:pos x="connsiteX1" y="connsiteY1"/>
                  </a:cxn>
                </a:cxnLst>
                <a:rect l="l" t="t" r="r" b="b"/>
                <a:pathLst>
                  <a:path w="125600" h="12725">
                    <a:moveTo>
                      <a:pt x="0" y="0"/>
                    </a:moveTo>
                    <a:lnTo>
                      <a:pt x="125601"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68" name="Graphic 325">
              <a:extLst>
                <a:ext uri="{FF2B5EF4-FFF2-40B4-BE49-F238E27FC236}">
                  <a16:creationId xmlns:a16="http://schemas.microsoft.com/office/drawing/2014/main" id="{3C40F03C-5D9E-AF42-9A86-B65D1198E28D}"/>
                </a:ext>
              </a:extLst>
            </p:cNvPr>
            <p:cNvGrpSpPr/>
            <p:nvPr/>
          </p:nvGrpSpPr>
          <p:grpSpPr>
            <a:xfrm>
              <a:off x="7533028" y="3015473"/>
              <a:ext cx="129545" cy="772181"/>
              <a:chOff x="7825672" y="3363669"/>
              <a:chExt cx="129545" cy="772181"/>
            </a:xfrm>
            <a:solidFill>
              <a:schemeClr val="accent2"/>
            </a:solidFill>
          </p:grpSpPr>
          <p:sp>
            <p:nvSpPr>
              <p:cNvPr id="242" name="Freeform: Shape 241">
                <a:extLst>
                  <a:ext uri="{FF2B5EF4-FFF2-40B4-BE49-F238E27FC236}">
                    <a16:creationId xmlns:a16="http://schemas.microsoft.com/office/drawing/2014/main" id="{DA716D44-21DF-69FA-4E7D-CE419CE7DC56}"/>
                  </a:ext>
                </a:extLst>
              </p:cNvPr>
              <p:cNvSpPr/>
              <p:nvPr/>
            </p:nvSpPr>
            <p:spPr>
              <a:xfrm>
                <a:off x="7890444" y="3366978"/>
                <a:ext cx="12725" cy="756147"/>
              </a:xfrm>
              <a:custGeom>
                <a:avLst/>
                <a:gdLst>
                  <a:gd name="connsiteX0" fmla="*/ 0 w 12725"/>
                  <a:gd name="connsiteY0" fmla="*/ 0 h 756147"/>
                  <a:gd name="connsiteX1" fmla="*/ 0 w 12725"/>
                  <a:gd name="connsiteY1" fmla="*/ 756147 h 756147"/>
                </a:gdLst>
                <a:ahLst/>
                <a:cxnLst>
                  <a:cxn ang="0">
                    <a:pos x="connsiteX0" y="connsiteY0"/>
                  </a:cxn>
                  <a:cxn ang="0">
                    <a:pos x="connsiteX1" y="connsiteY1"/>
                  </a:cxn>
                </a:cxnLst>
                <a:rect l="l" t="t" r="r" b="b"/>
                <a:pathLst>
                  <a:path w="12725" h="756147">
                    <a:moveTo>
                      <a:pt x="0" y="0"/>
                    </a:moveTo>
                    <a:lnTo>
                      <a:pt x="0" y="756147"/>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43" name="Freeform: Shape 242">
                <a:extLst>
                  <a:ext uri="{FF2B5EF4-FFF2-40B4-BE49-F238E27FC236}">
                    <a16:creationId xmlns:a16="http://schemas.microsoft.com/office/drawing/2014/main" id="{34B26908-FBBD-4846-3E74-EF810F40A48E}"/>
                  </a:ext>
                </a:extLst>
              </p:cNvPr>
              <p:cNvSpPr/>
              <p:nvPr/>
            </p:nvSpPr>
            <p:spPr>
              <a:xfrm>
                <a:off x="7825672" y="3363669"/>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44" name="Freeform: Shape 243">
                <a:extLst>
                  <a:ext uri="{FF2B5EF4-FFF2-40B4-BE49-F238E27FC236}">
                    <a16:creationId xmlns:a16="http://schemas.microsoft.com/office/drawing/2014/main" id="{8FCD6DBB-BE42-3076-AAD0-C760F82D6BB7}"/>
                  </a:ext>
                </a:extLst>
              </p:cNvPr>
              <p:cNvSpPr/>
              <p:nvPr/>
            </p:nvSpPr>
            <p:spPr>
              <a:xfrm>
                <a:off x="7825672" y="4123125"/>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69" name="Graphic 325">
              <a:extLst>
                <a:ext uri="{FF2B5EF4-FFF2-40B4-BE49-F238E27FC236}">
                  <a16:creationId xmlns:a16="http://schemas.microsoft.com/office/drawing/2014/main" id="{6443334C-197F-9984-08EA-EAF5BD4B1525}"/>
                </a:ext>
              </a:extLst>
            </p:cNvPr>
            <p:cNvGrpSpPr/>
            <p:nvPr/>
          </p:nvGrpSpPr>
          <p:grpSpPr>
            <a:xfrm>
              <a:off x="7231562" y="2915779"/>
              <a:ext cx="129672" cy="742021"/>
              <a:chOff x="7524206" y="3263975"/>
              <a:chExt cx="129672" cy="742021"/>
            </a:xfrm>
            <a:solidFill>
              <a:schemeClr val="accent2"/>
            </a:solidFill>
          </p:grpSpPr>
          <p:sp>
            <p:nvSpPr>
              <p:cNvPr id="239" name="Freeform: Shape 238">
                <a:extLst>
                  <a:ext uri="{FF2B5EF4-FFF2-40B4-BE49-F238E27FC236}">
                    <a16:creationId xmlns:a16="http://schemas.microsoft.com/office/drawing/2014/main" id="{404D0CA4-B997-A189-20F2-90A3D968D5F2}"/>
                  </a:ext>
                </a:extLst>
              </p:cNvPr>
              <p:cNvSpPr/>
              <p:nvPr/>
            </p:nvSpPr>
            <p:spPr>
              <a:xfrm>
                <a:off x="7588978" y="3267156"/>
                <a:ext cx="12725" cy="726114"/>
              </a:xfrm>
              <a:custGeom>
                <a:avLst/>
                <a:gdLst>
                  <a:gd name="connsiteX0" fmla="*/ 0 w 12725"/>
                  <a:gd name="connsiteY0" fmla="*/ 0 h 726114"/>
                  <a:gd name="connsiteX1" fmla="*/ 0 w 12725"/>
                  <a:gd name="connsiteY1" fmla="*/ 726115 h 726114"/>
                </a:gdLst>
                <a:ahLst/>
                <a:cxnLst>
                  <a:cxn ang="0">
                    <a:pos x="connsiteX0" y="connsiteY0"/>
                  </a:cxn>
                  <a:cxn ang="0">
                    <a:pos x="connsiteX1" y="connsiteY1"/>
                  </a:cxn>
                </a:cxnLst>
                <a:rect l="l" t="t" r="r" b="b"/>
                <a:pathLst>
                  <a:path w="12725" h="726114">
                    <a:moveTo>
                      <a:pt x="0" y="0"/>
                    </a:moveTo>
                    <a:lnTo>
                      <a:pt x="0" y="726115"/>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40" name="Freeform: Shape 239">
                <a:extLst>
                  <a:ext uri="{FF2B5EF4-FFF2-40B4-BE49-F238E27FC236}">
                    <a16:creationId xmlns:a16="http://schemas.microsoft.com/office/drawing/2014/main" id="{0AD9D449-95D5-B45E-AE13-75643CCE7E9F}"/>
                  </a:ext>
                </a:extLst>
              </p:cNvPr>
              <p:cNvSpPr/>
              <p:nvPr/>
            </p:nvSpPr>
            <p:spPr>
              <a:xfrm>
                <a:off x="7524206" y="3263975"/>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41" name="Freeform: Shape 240">
                <a:extLst>
                  <a:ext uri="{FF2B5EF4-FFF2-40B4-BE49-F238E27FC236}">
                    <a16:creationId xmlns:a16="http://schemas.microsoft.com/office/drawing/2014/main" id="{5D595CCB-07CE-D5AD-F9B5-D39B3308236F}"/>
                  </a:ext>
                </a:extLst>
              </p:cNvPr>
              <p:cNvSpPr/>
              <p:nvPr/>
            </p:nvSpPr>
            <p:spPr>
              <a:xfrm>
                <a:off x="7524206" y="3993271"/>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70" name="Graphic 325">
              <a:extLst>
                <a:ext uri="{FF2B5EF4-FFF2-40B4-BE49-F238E27FC236}">
                  <a16:creationId xmlns:a16="http://schemas.microsoft.com/office/drawing/2014/main" id="{81919892-63B8-7EE2-3CFD-85C7A6853619}"/>
                </a:ext>
              </a:extLst>
            </p:cNvPr>
            <p:cNvGrpSpPr/>
            <p:nvPr/>
          </p:nvGrpSpPr>
          <p:grpSpPr>
            <a:xfrm>
              <a:off x="6945748" y="2816758"/>
              <a:ext cx="129672" cy="727893"/>
              <a:chOff x="7238392" y="3164954"/>
              <a:chExt cx="129672" cy="727893"/>
            </a:xfrm>
            <a:solidFill>
              <a:schemeClr val="accent2"/>
            </a:solidFill>
          </p:grpSpPr>
          <p:sp>
            <p:nvSpPr>
              <p:cNvPr id="236" name="Freeform: Shape 235">
                <a:extLst>
                  <a:ext uri="{FF2B5EF4-FFF2-40B4-BE49-F238E27FC236}">
                    <a16:creationId xmlns:a16="http://schemas.microsoft.com/office/drawing/2014/main" id="{D91B615A-B643-1022-397A-DAC8B55E9686}"/>
                  </a:ext>
                </a:extLst>
              </p:cNvPr>
              <p:cNvSpPr/>
              <p:nvPr/>
            </p:nvSpPr>
            <p:spPr>
              <a:xfrm>
                <a:off x="7303164" y="3167880"/>
                <a:ext cx="45719" cy="712133"/>
              </a:xfrm>
              <a:custGeom>
                <a:avLst/>
                <a:gdLst>
                  <a:gd name="connsiteX0" fmla="*/ 0 w 12725"/>
                  <a:gd name="connsiteY0" fmla="*/ 0 h 695446"/>
                  <a:gd name="connsiteX1" fmla="*/ 0 w 12725"/>
                  <a:gd name="connsiteY1" fmla="*/ 695447 h 695446"/>
                </a:gdLst>
                <a:ahLst/>
                <a:cxnLst>
                  <a:cxn ang="0">
                    <a:pos x="connsiteX0" y="connsiteY0"/>
                  </a:cxn>
                  <a:cxn ang="0">
                    <a:pos x="connsiteX1" y="connsiteY1"/>
                  </a:cxn>
                </a:cxnLst>
                <a:rect l="l" t="t" r="r" b="b"/>
                <a:pathLst>
                  <a:path w="12725" h="695446">
                    <a:moveTo>
                      <a:pt x="0" y="0"/>
                    </a:moveTo>
                    <a:lnTo>
                      <a:pt x="0" y="695447"/>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37" name="Freeform: Shape 236">
                <a:extLst>
                  <a:ext uri="{FF2B5EF4-FFF2-40B4-BE49-F238E27FC236}">
                    <a16:creationId xmlns:a16="http://schemas.microsoft.com/office/drawing/2014/main" id="{AB5826BC-A78F-C926-8EF9-0060CF2D8EAD}"/>
                  </a:ext>
                </a:extLst>
              </p:cNvPr>
              <p:cNvSpPr/>
              <p:nvPr/>
            </p:nvSpPr>
            <p:spPr>
              <a:xfrm>
                <a:off x="7238392" y="3164954"/>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38" name="Freeform: Shape 237">
                <a:extLst>
                  <a:ext uri="{FF2B5EF4-FFF2-40B4-BE49-F238E27FC236}">
                    <a16:creationId xmlns:a16="http://schemas.microsoft.com/office/drawing/2014/main" id="{439911DA-141E-D46D-9CAB-22BCE64F0240}"/>
                  </a:ext>
                </a:extLst>
              </p:cNvPr>
              <p:cNvSpPr/>
              <p:nvPr/>
            </p:nvSpPr>
            <p:spPr>
              <a:xfrm>
                <a:off x="7238392" y="3880122"/>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71" name="Graphic 325">
              <a:extLst>
                <a:ext uri="{FF2B5EF4-FFF2-40B4-BE49-F238E27FC236}">
                  <a16:creationId xmlns:a16="http://schemas.microsoft.com/office/drawing/2014/main" id="{835F279E-7CB8-71A8-19C1-2DE96BF94A39}"/>
                </a:ext>
              </a:extLst>
            </p:cNvPr>
            <p:cNvGrpSpPr/>
            <p:nvPr/>
          </p:nvGrpSpPr>
          <p:grpSpPr>
            <a:xfrm>
              <a:off x="6642118" y="2548559"/>
              <a:ext cx="129672" cy="708771"/>
              <a:chOff x="6934762" y="2896755"/>
              <a:chExt cx="129672" cy="708771"/>
            </a:xfrm>
            <a:solidFill>
              <a:schemeClr val="accent2"/>
            </a:solidFill>
          </p:grpSpPr>
          <p:sp>
            <p:nvSpPr>
              <p:cNvPr id="233" name="Freeform: Shape 232">
                <a:extLst>
                  <a:ext uri="{FF2B5EF4-FFF2-40B4-BE49-F238E27FC236}">
                    <a16:creationId xmlns:a16="http://schemas.microsoft.com/office/drawing/2014/main" id="{8650FF04-D6C9-97E0-FC8E-6D6199590703}"/>
                  </a:ext>
                </a:extLst>
              </p:cNvPr>
              <p:cNvSpPr/>
              <p:nvPr/>
            </p:nvSpPr>
            <p:spPr>
              <a:xfrm>
                <a:off x="6999662" y="2899809"/>
                <a:ext cx="12725" cy="690611"/>
              </a:xfrm>
              <a:custGeom>
                <a:avLst/>
                <a:gdLst>
                  <a:gd name="connsiteX0" fmla="*/ 0 w 12725"/>
                  <a:gd name="connsiteY0" fmla="*/ 0 h 690611"/>
                  <a:gd name="connsiteX1" fmla="*/ 0 w 12725"/>
                  <a:gd name="connsiteY1" fmla="*/ 690611 h 690611"/>
                </a:gdLst>
                <a:ahLst/>
                <a:cxnLst>
                  <a:cxn ang="0">
                    <a:pos x="connsiteX0" y="connsiteY0"/>
                  </a:cxn>
                  <a:cxn ang="0">
                    <a:pos x="connsiteX1" y="connsiteY1"/>
                  </a:cxn>
                </a:cxnLst>
                <a:rect l="l" t="t" r="r" b="b"/>
                <a:pathLst>
                  <a:path w="12725" h="690611">
                    <a:moveTo>
                      <a:pt x="0" y="0"/>
                    </a:moveTo>
                    <a:lnTo>
                      <a:pt x="0" y="690611"/>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34" name="Freeform: Shape 233">
                <a:extLst>
                  <a:ext uri="{FF2B5EF4-FFF2-40B4-BE49-F238E27FC236}">
                    <a16:creationId xmlns:a16="http://schemas.microsoft.com/office/drawing/2014/main" id="{B3751619-9936-F513-307B-60B9A743566B}"/>
                  </a:ext>
                </a:extLst>
              </p:cNvPr>
              <p:cNvSpPr/>
              <p:nvPr/>
            </p:nvSpPr>
            <p:spPr>
              <a:xfrm>
                <a:off x="6934762" y="2896755"/>
                <a:ext cx="129672" cy="12725"/>
              </a:xfrm>
              <a:custGeom>
                <a:avLst/>
                <a:gdLst>
                  <a:gd name="connsiteX0" fmla="*/ 0 w 129672"/>
                  <a:gd name="connsiteY0" fmla="*/ 0 h 12725"/>
                  <a:gd name="connsiteX1" fmla="*/ 129672 w 129672"/>
                  <a:gd name="connsiteY1" fmla="*/ 0 h 12725"/>
                </a:gdLst>
                <a:ahLst/>
                <a:cxnLst>
                  <a:cxn ang="0">
                    <a:pos x="connsiteX0" y="connsiteY0"/>
                  </a:cxn>
                  <a:cxn ang="0">
                    <a:pos x="connsiteX1" y="connsiteY1"/>
                  </a:cxn>
                </a:cxnLst>
                <a:rect l="l" t="t" r="r" b="b"/>
                <a:pathLst>
                  <a:path w="129672" h="12725">
                    <a:moveTo>
                      <a:pt x="0" y="0"/>
                    </a:moveTo>
                    <a:lnTo>
                      <a:pt x="129672"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35" name="Freeform: Shape 234">
                <a:extLst>
                  <a:ext uri="{FF2B5EF4-FFF2-40B4-BE49-F238E27FC236}">
                    <a16:creationId xmlns:a16="http://schemas.microsoft.com/office/drawing/2014/main" id="{21E83B51-B7DA-FC41-45E7-1CFC1C5F81D1}"/>
                  </a:ext>
                </a:extLst>
              </p:cNvPr>
              <p:cNvSpPr/>
              <p:nvPr/>
            </p:nvSpPr>
            <p:spPr>
              <a:xfrm>
                <a:off x="6934762" y="3592801"/>
                <a:ext cx="129672" cy="12725"/>
              </a:xfrm>
              <a:custGeom>
                <a:avLst/>
                <a:gdLst>
                  <a:gd name="connsiteX0" fmla="*/ 0 w 129672"/>
                  <a:gd name="connsiteY0" fmla="*/ 0 h 12725"/>
                  <a:gd name="connsiteX1" fmla="*/ 129672 w 129672"/>
                  <a:gd name="connsiteY1" fmla="*/ 0 h 12725"/>
                </a:gdLst>
                <a:ahLst/>
                <a:cxnLst>
                  <a:cxn ang="0">
                    <a:pos x="connsiteX0" y="connsiteY0"/>
                  </a:cxn>
                  <a:cxn ang="0">
                    <a:pos x="connsiteX1" y="connsiteY1"/>
                  </a:cxn>
                </a:cxnLst>
                <a:rect l="l" t="t" r="r" b="b"/>
                <a:pathLst>
                  <a:path w="129672" h="12725">
                    <a:moveTo>
                      <a:pt x="0" y="0"/>
                    </a:moveTo>
                    <a:lnTo>
                      <a:pt x="129672"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72" name="Graphic 325">
              <a:extLst>
                <a:ext uri="{FF2B5EF4-FFF2-40B4-BE49-F238E27FC236}">
                  <a16:creationId xmlns:a16="http://schemas.microsoft.com/office/drawing/2014/main" id="{EC6EE754-B96A-BF17-5589-A0BFE7C69A16}"/>
                </a:ext>
              </a:extLst>
            </p:cNvPr>
            <p:cNvGrpSpPr/>
            <p:nvPr/>
          </p:nvGrpSpPr>
          <p:grpSpPr>
            <a:xfrm>
              <a:off x="6350069" y="2635126"/>
              <a:ext cx="129545" cy="706192"/>
              <a:chOff x="6642713" y="2983322"/>
              <a:chExt cx="129545" cy="706192"/>
            </a:xfrm>
            <a:solidFill>
              <a:schemeClr val="accent2"/>
            </a:solidFill>
          </p:grpSpPr>
          <p:sp>
            <p:nvSpPr>
              <p:cNvPr id="230" name="Freeform: Shape 229">
                <a:extLst>
                  <a:ext uri="{FF2B5EF4-FFF2-40B4-BE49-F238E27FC236}">
                    <a16:creationId xmlns:a16="http://schemas.microsoft.com/office/drawing/2014/main" id="{08AA71CA-EFB4-B899-B21F-C9422AF73AD1}"/>
                  </a:ext>
                </a:extLst>
              </p:cNvPr>
              <p:cNvSpPr/>
              <p:nvPr/>
            </p:nvSpPr>
            <p:spPr>
              <a:xfrm>
                <a:off x="6707485" y="2984663"/>
                <a:ext cx="45719" cy="697707"/>
              </a:xfrm>
              <a:custGeom>
                <a:avLst/>
                <a:gdLst>
                  <a:gd name="connsiteX0" fmla="*/ 0 w 12725"/>
                  <a:gd name="connsiteY0" fmla="*/ 0 h 702318"/>
                  <a:gd name="connsiteX1" fmla="*/ 0 w 12725"/>
                  <a:gd name="connsiteY1" fmla="*/ 702318 h 702318"/>
                </a:gdLst>
                <a:ahLst/>
                <a:cxnLst>
                  <a:cxn ang="0">
                    <a:pos x="connsiteX0" y="connsiteY0"/>
                  </a:cxn>
                  <a:cxn ang="0">
                    <a:pos x="connsiteX1" y="connsiteY1"/>
                  </a:cxn>
                </a:cxnLst>
                <a:rect l="l" t="t" r="r" b="b"/>
                <a:pathLst>
                  <a:path w="12725" h="702318">
                    <a:moveTo>
                      <a:pt x="0" y="0"/>
                    </a:moveTo>
                    <a:lnTo>
                      <a:pt x="0" y="702318"/>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31" name="Freeform: Shape 230">
                <a:extLst>
                  <a:ext uri="{FF2B5EF4-FFF2-40B4-BE49-F238E27FC236}">
                    <a16:creationId xmlns:a16="http://schemas.microsoft.com/office/drawing/2014/main" id="{3720AA21-673A-1E63-3AF9-A4A043ECEBA5}"/>
                  </a:ext>
                </a:extLst>
              </p:cNvPr>
              <p:cNvSpPr/>
              <p:nvPr/>
            </p:nvSpPr>
            <p:spPr>
              <a:xfrm>
                <a:off x="6642713" y="2983322"/>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32" name="Freeform: Shape 231">
                <a:extLst>
                  <a:ext uri="{FF2B5EF4-FFF2-40B4-BE49-F238E27FC236}">
                    <a16:creationId xmlns:a16="http://schemas.microsoft.com/office/drawing/2014/main" id="{E1011F7A-DDDF-338B-0EC0-D0F717A2B7A5}"/>
                  </a:ext>
                </a:extLst>
              </p:cNvPr>
              <p:cNvSpPr/>
              <p:nvPr/>
            </p:nvSpPr>
            <p:spPr>
              <a:xfrm>
                <a:off x="6642713" y="3676789"/>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73" name="Graphic 325">
              <a:extLst>
                <a:ext uri="{FF2B5EF4-FFF2-40B4-BE49-F238E27FC236}">
                  <a16:creationId xmlns:a16="http://schemas.microsoft.com/office/drawing/2014/main" id="{24BE45DB-468D-6051-4ABB-0D63B4B853DD}"/>
                </a:ext>
              </a:extLst>
            </p:cNvPr>
            <p:cNvGrpSpPr/>
            <p:nvPr/>
          </p:nvGrpSpPr>
          <p:grpSpPr>
            <a:xfrm>
              <a:off x="6056874" y="2404068"/>
              <a:ext cx="129545" cy="656198"/>
              <a:chOff x="6349518" y="2752264"/>
              <a:chExt cx="129545" cy="656198"/>
            </a:xfrm>
            <a:solidFill>
              <a:schemeClr val="accent2"/>
            </a:solidFill>
          </p:grpSpPr>
          <p:sp>
            <p:nvSpPr>
              <p:cNvPr id="227" name="Freeform: Shape 226">
                <a:extLst>
                  <a:ext uri="{FF2B5EF4-FFF2-40B4-BE49-F238E27FC236}">
                    <a16:creationId xmlns:a16="http://schemas.microsoft.com/office/drawing/2014/main" id="{DB1C6F94-3716-675E-742A-E0345B9DC44C}"/>
                  </a:ext>
                </a:extLst>
              </p:cNvPr>
              <p:cNvSpPr/>
              <p:nvPr/>
            </p:nvSpPr>
            <p:spPr>
              <a:xfrm>
                <a:off x="6414291" y="2755064"/>
                <a:ext cx="45719" cy="639175"/>
              </a:xfrm>
              <a:custGeom>
                <a:avLst/>
                <a:gdLst>
                  <a:gd name="connsiteX0" fmla="*/ 0 w 12725"/>
                  <a:gd name="connsiteY0" fmla="*/ 0 h 645435"/>
                  <a:gd name="connsiteX1" fmla="*/ 0 w 12725"/>
                  <a:gd name="connsiteY1" fmla="*/ 645436 h 645435"/>
                </a:gdLst>
                <a:ahLst/>
                <a:cxnLst>
                  <a:cxn ang="0">
                    <a:pos x="connsiteX0" y="connsiteY0"/>
                  </a:cxn>
                  <a:cxn ang="0">
                    <a:pos x="connsiteX1" y="connsiteY1"/>
                  </a:cxn>
                </a:cxnLst>
                <a:rect l="l" t="t" r="r" b="b"/>
                <a:pathLst>
                  <a:path w="12725" h="645435">
                    <a:moveTo>
                      <a:pt x="0" y="0"/>
                    </a:moveTo>
                    <a:lnTo>
                      <a:pt x="0" y="645436"/>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28" name="Freeform: Shape 227">
                <a:extLst>
                  <a:ext uri="{FF2B5EF4-FFF2-40B4-BE49-F238E27FC236}">
                    <a16:creationId xmlns:a16="http://schemas.microsoft.com/office/drawing/2014/main" id="{B0B6E3A6-AAA3-014F-F35C-5AD7371B0D44}"/>
                  </a:ext>
                </a:extLst>
              </p:cNvPr>
              <p:cNvSpPr/>
              <p:nvPr/>
            </p:nvSpPr>
            <p:spPr>
              <a:xfrm>
                <a:off x="6349518" y="2752264"/>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29" name="Freeform: Shape 228">
                <a:extLst>
                  <a:ext uri="{FF2B5EF4-FFF2-40B4-BE49-F238E27FC236}">
                    <a16:creationId xmlns:a16="http://schemas.microsoft.com/office/drawing/2014/main" id="{76B8C4AA-6E2F-39C5-20E2-1F3910824231}"/>
                  </a:ext>
                </a:extLst>
              </p:cNvPr>
              <p:cNvSpPr/>
              <p:nvPr/>
            </p:nvSpPr>
            <p:spPr>
              <a:xfrm>
                <a:off x="6349518" y="3395737"/>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74" name="Graphic 325">
              <a:extLst>
                <a:ext uri="{FF2B5EF4-FFF2-40B4-BE49-F238E27FC236}">
                  <a16:creationId xmlns:a16="http://schemas.microsoft.com/office/drawing/2014/main" id="{AA546E1F-C75E-3A18-C82C-9FB6F9CA1EEF}"/>
                </a:ext>
              </a:extLst>
            </p:cNvPr>
            <p:cNvGrpSpPr/>
            <p:nvPr/>
          </p:nvGrpSpPr>
          <p:grpSpPr>
            <a:xfrm>
              <a:off x="5763679" y="2311155"/>
              <a:ext cx="129545" cy="651564"/>
              <a:chOff x="6056323" y="2659351"/>
              <a:chExt cx="129545" cy="651564"/>
            </a:xfrm>
            <a:solidFill>
              <a:schemeClr val="accent2"/>
            </a:solidFill>
          </p:grpSpPr>
          <p:sp>
            <p:nvSpPr>
              <p:cNvPr id="224" name="Freeform: Shape 223">
                <a:extLst>
                  <a:ext uri="{FF2B5EF4-FFF2-40B4-BE49-F238E27FC236}">
                    <a16:creationId xmlns:a16="http://schemas.microsoft.com/office/drawing/2014/main" id="{9CD55141-C6F6-90E0-50AA-B3DFC8C6F86C}"/>
                  </a:ext>
                </a:extLst>
              </p:cNvPr>
              <p:cNvSpPr/>
              <p:nvPr/>
            </p:nvSpPr>
            <p:spPr>
              <a:xfrm>
                <a:off x="6121096" y="2660814"/>
                <a:ext cx="45719" cy="637248"/>
              </a:xfrm>
              <a:custGeom>
                <a:avLst/>
                <a:gdLst>
                  <a:gd name="connsiteX0" fmla="*/ 0 w 12725"/>
                  <a:gd name="connsiteY0" fmla="*/ 0 h 645435"/>
                  <a:gd name="connsiteX1" fmla="*/ 0 w 12725"/>
                  <a:gd name="connsiteY1" fmla="*/ 645436 h 645435"/>
                </a:gdLst>
                <a:ahLst/>
                <a:cxnLst>
                  <a:cxn ang="0">
                    <a:pos x="connsiteX0" y="connsiteY0"/>
                  </a:cxn>
                  <a:cxn ang="0">
                    <a:pos x="connsiteX1" y="connsiteY1"/>
                  </a:cxn>
                </a:cxnLst>
                <a:rect l="l" t="t" r="r" b="b"/>
                <a:pathLst>
                  <a:path w="12725" h="645435">
                    <a:moveTo>
                      <a:pt x="0" y="0"/>
                    </a:moveTo>
                    <a:lnTo>
                      <a:pt x="0" y="645436"/>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25" name="Freeform: Shape 224">
                <a:extLst>
                  <a:ext uri="{FF2B5EF4-FFF2-40B4-BE49-F238E27FC236}">
                    <a16:creationId xmlns:a16="http://schemas.microsoft.com/office/drawing/2014/main" id="{D208AA1D-9ECE-947A-A533-4E29ED3959ED}"/>
                  </a:ext>
                </a:extLst>
              </p:cNvPr>
              <p:cNvSpPr/>
              <p:nvPr/>
            </p:nvSpPr>
            <p:spPr>
              <a:xfrm>
                <a:off x="6056323" y="2659351"/>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26" name="Freeform: Shape 225">
                <a:extLst>
                  <a:ext uri="{FF2B5EF4-FFF2-40B4-BE49-F238E27FC236}">
                    <a16:creationId xmlns:a16="http://schemas.microsoft.com/office/drawing/2014/main" id="{B91F1B99-2055-4D50-DA32-BFCE5C7399CE}"/>
                  </a:ext>
                </a:extLst>
              </p:cNvPr>
              <p:cNvSpPr/>
              <p:nvPr/>
            </p:nvSpPr>
            <p:spPr>
              <a:xfrm>
                <a:off x="6056323" y="3298190"/>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75" name="Graphic 325">
              <a:extLst>
                <a:ext uri="{FF2B5EF4-FFF2-40B4-BE49-F238E27FC236}">
                  <a16:creationId xmlns:a16="http://schemas.microsoft.com/office/drawing/2014/main" id="{7A75B235-AEBB-12A0-DE72-BFA2C5CEDC25}"/>
                </a:ext>
              </a:extLst>
            </p:cNvPr>
            <p:cNvGrpSpPr/>
            <p:nvPr/>
          </p:nvGrpSpPr>
          <p:grpSpPr>
            <a:xfrm>
              <a:off x="5470103" y="2271218"/>
              <a:ext cx="129545" cy="655357"/>
              <a:chOff x="5762747" y="2619414"/>
              <a:chExt cx="129545" cy="655357"/>
            </a:xfrm>
            <a:solidFill>
              <a:schemeClr val="accent2"/>
            </a:solidFill>
          </p:grpSpPr>
          <p:sp>
            <p:nvSpPr>
              <p:cNvPr id="221" name="Freeform: Shape 220">
                <a:extLst>
                  <a:ext uri="{FF2B5EF4-FFF2-40B4-BE49-F238E27FC236}">
                    <a16:creationId xmlns:a16="http://schemas.microsoft.com/office/drawing/2014/main" id="{78D540A4-6F7D-7993-E019-06C5AE29B99A}"/>
                  </a:ext>
                </a:extLst>
              </p:cNvPr>
              <p:cNvSpPr/>
              <p:nvPr/>
            </p:nvSpPr>
            <p:spPr>
              <a:xfrm>
                <a:off x="5827519" y="2622213"/>
                <a:ext cx="45719" cy="638676"/>
              </a:xfrm>
              <a:custGeom>
                <a:avLst/>
                <a:gdLst>
                  <a:gd name="connsiteX0" fmla="*/ 0 w 12725"/>
                  <a:gd name="connsiteY0" fmla="*/ 0 h 623166"/>
                  <a:gd name="connsiteX1" fmla="*/ 0 w 12725"/>
                  <a:gd name="connsiteY1" fmla="*/ 623166 h 623166"/>
                </a:gdLst>
                <a:ahLst/>
                <a:cxnLst>
                  <a:cxn ang="0">
                    <a:pos x="connsiteX0" y="connsiteY0"/>
                  </a:cxn>
                  <a:cxn ang="0">
                    <a:pos x="connsiteX1" y="connsiteY1"/>
                  </a:cxn>
                </a:cxnLst>
                <a:rect l="l" t="t" r="r" b="b"/>
                <a:pathLst>
                  <a:path w="12725" h="623166">
                    <a:moveTo>
                      <a:pt x="0" y="0"/>
                    </a:moveTo>
                    <a:lnTo>
                      <a:pt x="0" y="623166"/>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22" name="Freeform: Shape 221">
                <a:extLst>
                  <a:ext uri="{FF2B5EF4-FFF2-40B4-BE49-F238E27FC236}">
                    <a16:creationId xmlns:a16="http://schemas.microsoft.com/office/drawing/2014/main" id="{B1F3B8FA-8562-7CE3-7AE3-55985A51421B}"/>
                  </a:ext>
                </a:extLst>
              </p:cNvPr>
              <p:cNvSpPr/>
              <p:nvPr/>
            </p:nvSpPr>
            <p:spPr>
              <a:xfrm>
                <a:off x="5762747" y="2619414"/>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23" name="Freeform: Shape 222">
                <a:extLst>
                  <a:ext uri="{FF2B5EF4-FFF2-40B4-BE49-F238E27FC236}">
                    <a16:creationId xmlns:a16="http://schemas.microsoft.com/office/drawing/2014/main" id="{3FE32AC1-282A-59B1-F4BF-31377CA012D2}"/>
                  </a:ext>
                </a:extLst>
              </p:cNvPr>
              <p:cNvSpPr/>
              <p:nvPr/>
            </p:nvSpPr>
            <p:spPr>
              <a:xfrm>
                <a:off x="5762747" y="3262046"/>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76" name="Graphic 325">
              <a:extLst>
                <a:ext uri="{FF2B5EF4-FFF2-40B4-BE49-F238E27FC236}">
                  <a16:creationId xmlns:a16="http://schemas.microsoft.com/office/drawing/2014/main" id="{D67609E2-87F0-D6DA-BEFC-DBAA34DC21E9}"/>
                </a:ext>
              </a:extLst>
            </p:cNvPr>
            <p:cNvGrpSpPr/>
            <p:nvPr/>
          </p:nvGrpSpPr>
          <p:grpSpPr>
            <a:xfrm>
              <a:off x="5173727" y="2222352"/>
              <a:ext cx="129545" cy="609677"/>
              <a:chOff x="5466371" y="2570548"/>
              <a:chExt cx="129545" cy="609677"/>
            </a:xfrm>
            <a:solidFill>
              <a:schemeClr val="accent2"/>
            </a:solidFill>
          </p:grpSpPr>
          <p:sp>
            <p:nvSpPr>
              <p:cNvPr id="218" name="Freeform: Shape 217">
                <a:extLst>
                  <a:ext uri="{FF2B5EF4-FFF2-40B4-BE49-F238E27FC236}">
                    <a16:creationId xmlns:a16="http://schemas.microsoft.com/office/drawing/2014/main" id="{B8B39C43-CD5D-9A38-8520-65E2F96E6B62}"/>
                  </a:ext>
                </a:extLst>
              </p:cNvPr>
              <p:cNvSpPr/>
              <p:nvPr/>
            </p:nvSpPr>
            <p:spPr>
              <a:xfrm>
                <a:off x="5531143" y="2573220"/>
                <a:ext cx="12725" cy="607004"/>
              </a:xfrm>
              <a:custGeom>
                <a:avLst/>
                <a:gdLst>
                  <a:gd name="connsiteX0" fmla="*/ 0 w 12725"/>
                  <a:gd name="connsiteY0" fmla="*/ 0 h 607004"/>
                  <a:gd name="connsiteX1" fmla="*/ 0 w 12725"/>
                  <a:gd name="connsiteY1" fmla="*/ 607005 h 607004"/>
                </a:gdLst>
                <a:ahLst/>
                <a:cxnLst>
                  <a:cxn ang="0">
                    <a:pos x="connsiteX0" y="connsiteY0"/>
                  </a:cxn>
                  <a:cxn ang="0">
                    <a:pos x="connsiteX1" y="connsiteY1"/>
                  </a:cxn>
                </a:cxnLst>
                <a:rect l="l" t="t" r="r" b="b"/>
                <a:pathLst>
                  <a:path w="12725" h="607004">
                    <a:moveTo>
                      <a:pt x="0" y="0"/>
                    </a:moveTo>
                    <a:lnTo>
                      <a:pt x="0" y="607005"/>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19" name="Freeform: Shape 218">
                <a:extLst>
                  <a:ext uri="{FF2B5EF4-FFF2-40B4-BE49-F238E27FC236}">
                    <a16:creationId xmlns:a16="http://schemas.microsoft.com/office/drawing/2014/main" id="{25F4BBEC-55D8-5620-861E-459215037703}"/>
                  </a:ext>
                </a:extLst>
              </p:cNvPr>
              <p:cNvSpPr/>
              <p:nvPr/>
            </p:nvSpPr>
            <p:spPr>
              <a:xfrm>
                <a:off x="5466371" y="2570548"/>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20" name="Freeform: Shape 219">
                <a:extLst>
                  <a:ext uri="{FF2B5EF4-FFF2-40B4-BE49-F238E27FC236}">
                    <a16:creationId xmlns:a16="http://schemas.microsoft.com/office/drawing/2014/main" id="{43BE5169-25CE-541F-66B6-388853836D73}"/>
                  </a:ext>
                </a:extLst>
              </p:cNvPr>
              <p:cNvSpPr/>
              <p:nvPr/>
            </p:nvSpPr>
            <p:spPr>
              <a:xfrm>
                <a:off x="5466371" y="3180225"/>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77" name="Graphic 325">
              <a:extLst>
                <a:ext uri="{FF2B5EF4-FFF2-40B4-BE49-F238E27FC236}">
                  <a16:creationId xmlns:a16="http://schemas.microsoft.com/office/drawing/2014/main" id="{4FCFFECF-E811-89BE-19F8-4F701E9B6AA8}"/>
                </a:ext>
              </a:extLst>
            </p:cNvPr>
            <p:cNvGrpSpPr/>
            <p:nvPr/>
          </p:nvGrpSpPr>
          <p:grpSpPr>
            <a:xfrm>
              <a:off x="4882314" y="2110368"/>
              <a:ext cx="129672" cy="620875"/>
              <a:chOff x="5174958" y="2458564"/>
              <a:chExt cx="129672" cy="620875"/>
            </a:xfrm>
            <a:solidFill>
              <a:schemeClr val="accent2"/>
            </a:solidFill>
          </p:grpSpPr>
          <p:sp>
            <p:nvSpPr>
              <p:cNvPr id="215" name="Freeform: Shape 214">
                <a:extLst>
                  <a:ext uri="{FF2B5EF4-FFF2-40B4-BE49-F238E27FC236}">
                    <a16:creationId xmlns:a16="http://schemas.microsoft.com/office/drawing/2014/main" id="{BC9DEDD4-4E4B-E44D-10CE-E4B0B5E03F63}"/>
                  </a:ext>
                </a:extLst>
              </p:cNvPr>
              <p:cNvSpPr/>
              <p:nvPr/>
            </p:nvSpPr>
            <p:spPr>
              <a:xfrm>
                <a:off x="5239857" y="2461363"/>
                <a:ext cx="12725" cy="618075"/>
              </a:xfrm>
              <a:custGeom>
                <a:avLst/>
                <a:gdLst>
                  <a:gd name="connsiteX0" fmla="*/ 0 w 12725"/>
                  <a:gd name="connsiteY0" fmla="*/ 0 h 618075"/>
                  <a:gd name="connsiteX1" fmla="*/ 0 w 12725"/>
                  <a:gd name="connsiteY1" fmla="*/ 618076 h 618075"/>
                </a:gdLst>
                <a:ahLst/>
                <a:cxnLst>
                  <a:cxn ang="0">
                    <a:pos x="connsiteX0" y="connsiteY0"/>
                  </a:cxn>
                  <a:cxn ang="0">
                    <a:pos x="connsiteX1" y="connsiteY1"/>
                  </a:cxn>
                </a:cxnLst>
                <a:rect l="l" t="t" r="r" b="b"/>
                <a:pathLst>
                  <a:path w="12725" h="618075">
                    <a:moveTo>
                      <a:pt x="0" y="0"/>
                    </a:moveTo>
                    <a:lnTo>
                      <a:pt x="0" y="618076"/>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16" name="Freeform: Shape 215">
                <a:extLst>
                  <a:ext uri="{FF2B5EF4-FFF2-40B4-BE49-F238E27FC236}">
                    <a16:creationId xmlns:a16="http://schemas.microsoft.com/office/drawing/2014/main" id="{CD3904C4-1FF0-2E1C-4B91-1047E3A5819D}"/>
                  </a:ext>
                </a:extLst>
              </p:cNvPr>
              <p:cNvSpPr/>
              <p:nvPr/>
            </p:nvSpPr>
            <p:spPr>
              <a:xfrm>
                <a:off x="5174958" y="2458564"/>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17" name="Freeform: Shape 216">
                <a:extLst>
                  <a:ext uri="{FF2B5EF4-FFF2-40B4-BE49-F238E27FC236}">
                    <a16:creationId xmlns:a16="http://schemas.microsoft.com/office/drawing/2014/main" id="{BAC29866-CB17-2C9A-C708-AB44B4D85619}"/>
                  </a:ext>
                </a:extLst>
              </p:cNvPr>
              <p:cNvSpPr/>
              <p:nvPr/>
            </p:nvSpPr>
            <p:spPr>
              <a:xfrm>
                <a:off x="5174958" y="3079312"/>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78" name="Graphic 325">
              <a:extLst>
                <a:ext uri="{FF2B5EF4-FFF2-40B4-BE49-F238E27FC236}">
                  <a16:creationId xmlns:a16="http://schemas.microsoft.com/office/drawing/2014/main" id="{25B58FF3-7F1A-920A-9B80-834AF304B083}"/>
                </a:ext>
              </a:extLst>
            </p:cNvPr>
            <p:cNvGrpSpPr/>
            <p:nvPr/>
          </p:nvGrpSpPr>
          <p:grpSpPr>
            <a:xfrm>
              <a:off x="4591791" y="2138236"/>
              <a:ext cx="129545" cy="621002"/>
              <a:chOff x="4884435" y="2486432"/>
              <a:chExt cx="129545" cy="621002"/>
            </a:xfrm>
            <a:solidFill>
              <a:schemeClr val="accent2"/>
            </a:solidFill>
          </p:grpSpPr>
          <p:sp>
            <p:nvSpPr>
              <p:cNvPr id="212" name="Freeform: Shape 211">
                <a:extLst>
                  <a:ext uri="{FF2B5EF4-FFF2-40B4-BE49-F238E27FC236}">
                    <a16:creationId xmlns:a16="http://schemas.microsoft.com/office/drawing/2014/main" id="{B6782620-2FC5-15D4-DD32-4512FEB425EC}"/>
                  </a:ext>
                </a:extLst>
              </p:cNvPr>
              <p:cNvSpPr/>
              <p:nvPr/>
            </p:nvSpPr>
            <p:spPr>
              <a:xfrm>
                <a:off x="4949208" y="2489105"/>
                <a:ext cx="12725" cy="618330"/>
              </a:xfrm>
              <a:custGeom>
                <a:avLst/>
                <a:gdLst>
                  <a:gd name="connsiteX0" fmla="*/ 0 w 12725"/>
                  <a:gd name="connsiteY0" fmla="*/ 0 h 618330"/>
                  <a:gd name="connsiteX1" fmla="*/ 0 w 12725"/>
                  <a:gd name="connsiteY1" fmla="*/ 618330 h 618330"/>
                </a:gdLst>
                <a:ahLst/>
                <a:cxnLst>
                  <a:cxn ang="0">
                    <a:pos x="connsiteX0" y="connsiteY0"/>
                  </a:cxn>
                  <a:cxn ang="0">
                    <a:pos x="connsiteX1" y="connsiteY1"/>
                  </a:cxn>
                </a:cxnLst>
                <a:rect l="l" t="t" r="r" b="b"/>
                <a:pathLst>
                  <a:path w="12725" h="618330">
                    <a:moveTo>
                      <a:pt x="0" y="0"/>
                    </a:moveTo>
                    <a:lnTo>
                      <a:pt x="0" y="61833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13" name="Freeform: Shape 212">
                <a:extLst>
                  <a:ext uri="{FF2B5EF4-FFF2-40B4-BE49-F238E27FC236}">
                    <a16:creationId xmlns:a16="http://schemas.microsoft.com/office/drawing/2014/main" id="{1D069D27-0750-30AE-2A65-E75BD68FEB01}"/>
                  </a:ext>
                </a:extLst>
              </p:cNvPr>
              <p:cNvSpPr/>
              <p:nvPr/>
            </p:nvSpPr>
            <p:spPr>
              <a:xfrm>
                <a:off x="4884435" y="2486432"/>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14" name="Freeform: Shape 213">
                <a:extLst>
                  <a:ext uri="{FF2B5EF4-FFF2-40B4-BE49-F238E27FC236}">
                    <a16:creationId xmlns:a16="http://schemas.microsoft.com/office/drawing/2014/main" id="{BF9094F9-F03C-77CB-C52E-7AC94D78D82F}"/>
                  </a:ext>
                </a:extLst>
              </p:cNvPr>
              <p:cNvSpPr/>
              <p:nvPr/>
            </p:nvSpPr>
            <p:spPr>
              <a:xfrm>
                <a:off x="4884435" y="3107308"/>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79" name="Graphic 325">
              <a:extLst>
                <a:ext uri="{FF2B5EF4-FFF2-40B4-BE49-F238E27FC236}">
                  <a16:creationId xmlns:a16="http://schemas.microsoft.com/office/drawing/2014/main" id="{99904F56-9E82-9854-65CE-165C1D04900D}"/>
                </a:ext>
              </a:extLst>
            </p:cNvPr>
            <p:cNvGrpSpPr/>
            <p:nvPr/>
          </p:nvGrpSpPr>
          <p:grpSpPr>
            <a:xfrm>
              <a:off x="4294143" y="2140909"/>
              <a:ext cx="129545" cy="638071"/>
              <a:chOff x="4586787" y="2489105"/>
              <a:chExt cx="129545" cy="638071"/>
            </a:xfrm>
            <a:solidFill>
              <a:schemeClr val="accent2"/>
            </a:solidFill>
          </p:grpSpPr>
          <p:sp>
            <p:nvSpPr>
              <p:cNvPr id="209" name="Freeform: Shape 208">
                <a:extLst>
                  <a:ext uri="{FF2B5EF4-FFF2-40B4-BE49-F238E27FC236}">
                    <a16:creationId xmlns:a16="http://schemas.microsoft.com/office/drawing/2014/main" id="{3E8D65ED-8F0B-6E31-4057-71751F39EB43}"/>
                  </a:ext>
                </a:extLst>
              </p:cNvPr>
              <p:cNvSpPr/>
              <p:nvPr/>
            </p:nvSpPr>
            <p:spPr>
              <a:xfrm>
                <a:off x="4651559" y="2489105"/>
                <a:ext cx="45719" cy="626528"/>
              </a:xfrm>
              <a:custGeom>
                <a:avLst/>
                <a:gdLst>
                  <a:gd name="connsiteX0" fmla="*/ 0 w 12725"/>
                  <a:gd name="connsiteY0" fmla="*/ 0 h 618330"/>
                  <a:gd name="connsiteX1" fmla="*/ 0 w 12725"/>
                  <a:gd name="connsiteY1" fmla="*/ 618330 h 618330"/>
                </a:gdLst>
                <a:ahLst/>
                <a:cxnLst>
                  <a:cxn ang="0">
                    <a:pos x="connsiteX0" y="connsiteY0"/>
                  </a:cxn>
                  <a:cxn ang="0">
                    <a:pos x="connsiteX1" y="connsiteY1"/>
                  </a:cxn>
                </a:cxnLst>
                <a:rect l="l" t="t" r="r" b="b"/>
                <a:pathLst>
                  <a:path w="12725" h="618330">
                    <a:moveTo>
                      <a:pt x="0" y="0"/>
                    </a:moveTo>
                    <a:lnTo>
                      <a:pt x="0" y="61833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10" name="Freeform: Shape 209">
                <a:extLst>
                  <a:ext uri="{FF2B5EF4-FFF2-40B4-BE49-F238E27FC236}">
                    <a16:creationId xmlns:a16="http://schemas.microsoft.com/office/drawing/2014/main" id="{681A940D-32A9-E490-B22A-174BEA6FE2D6}"/>
                  </a:ext>
                </a:extLst>
              </p:cNvPr>
              <p:cNvSpPr/>
              <p:nvPr/>
            </p:nvSpPr>
            <p:spPr>
              <a:xfrm>
                <a:off x="4586787" y="2491194"/>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11" name="Freeform: Shape 210">
                <a:extLst>
                  <a:ext uri="{FF2B5EF4-FFF2-40B4-BE49-F238E27FC236}">
                    <a16:creationId xmlns:a16="http://schemas.microsoft.com/office/drawing/2014/main" id="{750C03B9-C3B7-2D82-6B18-E3949669DD5B}"/>
                  </a:ext>
                </a:extLst>
              </p:cNvPr>
              <p:cNvSpPr/>
              <p:nvPr/>
            </p:nvSpPr>
            <p:spPr>
              <a:xfrm>
                <a:off x="4586787" y="3114451"/>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80" name="Graphic 325">
              <a:extLst>
                <a:ext uri="{FF2B5EF4-FFF2-40B4-BE49-F238E27FC236}">
                  <a16:creationId xmlns:a16="http://schemas.microsoft.com/office/drawing/2014/main" id="{105E0701-751C-BAEA-96F8-3381CFDF730D}"/>
                </a:ext>
              </a:extLst>
            </p:cNvPr>
            <p:cNvGrpSpPr/>
            <p:nvPr/>
          </p:nvGrpSpPr>
          <p:grpSpPr>
            <a:xfrm>
              <a:off x="3998403" y="1967588"/>
              <a:ext cx="129545" cy="630928"/>
              <a:chOff x="4291047" y="2315784"/>
              <a:chExt cx="129545" cy="630928"/>
            </a:xfrm>
            <a:solidFill>
              <a:schemeClr val="accent2"/>
            </a:solidFill>
          </p:grpSpPr>
          <p:sp>
            <p:nvSpPr>
              <p:cNvPr id="206" name="Freeform: Shape 205">
                <a:extLst>
                  <a:ext uri="{FF2B5EF4-FFF2-40B4-BE49-F238E27FC236}">
                    <a16:creationId xmlns:a16="http://schemas.microsoft.com/office/drawing/2014/main" id="{B65FA935-E7CA-2CCD-BDB3-975795EDE3FA}"/>
                  </a:ext>
                </a:extLst>
              </p:cNvPr>
              <p:cNvSpPr/>
              <p:nvPr/>
            </p:nvSpPr>
            <p:spPr>
              <a:xfrm>
                <a:off x="4355819" y="2315784"/>
                <a:ext cx="12725" cy="618330"/>
              </a:xfrm>
              <a:custGeom>
                <a:avLst/>
                <a:gdLst>
                  <a:gd name="connsiteX0" fmla="*/ 0 w 12725"/>
                  <a:gd name="connsiteY0" fmla="*/ 0 h 618330"/>
                  <a:gd name="connsiteX1" fmla="*/ 0 w 12725"/>
                  <a:gd name="connsiteY1" fmla="*/ 618330 h 618330"/>
                </a:gdLst>
                <a:ahLst/>
                <a:cxnLst>
                  <a:cxn ang="0">
                    <a:pos x="connsiteX0" y="connsiteY0"/>
                  </a:cxn>
                  <a:cxn ang="0">
                    <a:pos x="connsiteX1" y="connsiteY1"/>
                  </a:cxn>
                </a:cxnLst>
                <a:rect l="l" t="t" r="r" b="b"/>
                <a:pathLst>
                  <a:path w="12725" h="618330">
                    <a:moveTo>
                      <a:pt x="0" y="0"/>
                    </a:moveTo>
                    <a:lnTo>
                      <a:pt x="0" y="61833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07" name="Freeform: Shape 206">
                <a:extLst>
                  <a:ext uri="{FF2B5EF4-FFF2-40B4-BE49-F238E27FC236}">
                    <a16:creationId xmlns:a16="http://schemas.microsoft.com/office/drawing/2014/main" id="{73FAFA36-2744-2879-2A04-F93053968D3B}"/>
                  </a:ext>
                </a:extLst>
              </p:cNvPr>
              <p:cNvSpPr/>
              <p:nvPr/>
            </p:nvSpPr>
            <p:spPr>
              <a:xfrm>
                <a:off x="4291047" y="2317746"/>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08" name="Freeform: Shape 207">
                <a:extLst>
                  <a:ext uri="{FF2B5EF4-FFF2-40B4-BE49-F238E27FC236}">
                    <a16:creationId xmlns:a16="http://schemas.microsoft.com/office/drawing/2014/main" id="{C2E1DA13-0E92-A549-4801-EF39B2C628D6}"/>
                  </a:ext>
                </a:extLst>
              </p:cNvPr>
              <p:cNvSpPr/>
              <p:nvPr/>
            </p:nvSpPr>
            <p:spPr>
              <a:xfrm>
                <a:off x="4291047" y="2933987"/>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81" name="Graphic 325">
              <a:extLst>
                <a:ext uri="{FF2B5EF4-FFF2-40B4-BE49-F238E27FC236}">
                  <a16:creationId xmlns:a16="http://schemas.microsoft.com/office/drawing/2014/main" id="{55AEF054-92EF-05D1-D64A-91C7F836D99E}"/>
                </a:ext>
              </a:extLst>
            </p:cNvPr>
            <p:cNvGrpSpPr/>
            <p:nvPr/>
          </p:nvGrpSpPr>
          <p:grpSpPr>
            <a:xfrm>
              <a:off x="3704317" y="1934247"/>
              <a:ext cx="129672" cy="643252"/>
              <a:chOff x="3996961" y="2282443"/>
              <a:chExt cx="129672" cy="643252"/>
            </a:xfrm>
            <a:solidFill>
              <a:schemeClr val="accent2"/>
            </a:solidFill>
          </p:grpSpPr>
          <p:sp>
            <p:nvSpPr>
              <p:cNvPr id="203" name="Freeform: Shape 202">
                <a:extLst>
                  <a:ext uri="{FF2B5EF4-FFF2-40B4-BE49-F238E27FC236}">
                    <a16:creationId xmlns:a16="http://schemas.microsoft.com/office/drawing/2014/main" id="{6599F985-E48C-4FA5-F526-00648606C90A}"/>
                  </a:ext>
                </a:extLst>
              </p:cNvPr>
              <p:cNvSpPr/>
              <p:nvPr/>
            </p:nvSpPr>
            <p:spPr>
              <a:xfrm>
                <a:off x="4061734" y="2285243"/>
                <a:ext cx="45719" cy="627984"/>
              </a:xfrm>
              <a:custGeom>
                <a:avLst/>
                <a:gdLst>
                  <a:gd name="connsiteX0" fmla="*/ 0 w 12725"/>
                  <a:gd name="connsiteY0" fmla="*/ 0 h 618330"/>
                  <a:gd name="connsiteX1" fmla="*/ 0 w 12725"/>
                  <a:gd name="connsiteY1" fmla="*/ 618330 h 618330"/>
                </a:gdLst>
                <a:ahLst/>
                <a:cxnLst>
                  <a:cxn ang="0">
                    <a:pos x="connsiteX0" y="connsiteY0"/>
                  </a:cxn>
                  <a:cxn ang="0">
                    <a:pos x="connsiteX1" y="connsiteY1"/>
                  </a:cxn>
                </a:cxnLst>
                <a:rect l="l" t="t" r="r" b="b"/>
                <a:pathLst>
                  <a:path w="12725" h="618330">
                    <a:moveTo>
                      <a:pt x="0" y="0"/>
                    </a:moveTo>
                    <a:lnTo>
                      <a:pt x="0" y="61833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04" name="Freeform: Shape 203">
                <a:extLst>
                  <a:ext uri="{FF2B5EF4-FFF2-40B4-BE49-F238E27FC236}">
                    <a16:creationId xmlns:a16="http://schemas.microsoft.com/office/drawing/2014/main" id="{19B9ECF5-87B5-219E-BD4F-4C2C2ECBB01D}"/>
                  </a:ext>
                </a:extLst>
              </p:cNvPr>
              <p:cNvSpPr/>
              <p:nvPr/>
            </p:nvSpPr>
            <p:spPr>
              <a:xfrm>
                <a:off x="3996961" y="2282443"/>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05" name="Freeform: Shape 204">
                <a:extLst>
                  <a:ext uri="{FF2B5EF4-FFF2-40B4-BE49-F238E27FC236}">
                    <a16:creationId xmlns:a16="http://schemas.microsoft.com/office/drawing/2014/main" id="{8BD1D5D8-4D3E-D3C6-8D85-3196976A0D77}"/>
                  </a:ext>
                </a:extLst>
              </p:cNvPr>
              <p:cNvSpPr/>
              <p:nvPr/>
            </p:nvSpPr>
            <p:spPr>
              <a:xfrm>
                <a:off x="3996961" y="2912970"/>
                <a:ext cx="129672" cy="12725"/>
              </a:xfrm>
              <a:custGeom>
                <a:avLst/>
                <a:gdLst>
                  <a:gd name="connsiteX0" fmla="*/ 0 w 129672"/>
                  <a:gd name="connsiteY0" fmla="*/ 0 h 12725"/>
                  <a:gd name="connsiteX1" fmla="*/ 129673 w 129672"/>
                  <a:gd name="connsiteY1" fmla="*/ 0 h 12725"/>
                </a:gdLst>
                <a:ahLst/>
                <a:cxnLst>
                  <a:cxn ang="0">
                    <a:pos x="connsiteX0" y="connsiteY0"/>
                  </a:cxn>
                  <a:cxn ang="0">
                    <a:pos x="connsiteX1" y="connsiteY1"/>
                  </a:cxn>
                </a:cxnLst>
                <a:rect l="l" t="t" r="r" b="b"/>
                <a:pathLst>
                  <a:path w="129672" h="12725">
                    <a:moveTo>
                      <a:pt x="0" y="0"/>
                    </a:moveTo>
                    <a:lnTo>
                      <a:pt x="129673"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82" name="Graphic 325">
              <a:extLst>
                <a:ext uri="{FF2B5EF4-FFF2-40B4-BE49-F238E27FC236}">
                  <a16:creationId xmlns:a16="http://schemas.microsoft.com/office/drawing/2014/main" id="{E028F549-A2A7-17F2-E208-F2D3616EA2DC}"/>
                </a:ext>
              </a:extLst>
            </p:cNvPr>
            <p:cNvGrpSpPr/>
            <p:nvPr/>
          </p:nvGrpSpPr>
          <p:grpSpPr>
            <a:xfrm>
              <a:off x="3417231" y="1886781"/>
              <a:ext cx="129545" cy="615276"/>
              <a:chOff x="3709875" y="2234977"/>
              <a:chExt cx="129545" cy="615276"/>
            </a:xfrm>
            <a:solidFill>
              <a:schemeClr val="accent2"/>
            </a:solidFill>
          </p:grpSpPr>
          <p:sp>
            <p:nvSpPr>
              <p:cNvPr id="200" name="Freeform: Shape 199">
                <a:extLst>
                  <a:ext uri="{FF2B5EF4-FFF2-40B4-BE49-F238E27FC236}">
                    <a16:creationId xmlns:a16="http://schemas.microsoft.com/office/drawing/2014/main" id="{67259AA2-AC24-6A83-1A36-8B5A71FC4A51}"/>
                  </a:ext>
                </a:extLst>
              </p:cNvPr>
              <p:cNvSpPr/>
              <p:nvPr/>
            </p:nvSpPr>
            <p:spPr>
              <a:xfrm>
                <a:off x="3774647" y="2237650"/>
                <a:ext cx="12725" cy="612476"/>
              </a:xfrm>
              <a:custGeom>
                <a:avLst/>
                <a:gdLst>
                  <a:gd name="connsiteX0" fmla="*/ 0 w 12725"/>
                  <a:gd name="connsiteY0" fmla="*/ 0 h 612476"/>
                  <a:gd name="connsiteX1" fmla="*/ 0 w 12725"/>
                  <a:gd name="connsiteY1" fmla="*/ 612477 h 612476"/>
                </a:gdLst>
                <a:ahLst/>
                <a:cxnLst>
                  <a:cxn ang="0">
                    <a:pos x="connsiteX0" y="connsiteY0"/>
                  </a:cxn>
                  <a:cxn ang="0">
                    <a:pos x="connsiteX1" y="connsiteY1"/>
                  </a:cxn>
                </a:cxnLst>
                <a:rect l="l" t="t" r="r" b="b"/>
                <a:pathLst>
                  <a:path w="12725" h="612476">
                    <a:moveTo>
                      <a:pt x="0" y="0"/>
                    </a:moveTo>
                    <a:lnTo>
                      <a:pt x="0" y="612477"/>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01" name="Freeform: Shape 200">
                <a:extLst>
                  <a:ext uri="{FF2B5EF4-FFF2-40B4-BE49-F238E27FC236}">
                    <a16:creationId xmlns:a16="http://schemas.microsoft.com/office/drawing/2014/main" id="{671ED704-B021-49EE-FCED-C50A42E98310}"/>
                  </a:ext>
                </a:extLst>
              </p:cNvPr>
              <p:cNvSpPr/>
              <p:nvPr/>
            </p:nvSpPr>
            <p:spPr>
              <a:xfrm>
                <a:off x="3709875" y="2234977"/>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202" name="Freeform: Shape 201">
                <a:extLst>
                  <a:ext uri="{FF2B5EF4-FFF2-40B4-BE49-F238E27FC236}">
                    <a16:creationId xmlns:a16="http://schemas.microsoft.com/office/drawing/2014/main" id="{64843222-EEEF-0B4E-DA30-3348D106E754}"/>
                  </a:ext>
                </a:extLst>
              </p:cNvPr>
              <p:cNvSpPr/>
              <p:nvPr/>
            </p:nvSpPr>
            <p:spPr>
              <a:xfrm>
                <a:off x="3709875" y="2850253"/>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83" name="Graphic 325">
              <a:extLst>
                <a:ext uri="{FF2B5EF4-FFF2-40B4-BE49-F238E27FC236}">
                  <a16:creationId xmlns:a16="http://schemas.microsoft.com/office/drawing/2014/main" id="{3F28BD28-074A-C080-E146-1D47AFF2D6FF}"/>
                </a:ext>
              </a:extLst>
            </p:cNvPr>
            <p:cNvGrpSpPr/>
            <p:nvPr/>
          </p:nvGrpSpPr>
          <p:grpSpPr>
            <a:xfrm>
              <a:off x="3116146" y="1923742"/>
              <a:ext cx="129545" cy="635868"/>
              <a:chOff x="3408790" y="2271938"/>
              <a:chExt cx="129545" cy="635868"/>
            </a:xfrm>
            <a:solidFill>
              <a:schemeClr val="accent2"/>
            </a:solidFill>
          </p:grpSpPr>
          <p:sp>
            <p:nvSpPr>
              <p:cNvPr id="197" name="Freeform: Shape 196">
                <a:extLst>
                  <a:ext uri="{FF2B5EF4-FFF2-40B4-BE49-F238E27FC236}">
                    <a16:creationId xmlns:a16="http://schemas.microsoft.com/office/drawing/2014/main" id="{EE926A1A-9AFE-3FD1-FAC3-25A9111A6BBD}"/>
                  </a:ext>
                </a:extLst>
              </p:cNvPr>
              <p:cNvSpPr/>
              <p:nvPr/>
            </p:nvSpPr>
            <p:spPr>
              <a:xfrm>
                <a:off x="3473563" y="2276864"/>
                <a:ext cx="45719" cy="617313"/>
              </a:xfrm>
              <a:custGeom>
                <a:avLst/>
                <a:gdLst>
                  <a:gd name="connsiteX0" fmla="*/ 0 w 12725"/>
                  <a:gd name="connsiteY0" fmla="*/ 0 h 594279"/>
                  <a:gd name="connsiteX1" fmla="*/ 0 w 12725"/>
                  <a:gd name="connsiteY1" fmla="*/ 594279 h 594279"/>
                </a:gdLst>
                <a:ahLst/>
                <a:cxnLst>
                  <a:cxn ang="0">
                    <a:pos x="connsiteX0" y="connsiteY0"/>
                  </a:cxn>
                  <a:cxn ang="0">
                    <a:pos x="connsiteX1" y="connsiteY1"/>
                  </a:cxn>
                </a:cxnLst>
                <a:rect l="l" t="t" r="r" b="b"/>
                <a:pathLst>
                  <a:path w="12725" h="594279">
                    <a:moveTo>
                      <a:pt x="0" y="0"/>
                    </a:moveTo>
                    <a:lnTo>
                      <a:pt x="0" y="594279"/>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98" name="Freeform: Shape 197">
                <a:extLst>
                  <a:ext uri="{FF2B5EF4-FFF2-40B4-BE49-F238E27FC236}">
                    <a16:creationId xmlns:a16="http://schemas.microsoft.com/office/drawing/2014/main" id="{9EADFAE0-B2AB-A12F-F531-59177859BDA3}"/>
                  </a:ext>
                </a:extLst>
              </p:cNvPr>
              <p:cNvSpPr/>
              <p:nvPr/>
            </p:nvSpPr>
            <p:spPr>
              <a:xfrm>
                <a:off x="3408790" y="2271938"/>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99" name="Freeform: Shape 198">
                <a:extLst>
                  <a:ext uri="{FF2B5EF4-FFF2-40B4-BE49-F238E27FC236}">
                    <a16:creationId xmlns:a16="http://schemas.microsoft.com/office/drawing/2014/main" id="{C990DCFB-1081-2853-AD43-A364B3102B9D}"/>
                  </a:ext>
                </a:extLst>
              </p:cNvPr>
              <p:cNvSpPr/>
              <p:nvPr/>
            </p:nvSpPr>
            <p:spPr>
              <a:xfrm>
                <a:off x="3408790" y="2895081"/>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84" name="Graphic 325">
              <a:extLst>
                <a:ext uri="{FF2B5EF4-FFF2-40B4-BE49-F238E27FC236}">
                  <a16:creationId xmlns:a16="http://schemas.microsoft.com/office/drawing/2014/main" id="{4D844522-38C9-5E06-F384-414C5F54FB6B}"/>
                </a:ext>
              </a:extLst>
            </p:cNvPr>
            <p:cNvGrpSpPr/>
            <p:nvPr/>
          </p:nvGrpSpPr>
          <p:grpSpPr>
            <a:xfrm>
              <a:off x="2828805" y="1784214"/>
              <a:ext cx="129545" cy="621002"/>
              <a:chOff x="3121449" y="2132410"/>
              <a:chExt cx="129545" cy="621002"/>
            </a:xfrm>
            <a:solidFill>
              <a:schemeClr val="accent2"/>
            </a:solidFill>
          </p:grpSpPr>
          <p:sp>
            <p:nvSpPr>
              <p:cNvPr id="194" name="Freeform: Shape 193">
                <a:extLst>
                  <a:ext uri="{FF2B5EF4-FFF2-40B4-BE49-F238E27FC236}">
                    <a16:creationId xmlns:a16="http://schemas.microsoft.com/office/drawing/2014/main" id="{2714CA4C-7FF2-27E0-E86A-BC26C638D760}"/>
                  </a:ext>
                </a:extLst>
              </p:cNvPr>
              <p:cNvSpPr/>
              <p:nvPr/>
            </p:nvSpPr>
            <p:spPr>
              <a:xfrm>
                <a:off x="3186222" y="2135082"/>
                <a:ext cx="12725" cy="618330"/>
              </a:xfrm>
              <a:custGeom>
                <a:avLst/>
                <a:gdLst>
                  <a:gd name="connsiteX0" fmla="*/ 0 w 12725"/>
                  <a:gd name="connsiteY0" fmla="*/ 0 h 618330"/>
                  <a:gd name="connsiteX1" fmla="*/ 0 w 12725"/>
                  <a:gd name="connsiteY1" fmla="*/ 618330 h 618330"/>
                </a:gdLst>
                <a:ahLst/>
                <a:cxnLst>
                  <a:cxn ang="0">
                    <a:pos x="connsiteX0" y="connsiteY0"/>
                  </a:cxn>
                  <a:cxn ang="0">
                    <a:pos x="connsiteX1" y="connsiteY1"/>
                  </a:cxn>
                </a:cxnLst>
                <a:rect l="l" t="t" r="r" b="b"/>
                <a:pathLst>
                  <a:path w="12725" h="618330">
                    <a:moveTo>
                      <a:pt x="0" y="0"/>
                    </a:moveTo>
                    <a:lnTo>
                      <a:pt x="0" y="61833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95" name="Freeform: Shape 194">
                <a:extLst>
                  <a:ext uri="{FF2B5EF4-FFF2-40B4-BE49-F238E27FC236}">
                    <a16:creationId xmlns:a16="http://schemas.microsoft.com/office/drawing/2014/main" id="{E8F5CA26-42E5-EA78-7186-2C340F78D672}"/>
                  </a:ext>
                </a:extLst>
              </p:cNvPr>
              <p:cNvSpPr/>
              <p:nvPr/>
            </p:nvSpPr>
            <p:spPr>
              <a:xfrm>
                <a:off x="3121449" y="2132410"/>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96" name="Freeform: Shape 195">
                <a:extLst>
                  <a:ext uri="{FF2B5EF4-FFF2-40B4-BE49-F238E27FC236}">
                    <a16:creationId xmlns:a16="http://schemas.microsoft.com/office/drawing/2014/main" id="{2BCF648B-9E78-71A0-C789-C9F4BC680A2E}"/>
                  </a:ext>
                </a:extLst>
              </p:cNvPr>
              <p:cNvSpPr/>
              <p:nvPr/>
            </p:nvSpPr>
            <p:spPr>
              <a:xfrm>
                <a:off x="3121449" y="2753413"/>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grpSp>
          <p:nvGrpSpPr>
            <p:cNvPr id="185" name="Graphic 325">
              <a:extLst>
                <a:ext uri="{FF2B5EF4-FFF2-40B4-BE49-F238E27FC236}">
                  <a16:creationId xmlns:a16="http://schemas.microsoft.com/office/drawing/2014/main" id="{02909BB2-CF2A-1BC0-3387-6C598D30C75C}"/>
                </a:ext>
              </a:extLst>
            </p:cNvPr>
            <p:cNvGrpSpPr/>
            <p:nvPr/>
          </p:nvGrpSpPr>
          <p:grpSpPr>
            <a:xfrm>
              <a:off x="2527594" y="1811701"/>
              <a:ext cx="129545" cy="573664"/>
              <a:chOff x="2820238" y="2159897"/>
              <a:chExt cx="129545" cy="573664"/>
            </a:xfrm>
            <a:solidFill>
              <a:schemeClr val="accent2"/>
            </a:solidFill>
          </p:grpSpPr>
          <p:sp>
            <p:nvSpPr>
              <p:cNvPr id="191" name="Freeform: Shape 190">
                <a:extLst>
                  <a:ext uri="{FF2B5EF4-FFF2-40B4-BE49-F238E27FC236}">
                    <a16:creationId xmlns:a16="http://schemas.microsoft.com/office/drawing/2014/main" id="{EDFE690A-77AA-EA61-FCA9-39D888EB070F}"/>
                  </a:ext>
                </a:extLst>
              </p:cNvPr>
              <p:cNvSpPr/>
              <p:nvPr/>
            </p:nvSpPr>
            <p:spPr>
              <a:xfrm>
                <a:off x="2885010" y="2162315"/>
                <a:ext cx="12725" cy="558393"/>
              </a:xfrm>
              <a:custGeom>
                <a:avLst/>
                <a:gdLst>
                  <a:gd name="connsiteX0" fmla="*/ 0 w 12725"/>
                  <a:gd name="connsiteY0" fmla="*/ 0 h 558393"/>
                  <a:gd name="connsiteX1" fmla="*/ 0 w 12725"/>
                  <a:gd name="connsiteY1" fmla="*/ 558393 h 558393"/>
                </a:gdLst>
                <a:ahLst/>
                <a:cxnLst>
                  <a:cxn ang="0">
                    <a:pos x="connsiteX0" y="connsiteY0"/>
                  </a:cxn>
                  <a:cxn ang="0">
                    <a:pos x="connsiteX1" y="connsiteY1"/>
                  </a:cxn>
                </a:cxnLst>
                <a:rect l="l" t="t" r="r" b="b"/>
                <a:pathLst>
                  <a:path w="12725" h="558393">
                    <a:moveTo>
                      <a:pt x="0" y="0"/>
                    </a:moveTo>
                    <a:lnTo>
                      <a:pt x="0" y="558393"/>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92" name="Freeform: Shape 191">
                <a:extLst>
                  <a:ext uri="{FF2B5EF4-FFF2-40B4-BE49-F238E27FC236}">
                    <a16:creationId xmlns:a16="http://schemas.microsoft.com/office/drawing/2014/main" id="{1D164A91-9069-BE74-08D3-53EC7C14DB16}"/>
                  </a:ext>
                </a:extLst>
              </p:cNvPr>
              <p:cNvSpPr/>
              <p:nvPr/>
            </p:nvSpPr>
            <p:spPr>
              <a:xfrm>
                <a:off x="2820238" y="2159897"/>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sp>
            <p:nvSpPr>
              <p:cNvPr id="193" name="Freeform: Shape 192">
                <a:extLst>
                  <a:ext uri="{FF2B5EF4-FFF2-40B4-BE49-F238E27FC236}">
                    <a16:creationId xmlns:a16="http://schemas.microsoft.com/office/drawing/2014/main" id="{5985162E-1241-9219-2D9A-BBD7B50728E3}"/>
                  </a:ext>
                </a:extLst>
              </p:cNvPr>
              <p:cNvSpPr/>
              <p:nvPr/>
            </p:nvSpPr>
            <p:spPr>
              <a:xfrm>
                <a:off x="2820238" y="2720836"/>
                <a:ext cx="129545" cy="12725"/>
              </a:xfrm>
              <a:custGeom>
                <a:avLst/>
                <a:gdLst>
                  <a:gd name="connsiteX0" fmla="*/ 0 w 129545"/>
                  <a:gd name="connsiteY0" fmla="*/ 0 h 12725"/>
                  <a:gd name="connsiteX1" fmla="*/ 129545 w 129545"/>
                  <a:gd name="connsiteY1" fmla="*/ 0 h 12725"/>
                </a:gdLst>
                <a:ahLst/>
                <a:cxnLst>
                  <a:cxn ang="0">
                    <a:pos x="connsiteX0" y="connsiteY0"/>
                  </a:cxn>
                  <a:cxn ang="0">
                    <a:pos x="connsiteX1" y="connsiteY1"/>
                  </a:cxn>
                </a:cxnLst>
                <a:rect l="l" t="t" r="r" b="b"/>
                <a:pathLst>
                  <a:path w="129545" h="12725">
                    <a:moveTo>
                      <a:pt x="0" y="0"/>
                    </a:moveTo>
                    <a:lnTo>
                      <a:pt x="129545" y="0"/>
                    </a:lnTo>
                  </a:path>
                </a:pathLst>
              </a:custGeom>
              <a:grpFill/>
              <a:ln w="1272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F4444"/>
                  </a:solidFill>
                  <a:effectLst/>
                  <a:uLnTx/>
                  <a:uFillTx/>
                  <a:latin typeface="Arial" panose="020B0604020202020204"/>
                  <a:ea typeface="+mn-ea"/>
                  <a:cs typeface="+mn-cs"/>
                </a:endParaRPr>
              </a:p>
            </p:txBody>
          </p:sp>
        </p:grpSp>
        <p:sp>
          <p:nvSpPr>
            <p:cNvPr id="186" name="TextBox 185">
              <a:extLst>
                <a:ext uri="{FF2B5EF4-FFF2-40B4-BE49-F238E27FC236}">
                  <a16:creationId xmlns:a16="http://schemas.microsoft.com/office/drawing/2014/main" id="{63AF858D-4AB6-DADC-FF41-8CB55CDE2C54}"/>
                </a:ext>
              </a:extLst>
            </p:cNvPr>
            <p:cNvSpPr txBox="1"/>
            <p:nvPr/>
          </p:nvSpPr>
          <p:spPr>
            <a:xfrm>
              <a:off x="6878825" y="1489066"/>
              <a:ext cx="3876115" cy="63677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1600" b="1" i="0" u="none" strike="noStrike" kern="0" cap="none" spc="0" normalizeH="0" baseline="0" noProof="0" dirty="0">
                  <a:ln>
                    <a:noFill/>
                  </a:ln>
                  <a:solidFill>
                    <a:srgbClr val="830051"/>
                  </a:solidFill>
                  <a:effectLst/>
                  <a:uLnTx/>
                  <a:uFillTx/>
                  <a:latin typeface="Calibri"/>
                  <a:ea typeface="+mn-ea"/>
                  <a:cs typeface="+mn-cs"/>
                </a:rPr>
                <a:t>Олапариб + абиратерон (n = 39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1600" b="1" i="0" u="none" strike="noStrike" kern="0" cap="none" spc="0" normalizeH="0" baseline="0" noProof="0" dirty="0">
                  <a:ln>
                    <a:noFill/>
                  </a:ln>
                  <a:solidFill>
                    <a:srgbClr val="F0AB00"/>
                  </a:solidFill>
                  <a:effectLst/>
                  <a:uLnTx/>
                  <a:uFillTx/>
                  <a:latin typeface="Calibri"/>
                  <a:ea typeface="+mn-ea"/>
                  <a:cs typeface="+mn-cs"/>
                </a:rPr>
                <a:t>Плацебо + абиратерон (n = 397)</a:t>
              </a:r>
              <a:endParaRPr kumimoji="0" lang="en-GB" sz="1600" b="1" i="0" u="none" strike="noStrike" kern="0" cap="none" spc="0" normalizeH="0" baseline="0" noProof="0" dirty="0">
                <a:ln>
                  <a:noFill/>
                </a:ln>
                <a:solidFill>
                  <a:srgbClr val="F0AB00"/>
                </a:solidFill>
                <a:effectLst/>
                <a:uLnTx/>
                <a:uFillTx/>
                <a:latin typeface="Calibri"/>
                <a:ea typeface="+mn-ea"/>
                <a:cs typeface="+mn-cs"/>
              </a:endParaRPr>
            </a:p>
          </p:txBody>
        </p:sp>
        <p:sp>
          <p:nvSpPr>
            <p:cNvPr id="187" name="Freeform: Shape 186">
              <a:extLst>
                <a:ext uri="{FF2B5EF4-FFF2-40B4-BE49-F238E27FC236}">
                  <a16:creationId xmlns:a16="http://schemas.microsoft.com/office/drawing/2014/main" id="{E4192540-A7B0-5D77-3BAF-5E6EE54BABFA}"/>
                </a:ext>
              </a:extLst>
            </p:cNvPr>
            <p:cNvSpPr/>
            <p:nvPr/>
          </p:nvSpPr>
          <p:spPr>
            <a:xfrm>
              <a:off x="6699255" y="1715275"/>
              <a:ext cx="184488" cy="0"/>
            </a:xfrm>
            <a:custGeom>
              <a:avLst/>
              <a:gdLst>
                <a:gd name="connsiteX0" fmla="*/ 228600 w 228600"/>
                <a:gd name="connsiteY0" fmla="*/ 0 h 0"/>
                <a:gd name="connsiteX1" fmla="*/ 0 w 228600"/>
                <a:gd name="connsiteY1" fmla="*/ 0 h 0"/>
              </a:gdLst>
              <a:ahLst/>
              <a:cxnLst>
                <a:cxn ang="0">
                  <a:pos x="connsiteX0" y="connsiteY0"/>
                </a:cxn>
                <a:cxn ang="0">
                  <a:pos x="connsiteX1" y="connsiteY1"/>
                </a:cxn>
              </a:cxnLst>
              <a:rect l="l" t="t" r="r" b="b"/>
              <a:pathLst>
                <a:path w="228600">
                  <a:moveTo>
                    <a:pt x="228600" y="0"/>
                  </a:moveTo>
                  <a:lnTo>
                    <a:pt x="0" y="0"/>
                  </a:lnTo>
                </a:path>
              </a:pathLst>
            </a:custGeom>
            <a:solidFill>
              <a:srgbClr val="830051"/>
            </a:solidFill>
            <a:ln w="12700" cap="flat" cmpd="sng" algn="ctr">
              <a:solidFill>
                <a:srgbClr val="83005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88" name="Freeform: Shape 187">
              <a:extLst>
                <a:ext uri="{FF2B5EF4-FFF2-40B4-BE49-F238E27FC236}">
                  <a16:creationId xmlns:a16="http://schemas.microsoft.com/office/drawing/2014/main" id="{6B3829E0-4F19-F4A0-04BE-D2356C1B964D}"/>
                </a:ext>
              </a:extLst>
            </p:cNvPr>
            <p:cNvSpPr/>
            <p:nvPr/>
          </p:nvSpPr>
          <p:spPr>
            <a:xfrm>
              <a:off x="6699254" y="1895553"/>
              <a:ext cx="184488" cy="0"/>
            </a:xfrm>
            <a:custGeom>
              <a:avLst/>
              <a:gdLst>
                <a:gd name="connsiteX0" fmla="*/ 228600 w 228600"/>
                <a:gd name="connsiteY0" fmla="*/ 0 h 0"/>
                <a:gd name="connsiteX1" fmla="*/ 0 w 228600"/>
                <a:gd name="connsiteY1" fmla="*/ 0 h 0"/>
              </a:gdLst>
              <a:ahLst/>
              <a:cxnLst>
                <a:cxn ang="0">
                  <a:pos x="connsiteX0" y="connsiteY0"/>
                </a:cxn>
                <a:cxn ang="0">
                  <a:pos x="connsiteX1" y="connsiteY1"/>
                </a:cxn>
              </a:cxnLst>
              <a:rect l="l" t="t" r="r" b="b"/>
              <a:pathLst>
                <a:path w="228600">
                  <a:moveTo>
                    <a:pt x="228600" y="0"/>
                  </a:moveTo>
                  <a:lnTo>
                    <a:pt x="0" y="0"/>
                  </a:lnTo>
                </a:path>
              </a:pathLst>
            </a:custGeom>
            <a:solidFill>
              <a:srgbClr val="F0AB00"/>
            </a:solidFill>
            <a:ln w="12700" cap="flat" cmpd="sng" algn="ctr">
              <a:solidFill>
                <a:srgbClr val="F0AB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89" name="Oval 188">
              <a:extLst>
                <a:ext uri="{FF2B5EF4-FFF2-40B4-BE49-F238E27FC236}">
                  <a16:creationId xmlns:a16="http://schemas.microsoft.com/office/drawing/2014/main" id="{861F362B-A62B-E13C-D675-B1E19181C3AD}"/>
                </a:ext>
              </a:extLst>
            </p:cNvPr>
            <p:cNvSpPr/>
            <p:nvPr/>
          </p:nvSpPr>
          <p:spPr>
            <a:xfrm>
              <a:off x="6579147" y="1893583"/>
              <a:ext cx="71177" cy="69891"/>
            </a:xfrm>
            <a:prstGeom prst="ellipse">
              <a:avLst/>
            </a:prstGeom>
            <a:solidFill>
              <a:srgbClr val="F0AB00"/>
            </a:solidFill>
            <a:ln w="12700" cap="flat" cmpd="sng" algn="ctr">
              <a:solidFill>
                <a:srgbClr val="F0AB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a:ea typeface="+mn-ea"/>
                <a:cs typeface="+mn-cs"/>
              </a:endParaRPr>
            </a:p>
          </p:txBody>
        </p:sp>
        <p:sp>
          <p:nvSpPr>
            <p:cNvPr id="190" name="Isosceles Triangle 189">
              <a:extLst>
                <a:ext uri="{FF2B5EF4-FFF2-40B4-BE49-F238E27FC236}">
                  <a16:creationId xmlns:a16="http://schemas.microsoft.com/office/drawing/2014/main" id="{A4C94365-2D63-72DA-A383-CD9E6417CB1C}"/>
                </a:ext>
              </a:extLst>
            </p:cNvPr>
            <p:cNvSpPr/>
            <p:nvPr/>
          </p:nvSpPr>
          <p:spPr>
            <a:xfrm>
              <a:off x="6570049" y="1702203"/>
              <a:ext cx="80633" cy="69897"/>
            </a:xfrm>
            <a:prstGeom prst="triangle">
              <a:avLst/>
            </a:prstGeom>
            <a:solidFill>
              <a:srgbClr val="830051"/>
            </a:solidFill>
            <a:ln w="12700" cap="flat" cmpd="sng" algn="ctr">
              <a:solidFill>
                <a:srgbClr val="83005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Calibri"/>
                <a:ea typeface="+mn-ea"/>
                <a:cs typeface="+mn-cs"/>
              </a:endParaRPr>
            </a:p>
          </p:txBody>
        </p:sp>
      </p:grpSp>
    </p:spTree>
    <p:extLst>
      <p:ext uri="{BB962C8B-B14F-4D97-AF65-F5344CB8AC3E}">
        <p14:creationId xmlns:p14="http://schemas.microsoft.com/office/powerpoint/2010/main" val="15076322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99A3C04-6B6A-1C48-8C9D-395ABD787350}"/>
              </a:ext>
            </a:extLst>
          </p:cNvPr>
          <p:cNvSpPr>
            <a:spLocks noGrp="1"/>
          </p:cNvSpPr>
          <p:nvPr>
            <p:ph type="title"/>
          </p:nvPr>
        </p:nvSpPr>
        <p:spPr>
          <a:solidFill>
            <a:schemeClr val="tx2"/>
          </a:solidFill>
        </p:spPr>
        <p:txBody>
          <a:bodyPr bIns="2124000" rtlCol="0">
            <a:noAutofit/>
          </a:bodyPr>
          <a:lstStyle/>
          <a:p>
            <a:pPr rtl="0"/>
            <a:r>
              <a:rPr lang="ru" sz="4400"/>
              <a:t>Нежелательные явления в исследовании </a:t>
            </a:r>
            <a:br>
              <a:rPr lang="en-GB" sz="4400" dirty="0"/>
            </a:br>
            <a:r>
              <a:rPr lang="ru" sz="4400"/>
              <a:t>PROpel</a:t>
            </a:r>
            <a:br>
              <a:rPr lang="en-GB" sz="4400" dirty="0"/>
            </a:br>
            <a:endParaRPr lang="en-US" sz="4400" dirty="0"/>
          </a:p>
        </p:txBody>
      </p:sp>
    </p:spTree>
    <p:extLst>
      <p:ext uri="{BB962C8B-B14F-4D97-AF65-F5344CB8AC3E}">
        <p14:creationId xmlns:p14="http://schemas.microsoft.com/office/powerpoint/2010/main" val="3371215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7A57DA1-917D-4473-B9A8-41D4EF81F64A}"/>
              </a:ext>
            </a:extLst>
          </p:cNvPr>
          <p:cNvSpPr>
            <a:spLocks noGrp="1"/>
          </p:cNvSpPr>
          <p:nvPr>
            <p:ph type="title"/>
          </p:nvPr>
        </p:nvSpPr>
        <p:spPr>
          <a:xfrm>
            <a:off x="407988" y="183566"/>
            <a:ext cx="11436682" cy="864655"/>
          </a:xfrm>
        </p:spPr>
        <p:txBody>
          <a:bodyPr rtlCol="0">
            <a:noAutofit/>
          </a:bodyPr>
          <a:lstStyle/>
          <a:p>
            <a:pPr rtl="0"/>
            <a:r>
              <a:rPr lang="ru-RU" sz="2000" b="1" i="1" dirty="0">
                <a:latin typeface="+mn-lt"/>
                <a:ea typeface="+mn-ea"/>
                <a:cs typeface="+mn-cs"/>
              </a:rPr>
              <a:t>На момент третьего анализа данных исследования </a:t>
            </a:r>
            <a:r>
              <a:rPr lang="ru-RU" sz="2000" b="1" i="1" dirty="0" err="1">
                <a:latin typeface="+mn-lt"/>
                <a:ea typeface="+mn-ea"/>
                <a:cs typeface="+mn-cs"/>
              </a:rPr>
              <a:t>PROpel</a:t>
            </a:r>
            <a:r>
              <a:rPr lang="ru-RU" sz="2000" b="1" i="1" dirty="0">
                <a:latin typeface="+mn-lt"/>
                <a:ea typeface="+mn-ea"/>
                <a:cs typeface="+mn-cs"/>
              </a:rPr>
              <a:t> комбинация олапариба и </a:t>
            </a:r>
            <a:r>
              <a:rPr lang="ru-RU" sz="2000" b="1" i="1" dirty="0" err="1">
                <a:latin typeface="+mn-lt"/>
                <a:ea typeface="+mn-ea"/>
                <a:cs typeface="+mn-cs"/>
              </a:rPr>
              <a:t>абиратерона</a:t>
            </a:r>
            <a:r>
              <a:rPr lang="ru-RU" sz="2000" b="1" i="1" dirty="0">
                <a:latin typeface="+mn-lt"/>
                <a:ea typeface="+mn-ea"/>
                <a:cs typeface="+mn-cs"/>
              </a:rPr>
              <a:t> продолжает демонстрировать контролируемый и предсказуемый профиль безопасности, позволяющий большинству пациентов получать наибольшую пользу, продолжая терапию до прогрессирования заболевания</a:t>
            </a:r>
            <a:r>
              <a:rPr lang="ru-RU" sz="1800" baseline="30000" dirty="0"/>
              <a:t>1</a:t>
            </a:r>
          </a:p>
        </p:txBody>
      </p:sp>
      <p:sp>
        <p:nvSpPr>
          <p:cNvPr id="10" name="Text Placeholder 9">
            <a:extLst>
              <a:ext uri="{FF2B5EF4-FFF2-40B4-BE49-F238E27FC236}">
                <a16:creationId xmlns:a16="http://schemas.microsoft.com/office/drawing/2014/main" id="{781DDE5F-C3B0-4904-B3A3-05A17D1514FF}"/>
              </a:ext>
            </a:extLst>
          </p:cNvPr>
          <p:cNvSpPr>
            <a:spLocks noGrp="1"/>
          </p:cNvSpPr>
          <p:nvPr>
            <p:ph type="body" sz="quarter" idx="111"/>
          </p:nvPr>
        </p:nvSpPr>
        <p:spPr>
          <a:xfrm>
            <a:off x="407988" y="5862085"/>
            <a:ext cx="10490384" cy="995916"/>
          </a:xfrm>
        </p:spPr>
        <p:txBody>
          <a:bodyPr rtlCol="0"/>
          <a:lstStyle/>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r>
              <a:rPr lang="ru-RU" sz="900" b="1" dirty="0">
                <a:latin typeface="Calibri body"/>
              </a:rPr>
              <a:t>Два случая МДС/ОМЛ выявлено в группе комбинации олапариба и </a:t>
            </a:r>
            <a:r>
              <a:rPr lang="ru-RU" sz="900" b="1" dirty="0" err="1">
                <a:latin typeface="Calibri body"/>
              </a:rPr>
              <a:t>абиратерона</a:t>
            </a:r>
            <a:r>
              <a:rPr lang="ru-RU" sz="900" b="1" dirty="0">
                <a:latin typeface="Calibri body"/>
              </a:rPr>
              <a:t> на момент третьего среза данных</a:t>
            </a:r>
          </a:p>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r>
              <a:rPr lang="ru-RU" sz="900" b="1" dirty="0">
                <a:latin typeface="Calibri body"/>
              </a:rPr>
              <a:t>Частота случаев возникновения новых первичных злокачественных новообразований и </a:t>
            </a:r>
            <a:r>
              <a:rPr lang="ru-RU" sz="900" b="1" dirty="0" err="1">
                <a:latin typeface="Calibri body"/>
              </a:rPr>
              <a:t>пневмонита</a:t>
            </a:r>
            <a:r>
              <a:rPr lang="ru-RU" sz="900" b="1" dirty="0">
                <a:latin typeface="Calibri body"/>
              </a:rPr>
              <a:t> была сходной в группах лечения</a:t>
            </a:r>
          </a:p>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r>
              <a:rPr lang="ru-RU" sz="900" b="1" i="0" u="none" strike="noStrike" kern="1200" cap="none" spc="0" normalizeH="0" noProof="0" dirty="0">
                <a:ln>
                  <a:noFill/>
                </a:ln>
                <a:solidFill>
                  <a:schemeClr val="tx1"/>
                </a:solidFill>
                <a:effectLst/>
                <a:uLnTx/>
                <a:uFillTx/>
                <a:latin typeface="Calibri body"/>
              </a:rPr>
              <a:t>Частота тромбоэмболии легочной артерии и сердечно-сосудистых событий была сходной во всех анализах данных</a:t>
            </a:r>
          </a:p>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endParaRPr lang="ru-RU" sz="700" b="1" i="0" u="none" strike="noStrike" kern="1200" cap="none" spc="0" normalizeH="0" noProof="0" dirty="0">
              <a:ln>
                <a:noFill/>
              </a:ln>
              <a:solidFill>
                <a:schemeClr val="tx1"/>
              </a:solidFill>
              <a:effectLst/>
              <a:uLnTx/>
              <a:uFillTx/>
              <a:latin typeface="Calibri body"/>
            </a:endParaRPr>
          </a:p>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r>
              <a:rPr lang="ru-RU" sz="700" b="0" i="0" u="none" strike="noStrike" kern="1200" cap="none" spc="0" normalizeH="0" noProof="0" dirty="0">
                <a:ln>
                  <a:noFill/>
                </a:ln>
                <a:solidFill>
                  <a:schemeClr val="tx1"/>
                </a:solidFill>
                <a:effectLst/>
                <a:uLnTx/>
                <a:uFillTx/>
                <a:latin typeface="Calibri body"/>
              </a:rPr>
              <a:t>Первичный срез данных: 30 июля 2021 года</a:t>
            </a:r>
            <a:r>
              <a:rPr lang="ru-RU" sz="700" dirty="0">
                <a:solidFill>
                  <a:schemeClr val="tx1"/>
                </a:solidFill>
                <a:latin typeface="Calibri body"/>
              </a:rPr>
              <a:t>; Второй срез данных: 14 марта 2022 г.; Третий срез данных: 12 октября 2022 г. </a:t>
            </a:r>
            <a:r>
              <a:rPr lang="ru-RU" sz="700" dirty="0">
                <a:latin typeface="Calibri body"/>
              </a:rPr>
              <a:t>НЯ — нежелательное явление; ОМЛ — острый </a:t>
            </a:r>
            <a:r>
              <a:rPr lang="ru-RU" sz="700" dirty="0" err="1">
                <a:latin typeface="Calibri body"/>
              </a:rPr>
              <a:t>миелолейкоз</a:t>
            </a:r>
            <a:r>
              <a:rPr lang="ru-RU" sz="700" dirty="0">
                <a:latin typeface="Calibri body"/>
              </a:rPr>
              <a:t>; СТСАЕ — общие терминологические критерии оценки тяжести нежелательных явлений (</a:t>
            </a:r>
            <a:r>
              <a:rPr lang="ru-RU" sz="700" dirty="0" err="1">
                <a:latin typeface="Calibri body"/>
              </a:rPr>
              <a:t>Common</a:t>
            </a:r>
            <a:r>
              <a:rPr lang="ru-RU" sz="700" dirty="0">
                <a:latin typeface="Calibri body"/>
              </a:rPr>
              <a:t> </a:t>
            </a:r>
            <a:r>
              <a:rPr lang="ru-RU" sz="700" dirty="0" err="1">
                <a:latin typeface="Calibri body"/>
              </a:rPr>
              <a:t>Terminology</a:t>
            </a:r>
            <a:r>
              <a:rPr lang="ru-RU" sz="700" dirty="0">
                <a:latin typeface="Calibri body"/>
              </a:rPr>
              <a:t> </a:t>
            </a:r>
            <a:r>
              <a:rPr lang="ru-RU" sz="700" dirty="0" err="1">
                <a:latin typeface="Calibri body"/>
              </a:rPr>
              <a:t>Criteria</a:t>
            </a:r>
            <a:r>
              <a:rPr lang="ru-RU" sz="700" dirty="0">
                <a:latin typeface="Calibri body"/>
              </a:rPr>
              <a:t> for </a:t>
            </a:r>
            <a:r>
              <a:rPr lang="ru-RU" sz="700" dirty="0" err="1">
                <a:latin typeface="Calibri body"/>
              </a:rPr>
              <a:t>Adverse</a:t>
            </a:r>
            <a:r>
              <a:rPr lang="ru-RU" sz="700" dirty="0">
                <a:latin typeface="Calibri body"/>
              </a:rPr>
              <a:t> Events); МДС — </a:t>
            </a:r>
            <a:r>
              <a:rPr lang="ru-RU" sz="700" dirty="0" err="1">
                <a:latin typeface="Calibri body"/>
              </a:rPr>
              <a:t>миелодиспластический</a:t>
            </a:r>
            <a:r>
              <a:rPr lang="ru-RU" sz="700" dirty="0">
                <a:latin typeface="Calibri body"/>
              </a:rPr>
              <a:t> синдром.  </a:t>
            </a:r>
          </a:p>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r>
              <a:rPr lang="ru-RU" sz="700" kern="0" dirty="0">
                <a:latin typeface="Calibri body"/>
                <a:cs typeface="Arial" panose="020B0604020202020204" pitchFamily="34" charset="0"/>
              </a:rPr>
              <a:t>1.</a:t>
            </a:r>
            <a:r>
              <a:rPr lang="ru-RU" sz="700" b="0" i="0" u="none" strike="noStrike" kern="0" cap="none" spc="0" noProof="0" dirty="0">
                <a:ln>
                  <a:noFill/>
                </a:ln>
                <a:effectLst/>
                <a:uLnTx/>
                <a:uFillTx/>
                <a:latin typeface="Calibri body"/>
                <a:cs typeface="Calibri" panose="020F0502020204030204" pitchFamily="34" charset="0"/>
              </a:rPr>
              <a:t> Saad F, et al. Представлено на ежегодном конгрессе ESMO 2022. 9–13 сентября. Париж, Франция. </a:t>
            </a:r>
            <a:r>
              <a:rPr lang="ru-RU" sz="700" b="0" i="0" u="none" strike="noStrike" kern="0" cap="none" spc="0" noProof="0" dirty="0" err="1">
                <a:ln>
                  <a:noFill/>
                </a:ln>
                <a:effectLst/>
                <a:uLnTx/>
                <a:uFillTx/>
                <a:latin typeface="Calibri body"/>
                <a:cs typeface="Calibri" panose="020F0502020204030204" pitchFamily="34" charset="0"/>
              </a:rPr>
              <a:t>Abstract</a:t>
            </a:r>
            <a:r>
              <a:rPr lang="ru-RU" sz="700" b="0" i="0" u="none" strike="noStrike" kern="0" cap="none" spc="0" noProof="0" dirty="0">
                <a:ln>
                  <a:noFill/>
                </a:ln>
                <a:effectLst/>
                <a:uLnTx/>
                <a:uFillTx/>
                <a:latin typeface="Calibri body"/>
                <a:cs typeface="Calibri" panose="020F0502020204030204" pitchFamily="34" charset="0"/>
              </a:rPr>
              <a:t> #13570; </a:t>
            </a:r>
            <a:r>
              <a:rPr lang="en-US" sz="700" b="0" i="0" u="none" strike="noStrike" kern="0" cap="none" spc="0" noProof="0" dirty="0">
                <a:ln>
                  <a:noFill/>
                </a:ln>
                <a:effectLst/>
                <a:uLnTx/>
                <a:uFillTx/>
                <a:latin typeface="Calibri body"/>
                <a:cs typeface="Calibri" panose="020F0502020204030204" pitchFamily="34" charset="0"/>
              </a:rPr>
              <a:t>2. Clarke N, et al. Presented at ASCO GU 2023. 16–18 February. San Francisco, US. Abstract #LBA16.</a:t>
            </a:r>
            <a:endParaRPr lang="en-GB" sz="700" dirty="0">
              <a:latin typeface="Calibri body"/>
            </a:endParaRPr>
          </a:p>
        </p:txBody>
      </p:sp>
      <p:graphicFrame>
        <p:nvGraphicFramePr>
          <p:cNvPr id="7" name="Table 10">
            <a:extLst>
              <a:ext uri="{FF2B5EF4-FFF2-40B4-BE49-F238E27FC236}">
                <a16:creationId xmlns:a16="http://schemas.microsoft.com/office/drawing/2014/main" id="{45315C8E-9691-CE62-BABA-40D26520985B}"/>
              </a:ext>
            </a:extLst>
          </p:cNvPr>
          <p:cNvGraphicFramePr>
            <a:graphicFrameLocks noGrp="1"/>
          </p:cNvGraphicFramePr>
          <p:nvPr>
            <p:extLst>
              <p:ext uri="{D42A27DB-BD31-4B8C-83A1-F6EECF244321}">
                <p14:modId xmlns:p14="http://schemas.microsoft.com/office/powerpoint/2010/main" val="3385948808"/>
              </p:ext>
            </p:extLst>
          </p:nvPr>
        </p:nvGraphicFramePr>
        <p:xfrm>
          <a:off x="407988" y="1424757"/>
          <a:ext cx="10075707" cy="4416686"/>
        </p:xfrm>
        <a:graphic>
          <a:graphicData uri="http://schemas.openxmlformats.org/drawingml/2006/table">
            <a:tbl>
              <a:tblPr firstRow="1" bandRow="1">
                <a:tableStyleId>{616DA210-FB5B-4158-B5E0-FEB733F419BA}</a:tableStyleId>
              </a:tblPr>
              <a:tblGrid>
                <a:gridCol w="2616705">
                  <a:extLst>
                    <a:ext uri="{9D8B030D-6E8A-4147-A177-3AD203B41FA5}">
                      <a16:colId xmlns:a16="http://schemas.microsoft.com/office/drawing/2014/main" val="256280186"/>
                    </a:ext>
                  </a:extLst>
                </a:gridCol>
                <a:gridCol w="1243167">
                  <a:extLst>
                    <a:ext uri="{9D8B030D-6E8A-4147-A177-3AD203B41FA5}">
                      <a16:colId xmlns:a16="http://schemas.microsoft.com/office/drawing/2014/main" val="2660757379"/>
                    </a:ext>
                  </a:extLst>
                </a:gridCol>
                <a:gridCol w="1243167">
                  <a:extLst>
                    <a:ext uri="{9D8B030D-6E8A-4147-A177-3AD203B41FA5}">
                      <a16:colId xmlns:a16="http://schemas.microsoft.com/office/drawing/2014/main" val="1017513971"/>
                    </a:ext>
                  </a:extLst>
                </a:gridCol>
                <a:gridCol w="1243167">
                  <a:extLst>
                    <a:ext uri="{9D8B030D-6E8A-4147-A177-3AD203B41FA5}">
                      <a16:colId xmlns:a16="http://schemas.microsoft.com/office/drawing/2014/main" val="2611819421"/>
                    </a:ext>
                  </a:extLst>
                </a:gridCol>
                <a:gridCol w="1243167">
                  <a:extLst>
                    <a:ext uri="{9D8B030D-6E8A-4147-A177-3AD203B41FA5}">
                      <a16:colId xmlns:a16="http://schemas.microsoft.com/office/drawing/2014/main" val="351983716"/>
                    </a:ext>
                  </a:extLst>
                </a:gridCol>
                <a:gridCol w="1243167">
                  <a:extLst>
                    <a:ext uri="{9D8B030D-6E8A-4147-A177-3AD203B41FA5}">
                      <a16:colId xmlns:a16="http://schemas.microsoft.com/office/drawing/2014/main" val="27240112"/>
                    </a:ext>
                  </a:extLst>
                </a:gridCol>
                <a:gridCol w="1243167">
                  <a:extLst>
                    <a:ext uri="{9D8B030D-6E8A-4147-A177-3AD203B41FA5}">
                      <a16:colId xmlns:a16="http://schemas.microsoft.com/office/drawing/2014/main" val="3546097202"/>
                    </a:ext>
                  </a:extLst>
                </a:gridCol>
              </a:tblGrid>
              <a:tr h="440746">
                <a:tc>
                  <a:txBody>
                    <a:bodyPr/>
                    <a:lstStyle/>
                    <a:p>
                      <a:pPr rtl="0"/>
                      <a:endParaRPr lang="en-GB" sz="1200" dirty="0">
                        <a:solidFill>
                          <a:schemeClr val="bg1"/>
                        </a:solidFill>
                        <a:latin typeface="Arial "/>
                      </a:endParaRPr>
                    </a:p>
                  </a:txBody>
                  <a:tcPr anchor="b"/>
                </a:tc>
                <a:tc gridSpan="3">
                  <a:txBody>
                    <a:bodyPr/>
                    <a:lstStyle/>
                    <a:p>
                      <a:pPr algn="ctr" rtl="0"/>
                      <a:r>
                        <a:rPr lang="ru-RU" sz="1200" b="1" dirty="0">
                          <a:solidFill>
                            <a:schemeClr val="tx1"/>
                          </a:solidFill>
                        </a:rPr>
                        <a:t>Олапариб + абиратерон (n = 398)</a:t>
                      </a:r>
                      <a:endParaRPr lang="ru-RU" sz="1200" b="1" dirty="0">
                        <a:solidFill>
                          <a:schemeClr val="tx1"/>
                        </a:solidFill>
                        <a:latin typeface="Arial "/>
                      </a:endParaRPr>
                    </a:p>
                  </a:txBody>
                  <a:tcPr marT="0" anchor="ctr">
                    <a:solidFill>
                      <a:schemeClr val="accent3"/>
                    </a:solidFill>
                  </a:tcPr>
                </a:tc>
                <a:tc hMerge="1">
                  <a:txBody>
                    <a:bodyPr/>
                    <a:lstStyle/>
                    <a:p>
                      <a:pPr algn="ctr" rtl="0"/>
                      <a:endParaRPr lang="en-GB" sz="1400">
                        <a:solidFill>
                          <a:schemeClr val="tx1"/>
                        </a:solidFill>
                        <a:latin typeface="+mn-lt"/>
                      </a:endParaRPr>
                    </a:p>
                  </a:txBody>
                  <a:tcPr marT="0" anchor="ctr">
                    <a:lnL w="12700" cap="flat" cmpd="sng" algn="ctr">
                      <a:solidFill>
                        <a:srgbClr val="203864"/>
                      </a:solid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solidFill>
                        <a:srgbClr val="203864"/>
                      </a:solidFill>
                      <a:prstDash val="solid"/>
                      <a:round/>
                      <a:headEnd type="none" w="med" len="med"/>
                      <a:tailEnd type="none" w="med" len="med"/>
                    </a:lnT>
                    <a:lnB w="12700" cap="flat" cmpd="sng" algn="ctr">
                      <a:solidFill>
                        <a:srgbClr val="203864"/>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hMerge="1">
                  <a:txBody>
                    <a:bodyPr/>
                    <a:lstStyle/>
                    <a:p>
                      <a:pPr algn="ctr" rtl="0"/>
                      <a:endParaRPr lang="ru-RU" sz="1200" b="1" dirty="0">
                        <a:solidFill>
                          <a:schemeClr val="tx1"/>
                        </a:solidFill>
                        <a:latin typeface="Arial "/>
                      </a:endParaRPr>
                    </a:p>
                  </a:txBody>
                  <a:tcPr marT="0" anchor="ctr">
                    <a:solidFill>
                      <a:schemeClr val="accent3"/>
                    </a:solidFill>
                  </a:tcPr>
                </a:tc>
                <a:tc gridSpan="3">
                  <a:txBody>
                    <a:bodyPr/>
                    <a:lstStyle/>
                    <a:p>
                      <a:pPr algn="ctr" rtl="0"/>
                      <a:r>
                        <a:rPr lang="ru-RU" sz="1200" b="1" dirty="0">
                          <a:solidFill>
                            <a:schemeClr val="bg1"/>
                          </a:solidFill>
                        </a:rPr>
                        <a:t>Плацебо + абиратерон (n = 396)</a:t>
                      </a:r>
                      <a:endParaRPr lang="ru-RU" sz="1200" b="1" dirty="0">
                        <a:solidFill>
                          <a:schemeClr val="bg1"/>
                        </a:solidFill>
                        <a:latin typeface="Arial "/>
                      </a:endParaRPr>
                    </a:p>
                  </a:txBody>
                  <a:tcPr marT="0" anchor="ctr">
                    <a:solidFill>
                      <a:schemeClr val="tx1"/>
                    </a:solidFill>
                  </a:tcPr>
                </a:tc>
                <a:tc hMerge="1">
                  <a:txBody>
                    <a:bodyPr/>
                    <a:lstStyle/>
                    <a:p>
                      <a:pPr algn="ctr" rtl="0"/>
                      <a:endParaRPr lang="en-GB" sz="1400">
                        <a:solidFill>
                          <a:schemeClr val="bg1"/>
                        </a:solidFill>
                        <a:latin typeface="+mn-lt"/>
                      </a:endParaRPr>
                    </a:p>
                  </a:txBody>
                  <a:tcPr marT="0" anchor="ctr">
                    <a:lnL w="12700" cap="flat" cmpd="sng" algn="ctr">
                      <a:solidFill>
                        <a:srgbClr val="203864"/>
                      </a:solidFill>
                      <a:prstDash val="solid"/>
                      <a:round/>
                      <a:headEnd type="none" w="med" len="med"/>
                      <a:tailEnd type="none" w="med" len="med"/>
                    </a:lnL>
                    <a:lnR w="12700" cap="flat" cmpd="sng" algn="ctr">
                      <a:solidFill>
                        <a:srgbClr val="203864"/>
                      </a:solidFill>
                      <a:prstDash val="solid"/>
                      <a:round/>
                      <a:headEnd type="none" w="med" len="med"/>
                      <a:tailEnd type="none" w="med" len="med"/>
                    </a:lnR>
                    <a:lnT w="12700" cap="flat" cmpd="sng" algn="ctr">
                      <a:solidFill>
                        <a:srgbClr val="203864"/>
                      </a:solidFill>
                      <a:prstDash val="solid"/>
                      <a:round/>
                      <a:headEnd type="none" w="med" len="med"/>
                      <a:tailEnd type="none" w="med" len="med"/>
                    </a:lnT>
                    <a:lnB w="12700" cap="flat" cmpd="sng" algn="ctr">
                      <a:solidFill>
                        <a:srgbClr val="203864"/>
                      </a:solidFill>
                      <a:prstDash val="solid"/>
                      <a:round/>
                      <a:headEnd type="none" w="med" len="med"/>
                      <a:tailEnd type="none" w="med" len="med"/>
                    </a:lnB>
                    <a:lnTlToBr w="12700" cmpd="sng">
                      <a:noFill/>
                      <a:prstDash val="solid"/>
                    </a:lnTlToBr>
                    <a:lnBlToTr w="12700" cmpd="sng">
                      <a:noFill/>
                      <a:prstDash val="solid"/>
                    </a:lnBlToTr>
                    <a:solidFill>
                      <a:srgbClr val="4472C4"/>
                    </a:solidFill>
                  </a:tcPr>
                </a:tc>
                <a:tc hMerge="1">
                  <a:txBody>
                    <a:bodyPr/>
                    <a:lstStyle/>
                    <a:p>
                      <a:pPr algn="ctr" rtl="0"/>
                      <a:endParaRPr lang="ru-RU" sz="1200" b="1" dirty="0">
                        <a:solidFill>
                          <a:schemeClr val="bg1"/>
                        </a:solidFill>
                        <a:latin typeface="Arial "/>
                      </a:endParaRPr>
                    </a:p>
                  </a:txBody>
                  <a:tcPr marT="0" anchor="ctr">
                    <a:solidFill>
                      <a:schemeClr val="tx1"/>
                    </a:solidFill>
                  </a:tcPr>
                </a:tc>
                <a:extLst>
                  <a:ext uri="{0D108BD9-81ED-4DB2-BD59-A6C34878D82A}">
                    <a16:rowId xmlns:a16="http://schemas.microsoft.com/office/drawing/2014/main" val="2899970139"/>
                  </a:ext>
                </a:extLst>
              </a:tr>
              <a:tr h="426650">
                <a:tc>
                  <a:txBody>
                    <a:bodyPr/>
                    <a:lstStyle>
                      <a:lvl1pPr marL="0" algn="l" defTabSz="609585" rtl="0" eaLnBrk="1" latinLnBrk="0" hangingPunct="1">
                        <a:defRPr sz="2400" b="1" kern="1200">
                          <a:solidFill>
                            <a:schemeClr val="lt1"/>
                          </a:solidFill>
                          <a:latin typeface="Arial" panose="020B0604020202020204"/>
                        </a:defRPr>
                      </a:lvl1pPr>
                      <a:lvl2pPr marL="609585" algn="l" defTabSz="609585" rtl="0" eaLnBrk="1" latinLnBrk="0" hangingPunct="1">
                        <a:defRPr sz="2400" b="1" kern="1200">
                          <a:solidFill>
                            <a:schemeClr val="lt1"/>
                          </a:solidFill>
                          <a:latin typeface="Arial" panose="020B0604020202020204"/>
                        </a:defRPr>
                      </a:lvl2pPr>
                      <a:lvl3pPr marL="1219170" algn="l" defTabSz="609585" rtl="0" eaLnBrk="1" latinLnBrk="0" hangingPunct="1">
                        <a:defRPr sz="2400" b="1" kern="1200">
                          <a:solidFill>
                            <a:schemeClr val="lt1"/>
                          </a:solidFill>
                          <a:latin typeface="Arial" panose="020B0604020202020204"/>
                        </a:defRPr>
                      </a:lvl3pPr>
                      <a:lvl4pPr marL="1828754" algn="l" defTabSz="609585" rtl="0" eaLnBrk="1" latinLnBrk="0" hangingPunct="1">
                        <a:defRPr sz="2400" b="1" kern="1200">
                          <a:solidFill>
                            <a:schemeClr val="lt1"/>
                          </a:solidFill>
                          <a:latin typeface="Arial" panose="020B0604020202020204"/>
                        </a:defRPr>
                      </a:lvl4pPr>
                      <a:lvl5pPr marL="2438339" algn="l" defTabSz="609585" rtl="0" eaLnBrk="1" latinLnBrk="0" hangingPunct="1">
                        <a:defRPr sz="2400" b="1" kern="1200">
                          <a:solidFill>
                            <a:schemeClr val="lt1"/>
                          </a:solidFill>
                          <a:latin typeface="Arial" panose="020B0604020202020204"/>
                        </a:defRPr>
                      </a:lvl5pPr>
                      <a:lvl6pPr marL="3047924" algn="l" defTabSz="609585" rtl="0" eaLnBrk="1" latinLnBrk="0" hangingPunct="1">
                        <a:defRPr sz="2400" b="1" kern="1200">
                          <a:solidFill>
                            <a:schemeClr val="lt1"/>
                          </a:solidFill>
                          <a:latin typeface="Arial" panose="020B0604020202020204"/>
                        </a:defRPr>
                      </a:lvl6pPr>
                      <a:lvl7pPr marL="3657509" algn="l" defTabSz="609585" rtl="0" eaLnBrk="1" latinLnBrk="0" hangingPunct="1">
                        <a:defRPr sz="2400" b="1" kern="1200">
                          <a:solidFill>
                            <a:schemeClr val="lt1"/>
                          </a:solidFill>
                          <a:latin typeface="Arial" panose="020B0604020202020204"/>
                        </a:defRPr>
                      </a:lvl7pPr>
                      <a:lvl8pPr marL="4267093" algn="l" defTabSz="609585" rtl="0" eaLnBrk="1" latinLnBrk="0" hangingPunct="1">
                        <a:defRPr sz="2400" b="1" kern="1200">
                          <a:solidFill>
                            <a:schemeClr val="lt1"/>
                          </a:solidFill>
                          <a:latin typeface="Arial" panose="020B0604020202020204"/>
                        </a:defRPr>
                      </a:lvl8pPr>
                      <a:lvl9pPr marL="4876678" algn="l" defTabSz="609585" rtl="0" eaLnBrk="1" latinLnBrk="0" hangingPunct="1">
                        <a:defRPr sz="2400" b="1" kern="1200">
                          <a:solidFill>
                            <a:schemeClr val="lt1"/>
                          </a:solidFill>
                          <a:latin typeface="Arial" panose="020B0604020202020204"/>
                        </a:defRPr>
                      </a:lvl9pPr>
                    </a:lstStyle>
                    <a:p>
                      <a:pPr rtl="0"/>
                      <a:r>
                        <a:rPr lang="ru-RU" sz="1200">
                          <a:solidFill>
                            <a:schemeClr val="tx1"/>
                          </a:solidFill>
                        </a:rPr>
                        <a:t>n (%)</a:t>
                      </a:r>
                      <a:endParaRPr lang="ru-RU" sz="1200">
                        <a:solidFill>
                          <a:schemeClr val="tx1"/>
                        </a:solidFill>
                        <a:latin typeface="Arial "/>
                      </a:endParaRPr>
                    </a:p>
                  </a:txBody>
                  <a:tcPr anchor="ctr"/>
                </a:tc>
                <a:tc>
                  <a:txBody>
                    <a:bodyPr/>
                    <a:lstStyle/>
                    <a:p>
                      <a:pPr algn="ctr" rtl="0"/>
                      <a:r>
                        <a:rPr lang="ru-RU" sz="1200" b="1" dirty="0">
                          <a:solidFill>
                            <a:schemeClr val="tx1"/>
                          </a:solidFill>
                        </a:rPr>
                        <a:t>Первичный анализ</a:t>
                      </a:r>
                      <a:endParaRPr lang="ru-RU" sz="1200" b="1" dirty="0">
                        <a:solidFill>
                          <a:schemeClr val="tx1"/>
                        </a:solidFill>
                        <a:latin typeface="Calibri" panose="020F0502020204030204" pitchFamily="34" charset="0"/>
                        <a:cs typeface="Calibri" panose="020F0502020204030204" pitchFamily="34" charset="0"/>
                      </a:endParaRPr>
                    </a:p>
                  </a:txBody>
                  <a:tcPr marT="0" anchor="ctr">
                    <a:solidFill>
                      <a:schemeClr val="accent3">
                        <a:alpha val="20000"/>
                      </a:schemeClr>
                    </a:solidFill>
                  </a:tcPr>
                </a:tc>
                <a:tc>
                  <a:txBody>
                    <a:bodyPr/>
                    <a:lstStyle/>
                    <a:p>
                      <a:pPr algn="ctr" rtl="0"/>
                      <a:r>
                        <a:rPr lang="ru-RU" sz="1200" b="1" dirty="0">
                          <a:solidFill>
                            <a:schemeClr val="tx1"/>
                          </a:solidFill>
                        </a:rPr>
                        <a:t>Второй анализ</a:t>
                      </a:r>
                      <a:endParaRPr lang="ru-RU" sz="1200" b="1" dirty="0">
                        <a:solidFill>
                          <a:schemeClr val="tx1"/>
                        </a:solidFill>
                        <a:latin typeface="Calibri" panose="020F0502020204030204" pitchFamily="34" charset="0"/>
                        <a:cs typeface="Calibri" panose="020F0502020204030204" pitchFamily="34" charset="0"/>
                      </a:endParaRPr>
                    </a:p>
                  </a:txBody>
                  <a:tcPr marT="0" anchor="ctr">
                    <a:solidFill>
                      <a:schemeClr val="accent3">
                        <a:alpha val="20000"/>
                      </a:schemeClr>
                    </a:solidFill>
                  </a:tcPr>
                </a:tc>
                <a:tc>
                  <a:txBody>
                    <a:bodyPr/>
                    <a:lstStyle/>
                    <a:p>
                      <a:pPr algn="ctr" rtl="0"/>
                      <a:r>
                        <a:rPr lang="ru-RU" sz="1200" b="1" dirty="0">
                          <a:solidFill>
                            <a:schemeClr val="tx1"/>
                          </a:solidFill>
                          <a:latin typeface="+mn-lt"/>
                          <a:cs typeface="Calibri" panose="020F0502020204030204" pitchFamily="34" charset="0"/>
                        </a:rPr>
                        <a:t>Третий анализ</a:t>
                      </a:r>
                    </a:p>
                  </a:txBody>
                  <a:tcPr marT="0" anchor="ctr">
                    <a:solidFill>
                      <a:schemeClr val="accent3">
                        <a:alpha val="20000"/>
                      </a:schemeClr>
                    </a:solidFill>
                  </a:tcPr>
                </a:tc>
                <a:tc>
                  <a:txBody>
                    <a:bodyPr/>
                    <a:lstStyle/>
                    <a:p>
                      <a:pPr algn="ctr" rtl="0"/>
                      <a:r>
                        <a:rPr lang="ru-RU" sz="1200" b="1" dirty="0">
                          <a:solidFill>
                            <a:schemeClr val="tx1"/>
                          </a:solidFill>
                        </a:rPr>
                        <a:t>Первичный анализ</a:t>
                      </a:r>
                      <a:endParaRPr lang="ru-RU" sz="1200" b="1" dirty="0">
                        <a:solidFill>
                          <a:schemeClr val="tx1"/>
                        </a:solidFill>
                        <a:latin typeface="Calibri" panose="020F0502020204030204" pitchFamily="34" charset="0"/>
                        <a:cs typeface="Calibri" panose="020F0502020204030204" pitchFamily="34" charset="0"/>
                      </a:endParaRPr>
                    </a:p>
                  </a:txBody>
                  <a:tcPr marT="0" anchor="ctr"/>
                </a:tc>
                <a:tc>
                  <a:txBody>
                    <a:bodyPr/>
                    <a:lstStyle/>
                    <a:p>
                      <a:pPr algn="ctr" rtl="0"/>
                      <a:r>
                        <a:rPr lang="ru-RU" sz="1200" b="1" dirty="0">
                          <a:solidFill>
                            <a:schemeClr val="tx1"/>
                          </a:solidFill>
                        </a:rPr>
                        <a:t>Второй анализ</a:t>
                      </a:r>
                      <a:endParaRPr lang="ru-RU" sz="1200" b="1" dirty="0">
                        <a:solidFill>
                          <a:schemeClr val="tx1"/>
                        </a:solidFill>
                        <a:latin typeface="Calibri" panose="020F0502020204030204" pitchFamily="34" charset="0"/>
                        <a:cs typeface="Calibri" panose="020F0502020204030204" pitchFamily="34" charset="0"/>
                      </a:endParaRPr>
                    </a:p>
                  </a:txBody>
                  <a:tcPr marT="0"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004D74"/>
                          </a:solidFill>
                          <a:effectLst/>
                          <a:uLnTx/>
                          <a:uFillTx/>
                          <a:latin typeface="+mn-lt"/>
                          <a:ea typeface="+mn-ea"/>
                          <a:cs typeface="Calibri" panose="020F0502020204030204" pitchFamily="34" charset="0"/>
                        </a:rPr>
                        <a:t>Третий анализ</a:t>
                      </a:r>
                    </a:p>
                  </a:txBody>
                  <a:tcPr marT="0" anchor="ctr"/>
                </a:tc>
                <a:extLst>
                  <a:ext uri="{0D108BD9-81ED-4DB2-BD59-A6C34878D82A}">
                    <a16:rowId xmlns:a16="http://schemas.microsoft.com/office/drawing/2014/main" val="2534889841"/>
                  </a:ext>
                </a:extLst>
              </a:tr>
              <a:tr h="426650">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rtl="0"/>
                      <a:r>
                        <a:rPr lang="ru-RU" sz="1200" b="0">
                          <a:solidFill>
                            <a:schemeClr val="tx1"/>
                          </a:solidFill>
                        </a:rPr>
                        <a:t>Любые НЯ</a:t>
                      </a:r>
                      <a:endParaRPr lang="ru-RU" sz="1200" b="0">
                        <a:solidFill>
                          <a:schemeClr val="tx1"/>
                        </a:solidFill>
                        <a:latin typeface="Arial "/>
                      </a:endParaRPr>
                    </a:p>
                  </a:txBody>
                  <a:tcPr anchor="ct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algn="ctr" rtl="0"/>
                      <a:r>
                        <a:rPr lang="ru-RU" sz="1200" dirty="0">
                          <a:solidFill>
                            <a:schemeClr val="tx1"/>
                          </a:solidFill>
                        </a:rPr>
                        <a:t>387 (97,2)</a:t>
                      </a:r>
                      <a:endParaRPr lang="ru-RU" sz="1200" dirty="0">
                        <a:solidFill>
                          <a:schemeClr val="tx1"/>
                        </a:solidFill>
                        <a:latin typeface="Arial "/>
                      </a:endParaRPr>
                    </a:p>
                  </a:txBody>
                  <a:tcPr anchor="ctr"/>
                </a:tc>
                <a:tc>
                  <a:txBody>
                    <a:bodyPr/>
                    <a:lstStyle/>
                    <a:p>
                      <a:pPr algn="ctr" rtl="0"/>
                      <a:r>
                        <a:rPr lang="ru-RU" sz="1200" dirty="0">
                          <a:solidFill>
                            <a:schemeClr val="tx1"/>
                          </a:solidFill>
                        </a:rPr>
                        <a:t>389 (97,7)</a:t>
                      </a:r>
                      <a:endParaRPr lang="ru-RU" sz="1200" dirty="0">
                        <a:solidFill>
                          <a:schemeClr val="tx1"/>
                        </a:solidFill>
                        <a:latin typeface="Arial "/>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latin typeface="+mn-lt"/>
                        </a:rPr>
                        <a:t>389 (97.7)</a:t>
                      </a:r>
                    </a:p>
                  </a:txBody>
                  <a:tcPr anchor="ct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algn="ctr" rtl="0"/>
                      <a:r>
                        <a:rPr lang="ru-RU" sz="1200">
                          <a:solidFill>
                            <a:schemeClr val="tx1"/>
                          </a:solidFill>
                        </a:rPr>
                        <a:t>376 (94,9)</a:t>
                      </a:r>
                      <a:endParaRPr lang="ru-RU" sz="1200">
                        <a:solidFill>
                          <a:schemeClr val="tx1"/>
                        </a:solidFill>
                        <a:latin typeface="Arial "/>
                      </a:endParaRPr>
                    </a:p>
                  </a:txBody>
                  <a:tcPr anchor="ctr"/>
                </a:tc>
                <a:tc>
                  <a:txBody>
                    <a:bodyPr/>
                    <a:lstStyle/>
                    <a:p>
                      <a:pPr algn="ctr" rtl="0"/>
                      <a:r>
                        <a:rPr lang="ru-RU" sz="1200">
                          <a:solidFill>
                            <a:schemeClr val="tx1"/>
                          </a:solidFill>
                        </a:rPr>
                        <a:t>378 (95,5)</a:t>
                      </a:r>
                      <a:endParaRPr lang="ru-RU" sz="1200">
                        <a:solidFill>
                          <a:schemeClr val="tx1"/>
                        </a:solidFill>
                        <a:latin typeface="Arial "/>
                      </a:endParaRPr>
                    </a:p>
                  </a:txBody>
                  <a:tcPr anchor="ctr"/>
                </a:tc>
                <a:tc>
                  <a:txBody>
                    <a:bodyPr/>
                    <a:lstStyle/>
                    <a:p>
                      <a:pPr algn="ctr"/>
                      <a:r>
                        <a:rPr lang="en-GB" sz="1200" dirty="0">
                          <a:solidFill>
                            <a:schemeClr val="tx1"/>
                          </a:solidFill>
                          <a:latin typeface="+mn-lt"/>
                        </a:rPr>
                        <a:t>380 (96.0)</a:t>
                      </a:r>
                    </a:p>
                  </a:txBody>
                  <a:tcPr anchor="ctr"/>
                </a:tc>
                <a:extLst>
                  <a:ext uri="{0D108BD9-81ED-4DB2-BD59-A6C34878D82A}">
                    <a16:rowId xmlns:a16="http://schemas.microsoft.com/office/drawing/2014/main" val="3432230878"/>
                  </a:ext>
                </a:extLst>
              </a:tr>
              <a:tr h="426650">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rtl="0"/>
                      <a:r>
                        <a:rPr lang="ru-RU" sz="1200" b="0" dirty="0">
                          <a:solidFill>
                            <a:schemeClr val="tx1"/>
                          </a:solidFill>
                        </a:rPr>
                        <a:t>Любое НЯ ≥ 3 степени тяжести по CTCAE</a:t>
                      </a:r>
                      <a:endParaRPr lang="ru-RU" sz="1200" b="0" dirty="0">
                        <a:solidFill>
                          <a:schemeClr val="tx1"/>
                        </a:solidFill>
                        <a:latin typeface="Arial "/>
                      </a:endParaRPr>
                    </a:p>
                  </a:txBody>
                  <a:tcPr anchor="ct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algn="ctr" rtl="0"/>
                      <a:r>
                        <a:rPr lang="ru-RU" sz="1200" dirty="0">
                          <a:solidFill>
                            <a:schemeClr val="tx1"/>
                          </a:solidFill>
                        </a:rPr>
                        <a:t>188 (47,2)</a:t>
                      </a:r>
                      <a:endParaRPr lang="ru-RU" sz="1200" dirty="0">
                        <a:solidFill>
                          <a:schemeClr val="tx1"/>
                        </a:solidFill>
                        <a:latin typeface="Arial "/>
                      </a:endParaRPr>
                    </a:p>
                  </a:txBody>
                  <a:tcPr anchor="ctr">
                    <a:solidFill>
                      <a:schemeClr val="accent3">
                        <a:lumMod val="60000"/>
                        <a:lumOff val="40000"/>
                        <a:alpha val="20000"/>
                      </a:schemeClr>
                    </a:solidFill>
                  </a:tcPr>
                </a:tc>
                <a:tc>
                  <a:txBody>
                    <a:bodyPr/>
                    <a:lstStyle/>
                    <a:p>
                      <a:pPr algn="ctr" rtl="0"/>
                      <a:r>
                        <a:rPr lang="ru-RU" sz="1200" dirty="0">
                          <a:solidFill>
                            <a:schemeClr val="tx1"/>
                          </a:solidFill>
                        </a:rPr>
                        <a:t>210 (52,8)</a:t>
                      </a:r>
                      <a:endParaRPr lang="ru-RU" sz="1200" dirty="0">
                        <a:solidFill>
                          <a:schemeClr val="tx1"/>
                        </a:solidFill>
                        <a:latin typeface="Arial "/>
                      </a:endParaRPr>
                    </a:p>
                  </a:txBody>
                  <a:tcPr anchor="ctr">
                    <a:solidFill>
                      <a:schemeClr val="accent3">
                        <a:lumMod val="60000"/>
                        <a:lumOff val="40000"/>
                        <a:alpha val="20000"/>
                      </a:schemeClr>
                    </a:solidFill>
                  </a:tcPr>
                </a:tc>
                <a:tc>
                  <a:txBody>
                    <a:bodyPr/>
                    <a:lstStyle/>
                    <a:p>
                      <a:pPr algn="ctr"/>
                      <a:r>
                        <a:rPr lang="en-GB" sz="1200" dirty="0">
                          <a:solidFill>
                            <a:schemeClr val="tx1"/>
                          </a:solidFill>
                          <a:latin typeface="+mn-lt"/>
                        </a:rPr>
                        <a:t>222 (55.8)</a:t>
                      </a:r>
                    </a:p>
                  </a:txBody>
                  <a:tcPr anchor="ctr">
                    <a:solidFill>
                      <a:schemeClr val="accent3">
                        <a:lumMod val="60000"/>
                        <a:lumOff val="40000"/>
                        <a:alpha val="20000"/>
                      </a:schemeClr>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algn="ctr" rtl="0"/>
                      <a:r>
                        <a:rPr lang="ru-RU" sz="1200">
                          <a:solidFill>
                            <a:schemeClr val="tx1"/>
                          </a:solidFill>
                        </a:rPr>
                        <a:t>152 (38,4)</a:t>
                      </a:r>
                      <a:endParaRPr lang="ru-RU" sz="1200">
                        <a:solidFill>
                          <a:schemeClr val="tx1"/>
                        </a:solidFill>
                        <a:latin typeface="Arial "/>
                      </a:endParaRPr>
                    </a:p>
                  </a:txBody>
                  <a:tcPr anchor="ctr"/>
                </a:tc>
                <a:tc>
                  <a:txBody>
                    <a:bodyPr/>
                    <a:lstStyle/>
                    <a:p>
                      <a:pPr algn="ctr" rtl="0"/>
                      <a:r>
                        <a:rPr lang="ru-RU" sz="1200">
                          <a:solidFill>
                            <a:schemeClr val="tx1"/>
                          </a:solidFill>
                        </a:rPr>
                        <a:t>160 (40,4)</a:t>
                      </a:r>
                      <a:endParaRPr lang="ru-RU" sz="1200">
                        <a:solidFill>
                          <a:schemeClr val="tx1"/>
                        </a:solidFill>
                        <a:latin typeface="Arial "/>
                      </a:endParaRPr>
                    </a:p>
                  </a:txBody>
                  <a:tcPr anchor="ctr"/>
                </a:tc>
                <a:tc>
                  <a:txBody>
                    <a:bodyPr/>
                    <a:lstStyle/>
                    <a:p>
                      <a:pPr algn="ctr"/>
                      <a:r>
                        <a:rPr lang="en-GB" sz="1200" dirty="0">
                          <a:solidFill>
                            <a:schemeClr val="tx1"/>
                          </a:solidFill>
                          <a:latin typeface="+mn-lt"/>
                        </a:rPr>
                        <a:t>171 (43.2)</a:t>
                      </a:r>
                    </a:p>
                  </a:txBody>
                  <a:tcPr anchor="ctr"/>
                </a:tc>
                <a:extLst>
                  <a:ext uri="{0D108BD9-81ED-4DB2-BD59-A6C34878D82A}">
                    <a16:rowId xmlns:a16="http://schemas.microsoft.com/office/drawing/2014/main" val="2283592731"/>
                  </a:ext>
                </a:extLst>
              </a:tr>
              <a:tr h="426650">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0" algn="l" defTabSz="914400" rtl="0" eaLnBrk="1" latinLnBrk="0" hangingPunct="1"/>
                      <a:r>
                        <a:rPr lang="ru-RU" sz="1200" b="0" kern="1200" dirty="0">
                          <a:solidFill>
                            <a:schemeClr val="tx1"/>
                          </a:solidFill>
                        </a:rPr>
                        <a:t>Летальные исходы по причине НЯ</a:t>
                      </a:r>
                      <a:endParaRPr lang="ru-RU" sz="1200" b="0" kern="1200" dirty="0">
                        <a:solidFill>
                          <a:schemeClr val="tx1"/>
                        </a:solidFill>
                        <a:latin typeface="Arial "/>
                        <a:ea typeface="+mn-ea"/>
                        <a:cs typeface="+mn-cs"/>
                      </a:endParaRPr>
                    </a:p>
                  </a:txBody>
                  <a:tcPr anchor="ct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algn="ctr" rtl="0"/>
                      <a:r>
                        <a:rPr lang="ru-RU" sz="1200" b="0" dirty="0">
                          <a:solidFill>
                            <a:schemeClr val="tx1"/>
                          </a:solidFill>
                        </a:rPr>
                        <a:t>16 (4,0)</a:t>
                      </a:r>
                      <a:endParaRPr lang="ru-RU" sz="1200" b="0" dirty="0">
                        <a:solidFill>
                          <a:schemeClr val="tx1"/>
                        </a:solidFill>
                        <a:latin typeface="Arial "/>
                      </a:endParaRPr>
                    </a:p>
                  </a:txBody>
                  <a:tcPr anchor="ctr"/>
                </a:tc>
                <a:tc>
                  <a:txBody>
                    <a:bodyPr/>
                    <a:lstStyle/>
                    <a:p>
                      <a:pPr algn="ctr" rtl="0"/>
                      <a:r>
                        <a:rPr lang="ru-RU" sz="1200" b="0" dirty="0">
                          <a:solidFill>
                            <a:schemeClr val="tx1"/>
                          </a:solidFill>
                        </a:rPr>
                        <a:t>23 (5,8)</a:t>
                      </a:r>
                      <a:endParaRPr lang="ru-RU" sz="1200" b="0" dirty="0">
                        <a:solidFill>
                          <a:schemeClr val="tx1"/>
                        </a:solidFill>
                        <a:latin typeface="Arial "/>
                      </a:endParaRPr>
                    </a:p>
                  </a:txBody>
                  <a:tcPr anchor="ctr"/>
                </a:tc>
                <a:tc>
                  <a:txBody>
                    <a:bodyPr/>
                    <a:lstStyle/>
                    <a:p>
                      <a:pPr algn="ctr"/>
                      <a:r>
                        <a:rPr lang="en-GB" sz="1200" b="0" dirty="0">
                          <a:solidFill>
                            <a:schemeClr val="tx1"/>
                          </a:solidFill>
                          <a:latin typeface="+mn-lt"/>
                        </a:rPr>
                        <a:t>26 (6.5)</a:t>
                      </a:r>
                    </a:p>
                  </a:txBody>
                  <a:tcPr anchor="ct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algn="ctr" rtl="0"/>
                      <a:r>
                        <a:rPr lang="ru-RU" sz="1200" b="0">
                          <a:solidFill>
                            <a:schemeClr val="tx1"/>
                          </a:solidFill>
                        </a:rPr>
                        <a:t>17 (4,3)</a:t>
                      </a:r>
                      <a:endParaRPr lang="ru-RU" sz="1200" b="0">
                        <a:solidFill>
                          <a:schemeClr val="tx1"/>
                        </a:solidFill>
                        <a:latin typeface="Arial "/>
                      </a:endParaRPr>
                    </a:p>
                  </a:txBody>
                  <a:tcPr anchor="ctr"/>
                </a:tc>
                <a:tc>
                  <a:txBody>
                    <a:bodyPr/>
                    <a:lstStyle/>
                    <a:p>
                      <a:pPr algn="ctr" rtl="0"/>
                      <a:r>
                        <a:rPr lang="ru-RU" sz="1200" b="0">
                          <a:solidFill>
                            <a:schemeClr val="tx1"/>
                          </a:solidFill>
                        </a:rPr>
                        <a:t>18 (4,5)</a:t>
                      </a:r>
                      <a:endParaRPr lang="ru-RU" sz="1200" b="0">
                        <a:solidFill>
                          <a:schemeClr val="tx1"/>
                        </a:solidFill>
                        <a:latin typeface="Arial "/>
                      </a:endParaRPr>
                    </a:p>
                  </a:txBody>
                  <a:tcPr anchor="ctr"/>
                </a:tc>
                <a:tc>
                  <a:txBody>
                    <a:bodyPr/>
                    <a:lstStyle/>
                    <a:p>
                      <a:pPr algn="ctr"/>
                      <a:r>
                        <a:rPr lang="en-GB" sz="1200" b="0" dirty="0">
                          <a:solidFill>
                            <a:schemeClr val="tx1"/>
                          </a:solidFill>
                          <a:latin typeface="+mn-lt"/>
                        </a:rPr>
                        <a:t>20 (5.1)</a:t>
                      </a:r>
                    </a:p>
                  </a:txBody>
                  <a:tcPr anchor="ctr"/>
                </a:tc>
                <a:extLst>
                  <a:ext uri="{0D108BD9-81ED-4DB2-BD59-A6C34878D82A}">
                    <a16:rowId xmlns:a16="http://schemas.microsoft.com/office/drawing/2014/main" val="4143462032"/>
                  </a:ext>
                </a:extLst>
              </a:tr>
              <a:tr h="426650">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rtl="0"/>
                      <a:r>
                        <a:rPr lang="ru-RU" sz="1200" kern="1600" dirty="0">
                          <a:effectLst/>
                        </a:rPr>
                        <a:t>НЯ, приведшие к принятию следующих мер:</a:t>
                      </a:r>
                      <a:endParaRPr lang="en-GB" sz="1200" b="1" dirty="0">
                        <a:solidFill>
                          <a:schemeClr val="tx1"/>
                        </a:solidFill>
                        <a:latin typeface="Arial "/>
                      </a:endParaRPr>
                    </a:p>
                  </a:txBody>
                  <a:tcPr anchor="ctr"/>
                </a:tc>
                <a:tc gridSpan="6">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0" algn="ctr" defTabSz="609585" rtl="0" eaLnBrk="1" latinLnBrk="0" hangingPunct="1">
                        <a:lnSpc>
                          <a:spcPct val="100000"/>
                        </a:lnSpc>
                        <a:spcBef>
                          <a:spcPts val="0"/>
                        </a:spcBef>
                        <a:spcAft>
                          <a:spcPts val="0"/>
                        </a:spcAft>
                      </a:pPr>
                      <a:endParaRPr lang="en-GB" sz="1200" b="0" kern="1200" dirty="0">
                        <a:solidFill>
                          <a:schemeClr val="dk1"/>
                        </a:solidFill>
                        <a:latin typeface="Arial" panose="020B0604020202020204"/>
                        <a:ea typeface="+mn-ea"/>
                        <a:cs typeface="+mn-cs"/>
                      </a:endParaRPr>
                    </a:p>
                  </a:txBody>
                  <a:tcPr anchor="ctr"/>
                </a:tc>
                <a:tc hMerge="1">
                  <a:txBody>
                    <a:bodyPr/>
                    <a:lstStyle/>
                    <a:p>
                      <a:pPr algn="ctr" rtl="0"/>
                      <a:endParaRPr lang="en-GB" sz="1200" dirty="0">
                        <a:solidFill>
                          <a:schemeClr val="tx1"/>
                        </a:solidFill>
                        <a:latin typeface="Arial "/>
                      </a:endParaRPr>
                    </a:p>
                  </a:txBody>
                  <a:tcPr anchor="ctr">
                    <a:solidFill>
                      <a:schemeClr val="accent3">
                        <a:lumMod val="20000"/>
                        <a:lumOff val="80000"/>
                      </a:schemeClr>
                    </a:solidFill>
                  </a:tcPr>
                </a:tc>
                <a:tc hMerge="1">
                  <a:txBody>
                    <a:bodyPr/>
                    <a:lstStyle/>
                    <a:p>
                      <a:pPr algn="ctr"/>
                      <a:endParaRPr lang="en-GB" sz="1200" dirty="0">
                        <a:solidFill>
                          <a:schemeClr val="tx1"/>
                        </a:solidFill>
                        <a:latin typeface="+mn-lt"/>
                      </a:endParaRPr>
                    </a:p>
                  </a:txBody>
                  <a:tcPr anchor="ctr"/>
                </a:tc>
                <a:tc hMerge="1">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algn="ctr" rtl="0"/>
                      <a:endParaRPr lang="en-GB" sz="1200" dirty="0">
                        <a:solidFill>
                          <a:schemeClr val="tx1"/>
                        </a:solidFill>
                        <a:latin typeface="Arial "/>
                      </a:endParaRPr>
                    </a:p>
                  </a:txBody>
                  <a:tcPr anchor="ctr"/>
                </a:tc>
                <a:tc hMerge="1">
                  <a:txBody>
                    <a:bodyPr/>
                    <a:lstStyle/>
                    <a:p>
                      <a:pPr algn="ctr" rtl="0"/>
                      <a:endParaRPr lang="en-GB" sz="1200" dirty="0">
                        <a:solidFill>
                          <a:schemeClr val="tx1"/>
                        </a:solidFill>
                        <a:latin typeface="Arial "/>
                      </a:endParaRPr>
                    </a:p>
                  </a:txBody>
                  <a:tcPr anchor="ctr"/>
                </a:tc>
                <a:tc hMerge="1">
                  <a:txBody>
                    <a:bodyPr/>
                    <a:lstStyle/>
                    <a:p>
                      <a:pPr algn="ctr"/>
                      <a:endParaRPr lang="en-GB" sz="1200" dirty="0">
                        <a:solidFill>
                          <a:schemeClr val="tx1"/>
                        </a:solidFill>
                        <a:latin typeface="+mn-lt"/>
                      </a:endParaRPr>
                    </a:p>
                  </a:txBody>
                  <a:tcPr anchor="ctr"/>
                </a:tc>
                <a:extLst>
                  <a:ext uri="{0D108BD9-81ED-4DB2-BD59-A6C34878D82A}">
                    <a16:rowId xmlns:a16="http://schemas.microsoft.com/office/drawing/2014/main" val="1310370715"/>
                  </a:ext>
                </a:extLst>
              </a:tr>
              <a:tr h="393667">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360000" marR="0" lvl="0" rtl="0">
                        <a:lnSpc>
                          <a:spcPct val="100000"/>
                        </a:lnSpc>
                        <a:spcBef>
                          <a:spcPts val="0"/>
                        </a:spcBef>
                        <a:spcAft>
                          <a:spcPts val="0"/>
                        </a:spcAft>
                      </a:pPr>
                      <a:r>
                        <a:rPr lang="ru-RU" sz="1200" b="0" kern="1600">
                          <a:effectLst/>
                        </a:rPr>
                        <a:t>Приостановка применения олапариба/плацебо</a:t>
                      </a:r>
                      <a:endParaRPr lang="ru-RU" sz="1200" b="0" kern="1600">
                        <a:effectLst/>
                        <a:latin typeface="Arial "/>
                      </a:endParaRPr>
                    </a:p>
                  </a:txBody>
                  <a:tcPr marL="144000" marR="68580" marT="36000" marB="36000" anchor="ct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0" marR="0" algn="ctr" rtl="0">
                        <a:lnSpc>
                          <a:spcPct val="100000"/>
                        </a:lnSpc>
                        <a:spcBef>
                          <a:spcPts val="0"/>
                        </a:spcBef>
                        <a:spcAft>
                          <a:spcPts val="0"/>
                        </a:spcAft>
                      </a:pPr>
                      <a:r>
                        <a:rPr lang="ru-RU" sz="1200" dirty="0">
                          <a:effectLst/>
                        </a:rPr>
                        <a:t>178 (44,7)</a:t>
                      </a:r>
                      <a:endParaRPr lang="en-GB" sz="1200" dirty="0">
                        <a:effectLst/>
                        <a:latin typeface="Arial "/>
                        <a:ea typeface="Times New Roman" panose="02020603050405020304" pitchFamily="18" charset="0"/>
                        <a:cs typeface="Times New Roman" panose="02020603050405020304" pitchFamily="18" charset="0"/>
                      </a:endParaRPr>
                    </a:p>
                  </a:txBody>
                  <a:tcPr marL="68580" marR="68580" marT="36000" marB="36000" anchor="ctr"/>
                </a:tc>
                <a:tc>
                  <a:txBody>
                    <a:bodyPr/>
                    <a:lstStyle/>
                    <a:p>
                      <a:pPr marL="0" marR="0" algn="ctr" rtl="0">
                        <a:lnSpc>
                          <a:spcPct val="100000"/>
                        </a:lnSpc>
                        <a:spcBef>
                          <a:spcPts val="0"/>
                        </a:spcBef>
                        <a:spcAft>
                          <a:spcPts val="0"/>
                        </a:spcAft>
                      </a:pPr>
                      <a:r>
                        <a:rPr lang="ru-RU" sz="1200" dirty="0">
                          <a:effectLst/>
                        </a:rPr>
                        <a:t>190 (47,7)</a:t>
                      </a:r>
                      <a:endParaRPr lang="ru-RU" sz="1200" dirty="0">
                        <a:effectLst/>
                        <a:latin typeface="Arial "/>
                        <a:ea typeface="Times New Roman" panose="02020603050405020304" pitchFamily="18" charset="0"/>
                        <a:cs typeface="Times New Roman" panose="02020603050405020304" pitchFamily="18" charset="0"/>
                      </a:endParaRPr>
                    </a:p>
                  </a:txBody>
                  <a:tcPr marL="68580" marR="68580" marT="36000" marB="36000" anchor="ctr"/>
                </a:tc>
                <a:tc>
                  <a:txBody>
                    <a:bodyPr/>
                    <a:lstStyle/>
                    <a:p>
                      <a:pPr marL="0" marR="0" algn="ctr">
                        <a:lnSpc>
                          <a:spcPct val="100000"/>
                        </a:lnSpc>
                        <a:spcBef>
                          <a:spcPts val="0"/>
                        </a:spcBef>
                        <a:spcAft>
                          <a:spcPts val="0"/>
                        </a:spcAft>
                      </a:pPr>
                      <a:r>
                        <a:rPr lang="en-GB" sz="1200" dirty="0">
                          <a:effectLst/>
                          <a:latin typeface="+mn-lt"/>
                          <a:ea typeface="Times New Roman" panose="02020603050405020304" pitchFamily="18" charset="0"/>
                          <a:cs typeface="Times New Roman" panose="02020603050405020304" pitchFamily="18" charset="0"/>
                        </a:rPr>
                        <a:t>195 (49.0)</a:t>
                      </a:r>
                    </a:p>
                  </a:txBody>
                  <a:tcPr marL="68580" marR="68580" marT="36000" marB="36000" anchor="ct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0" marR="0" algn="ctr" rtl="0">
                        <a:lnSpc>
                          <a:spcPct val="100000"/>
                        </a:lnSpc>
                        <a:spcBef>
                          <a:spcPts val="0"/>
                        </a:spcBef>
                        <a:spcAft>
                          <a:spcPts val="0"/>
                        </a:spcAft>
                      </a:pPr>
                      <a:r>
                        <a:rPr lang="ru-RU" sz="1200" dirty="0">
                          <a:effectLst/>
                        </a:rPr>
                        <a:t>100 (25,3)</a:t>
                      </a:r>
                      <a:endParaRPr lang="en-GB" sz="1200" dirty="0">
                        <a:effectLst/>
                        <a:latin typeface="Arial "/>
                        <a:ea typeface="Times New Roman" panose="02020603050405020304" pitchFamily="18" charset="0"/>
                        <a:cs typeface="Times New Roman" panose="02020603050405020304" pitchFamily="18" charset="0"/>
                      </a:endParaRPr>
                    </a:p>
                  </a:txBody>
                  <a:tcPr marL="68580" marR="68580" marT="36000" marB="36000" anchor="ctr"/>
                </a:tc>
                <a:tc>
                  <a:txBody>
                    <a:bodyPr/>
                    <a:lstStyle/>
                    <a:p>
                      <a:pPr marL="0" marR="0" algn="ctr" rtl="0">
                        <a:lnSpc>
                          <a:spcPct val="100000"/>
                        </a:lnSpc>
                        <a:spcBef>
                          <a:spcPts val="0"/>
                        </a:spcBef>
                        <a:spcAft>
                          <a:spcPts val="0"/>
                        </a:spcAft>
                      </a:pPr>
                      <a:r>
                        <a:rPr lang="ru-RU" sz="1200">
                          <a:effectLst/>
                        </a:rPr>
                        <a:t>108 (27,3)</a:t>
                      </a:r>
                      <a:endParaRPr lang="ru-RU" sz="1200">
                        <a:effectLst/>
                        <a:latin typeface="Arial "/>
                        <a:ea typeface="Times New Roman" panose="02020603050405020304" pitchFamily="18" charset="0"/>
                        <a:cs typeface="Times New Roman" panose="02020603050405020304" pitchFamily="18" charset="0"/>
                      </a:endParaRPr>
                    </a:p>
                  </a:txBody>
                  <a:tcPr marL="68580" marR="68580" marT="36000" marB="36000" anchor="ctr"/>
                </a:tc>
                <a:tc>
                  <a:txBody>
                    <a:bodyPr/>
                    <a:lstStyle/>
                    <a:p>
                      <a:pPr marL="0" marR="0" algn="ctr">
                        <a:lnSpc>
                          <a:spcPct val="100000"/>
                        </a:lnSpc>
                        <a:spcBef>
                          <a:spcPts val="0"/>
                        </a:spcBef>
                        <a:spcAft>
                          <a:spcPts val="0"/>
                        </a:spcAft>
                      </a:pPr>
                      <a:r>
                        <a:rPr lang="en-GB" sz="1200" dirty="0">
                          <a:effectLst/>
                          <a:latin typeface="+mn-lt"/>
                          <a:ea typeface="Times New Roman" panose="02020603050405020304" pitchFamily="18" charset="0"/>
                          <a:cs typeface="Times New Roman" panose="02020603050405020304" pitchFamily="18" charset="0"/>
                        </a:rPr>
                        <a:t>112 (28.3)</a:t>
                      </a:r>
                    </a:p>
                  </a:txBody>
                  <a:tcPr marL="68580" marR="68580" marT="36000" marB="36000" anchor="ctr"/>
                </a:tc>
                <a:extLst>
                  <a:ext uri="{0D108BD9-81ED-4DB2-BD59-A6C34878D82A}">
                    <a16:rowId xmlns:a16="http://schemas.microsoft.com/office/drawing/2014/main" val="2834635822"/>
                  </a:ext>
                </a:extLst>
              </a:tr>
              <a:tr h="393667">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360000" marR="0" lvl="0" rtl="0">
                        <a:lnSpc>
                          <a:spcPct val="100000"/>
                        </a:lnSpc>
                        <a:spcBef>
                          <a:spcPts val="0"/>
                        </a:spcBef>
                        <a:spcAft>
                          <a:spcPts val="0"/>
                        </a:spcAft>
                      </a:pPr>
                      <a:r>
                        <a:rPr lang="ru-RU" sz="1200" b="0" kern="1600">
                          <a:effectLst/>
                        </a:rPr>
                        <a:t>Снижение дозы олапариба/плацебо</a:t>
                      </a:r>
                      <a:endParaRPr lang="en-GB" sz="1200" b="0" kern="1600">
                        <a:effectLst/>
                        <a:latin typeface="Arial "/>
                        <a:ea typeface="Times New Roman" panose="02020603050405020304" pitchFamily="18" charset="0"/>
                        <a:cs typeface="Arial" panose="020B0604020202020204" pitchFamily="34" charset="0"/>
                      </a:endParaRPr>
                    </a:p>
                  </a:txBody>
                  <a:tcPr marL="144000" marR="68580" marT="36000" marB="36000" anchor="ct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0" marR="0" algn="ctr" rtl="0">
                        <a:lnSpc>
                          <a:spcPct val="100000"/>
                        </a:lnSpc>
                        <a:spcBef>
                          <a:spcPts val="0"/>
                        </a:spcBef>
                        <a:spcAft>
                          <a:spcPts val="0"/>
                        </a:spcAft>
                      </a:pPr>
                      <a:r>
                        <a:rPr lang="ru-RU" sz="1200" dirty="0">
                          <a:effectLst/>
                        </a:rPr>
                        <a:t>80 (20,1)</a:t>
                      </a:r>
                      <a:endParaRPr lang="en-GB" sz="1200" dirty="0">
                        <a:effectLst/>
                        <a:latin typeface="Arial "/>
                        <a:ea typeface="Times New Roman" panose="02020603050405020304" pitchFamily="18" charset="0"/>
                        <a:cs typeface="Times New Roman" panose="02020603050405020304" pitchFamily="18" charset="0"/>
                      </a:endParaRPr>
                    </a:p>
                  </a:txBody>
                  <a:tcPr marL="68580" marR="68580" marT="36000" marB="36000" anchor="ctr">
                    <a:solidFill>
                      <a:schemeClr val="accent3">
                        <a:lumMod val="60000"/>
                        <a:lumOff val="40000"/>
                        <a:alpha val="20000"/>
                      </a:schemeClr>
                    </a:solidFill>
                  </a:tcPr>
                </a:tc>
                <a:tc>
                  <a:txBody>
                    <a:bodyPr/>
                    <a:lstStyle/>
                    <a:p>
                      <a:pPr marL="0" marR="0" algn="ctr" rtl="0">
                        <a:lnSpc>
                          <a:spcPct val="100000"/>
                        </a:lnSpc>
                        <a:spcBef>
                          <a:spcPts val="0"/>
                        </a:spcBef>
                        <a:spcAft>
                          <a:spcPts val="0"/>
                        </a:spcAft>
                      </a:pPr>
                      <a:r>
                        <a:rPr lang="ru-RU" sz="1200" dirty="0">
                          <a:effectLst/>
                        </a:rPr>
                        <a:t> 85 (21,4)</a:t>
                      </a:r>
                      <a:endParaRPr lang="ru-RU" sz="1200" dirty="0">
                        <a:effectLst/>
                        <a:latin typeface="Arial "/>
                        <a:ea typeface="Times New Roman" panose="02020603050405020304" pitchFamily="18" charset="0"/>
                        <a:cs typeface="Times New Roman" panose="02020603050405020304" pitchFamily="18" charset="0"/>
                      </a:endParaRPr>
                    </a:p>
                  </a:txBody>
                  <a:tcPr marL="68580" marR="68580" marT="36000" marB="36000" anchor="ctr">
                    <a:solidFill>
                      <a:schemeClr val="accent3">
                        <a:lumMod val="60000"/>
                        <a:lumOff val="40000"/>
                        <a:alpha val="20000"/>
                      </a:schemeClr>
                    </a:solidFill>
                  </a:tcPr>
                </a:tc>
                <a:tc>
                  <a:txBody>
                    <a:bodyPr/>
                    <a:lstStyle/>
                    <a:p>
                      <a:pPr marL="0" marR="0" algn="ctr">
                        <a:lnSpc>
                          <a:spcPct val="100000"/>
                        </a:lnSpc>
                        <a:spcBef>
                          <a:spcPts val="0"/>
                        </a:spcBef>
                        <a:spcAft>
                          <a:spcPts val="0"/>
                        </a:spcAft>
                      </a:pPr>
                      <a:r>
                        <a:rPr lang="en-GB" sz="1200" dirty="0">
                          <a:effectLst/>
                          <a:latin typeface="+mn-lt"/>
                          <a:ea typeface="Times New Roman" panose="02020603050405020304" pitchFamily="18" charset="0"/>
                          <a:cs typeface="Times New Roman" panose="02020603050405020304" pitchFamily="18" charset="0"/>
                        </a:rPr>
                        <a:t>90 (22.6)</a:t>
                      </a:r>
                    </a:p>
                  </a:txBody>
                  <a:tcPr marL="68580" marR="68580" marT="36000" marB="36000" anchor="ctr">
                    <a:solidFill>
                      <a:schemeClr val="accent3">
                        <a:lumMod val="60000"/>
                        <a:lumOff val="40000"/>
                        <a:alpha val="20000"/>
                      </a:schemeClr>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0" marR="0" algn="ctr" rtl="0">
                        <a:lnSpc>
                          <a:spcPct val="100000"/>
                        </a:lnSpc>
                        <a:spcBef>
                          <a:spcPts val="0"/>
                        </a:spcBef>
                        <a:spcAft>
                          <a:spcPts val="0"/>
                        </a:spcAft>
                      </a:pPr>
                      <a:r>
                        <a:rPr lang="ru-RU" sz="1200" dirty="0">
                          <a:effectLst/>
                        </a:rPr>
                        <a:t>22 (5,6)</a:t>
                      </a:r>
                      <a:endParaRPr lang="en-GB" sz="1200" dirty="0">
                        <a:effectLst/>
                        <a:latin typeface="Arial "/>
                        <a:ea typeface="Times New Roman" panose="02020603050405020304" pitchFamily="18" charset="0"/>
                        <a:cs typeface="Times New Roman" panose="02020603050405020304" pitchFamily="18" charset="0"/>
                      </a:endParaRPr>
                    </a:p>
                  </a:txBody>
                  <a:tcPr marL="68580" marR="68580" marT="36000" marB="36000" anchor="ctr"/>
                </a:tc>
                <a:tc>
                  <a:txBody>
                    <a:bodyPr/>
                    <a:lstStyle/>
                    <a:p>
                      <a:pPr marL="0" marR="0" algn="ctr" rtl="0">
                        <a:lnSpc>
                          <a:spcPct val="100000"/>
                        </a:lnSpc>
                        <a:spcBef>
                          <a:spcPts val="0"/>
                        </a:spcBef>
                        <a:spcAft>
                          <a:spcPts val="0"/>
                        </a:spcAft>
                      </a:pPr>
                      <a:r>
                        <a:rPr lang="ru-RU" sz="1200">
                          <a:effectLst/>
                        </a:rPr>
                        <a:t>22 (5,6)</a:t>
                      </a:r>
                      <a:endParaRPr lang="ru-RU" sz="1200">
                        <a:effectLst/>
                        <a:latin typeface="Arial "/>
                        <a:ea typeface="Times New Roman" panose="02020603050405020304" pitchFamily="18" charset="0"/>
                        <a:cs typeface="Times New Roman" panose="02020603050405020304" pitchFamily="18" charset="0"/>
                      </a:endParaRPr>
                    </a:p>
                  </a:txBody>
                  <a:tcPr marL="68580" marR="68580" marT="36000" marB="36000" anchor="ctr"/>
                </a:tc>
                <a:tc>
                  <a:txBody>
                    <a:bodyPr/>
                    <a:lstStyle/>
                    <a:p>
                      <a:pPr marL="0" marR="0" algn="ctr">
                        <a:lnSpc>
                          <a:spcPct val="100000"/>
                        </a:lnSpc>
                        <a:spcBef>
                          <a:spcPts val="0"/>
                        </a:spcBef>
                        <a:spcAft>
                          <a:spcPts val="0"/>
                        </a:spcAft>
                      </a:pPr>
                      <a:r>
                        <a:rPr lang="en-GB" sz="1200" dirty="0">
                          <a:effectLst/>
                          <a:latin typeface="+mn-lt"/>
                          <a:ea typeface="Times New Roman" panose="02020603050405020304" pitchFamily="18" charset="0"/>
                          <a:cs typeface="Times New Roman" panose="02020603050405020304" pitchFamily="18" charset="0"/>
                        </a:rPr>
                        <a:t>24 (6.1)</a:t>
                      </a:r>
                    </a:p>
                  </a:txBody>
                  <a:tcPr marL="68580" marR="68580" marT="36000" marB="36000" anchor="ctr"/>
                </a:tc>
                <a:extLst>
                  <a:ext uri="{0D108BD9-81ED-4DB2-BD59-A6C34878D82A}">
                    <a16:rowId xmlns:a16="http://schemas.microsoft.com/office/drawing/2014/main" val="1949009773"/>
                  </a:ext>
                </a:extLst>
              </a:tr>
              <a:tr h="393667">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360000" marR="0" lvl="0" indent="0" algn="l" defTabSz="457189" rtl="0" eaLnBrk="1" fontAlgn="auto" latinLnBrk="0" hangingPunct="1">
                        <a:lnSpc>
                          <a:spcPct val="100000"/>
                        </a:lnSpc>
                        <a:spcBef>
                          <a:spcPts val="0"/>
                        </a:spcBef>
                        <a:spcAft>
                          <a:spcPts val="0"/>
                        </a:spcAft>
                        <a:buClrTx/>
                        <a:buSzTx/>
                        <a:buFontTx/>
                        <a:buNone/>
                        <a:tabLst/>
                        <a:defRPr/>
                      </a:pPr>
                      <a:r>
                        <a:rPr lang="ru-RU" sz="1200" b="0">
                          <a:effectLst/>
                        </a:rPr>
                        <a:t>Прекращение применения олапариба/плацебо </a:t>
                      </a:r>
                      <a:endParaRPr lang="ru-RU" sz="1200" b="0">
                        <a:effectLst/>
                        <a:latin typeface="Arial "/>
                        <a:ea typeface="Times New Roman" panose="02020603050405020304" pitchFamily="18" charset="0"/>
                        <a:cs typeface="Courier New"/>
                      </a:endParaRPr>
                    </a:p>
                  </a:txBody>
                  <a:tcPr marL="144000" marT="36000" marB="36000" anchor="ct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algn="ctr" rtl="0">
                        <a:lnSpc>
                          <a:spcPct val="100000"/>
                        </a:lnSpc>
                        <a:spcBef>
                          <a:spcPts val="0"/>
                        </a:spcBef>
                        <a:spcAft>
                          <a:spcPts val="0"/>
                        </a:spcAft>
                      </a:pPr>
                      <a:r>
                        <a:rPr lang="ru-RU" sz="1200" b="0" dirty="0"/>
                        <a:t>55 (13,8)</a:t>
                      </a:r>
                      <a:endParaRPr lang="ru-RU" sz="1200" b="0" dirty="0">
                        <a:latin typeface="Arial "/>
                        <a:cs typeface="Courier New"/>
                      </a:endParaRPr>
                    </a:p>
                  </a:txBody>
                  <a:tcPr marL="121920" marR="121920" marT="36000" marB="36000" anchor="ctr" anchorCtr="1"/>
                </a:tc>
                <a:tc>
                  <a:txBody>
                    <a:bodyPr/>
                    <a:lstStyle/>
                    <a:p>
                      <a:pPr algn="ctr" rtl="0">
                        <a:lnSpc>
                          <a:spcPct val="100000"/>
                        </a:lnSpc>
                        <a:spcBef>
                          <a:spcPts val="0"/>
                        </a:spcBef>
                        <a:spcAft>
                          <a:spcPts val="0"/>
                        </a:spcAft>
                      </a:pPr>
                      <a:r>
                        <a:rPr lang="ru-RU" sz="1200" b="0" dirty="0"/>
                        <a:t>63 (15,8)</a:t>
                      </a:r>
                      <a:endParaRPr lang="ru-RU" sz="1200" b="0" dirty="0">
                        <a:latin typeface="Arial "/>
                        <a:cs typeface="Courier New"/>
                      </a:endParaRPr>
                    </a:p>
                  </a:txBody>
                  <a:tcPr marL="121920" marR="121920" marT="36000" marB="36000" anchor="ctr" anchorCtr="1"/>
                </a:tc>
                <a:tc>
                  <a:txBody>
                    <a:bodyPr/>
                    <a:lstStyle/>
                    <a:p>
                      <a:pPr algn="ctr">
                        <a:lnSpc>
                          <a:spcPct val="100000"/>
                        </a:lnSpc>
                        <a:spcBef>
                          <a:spcPts val="0"/>
                        </a:spcBef>
                        <a:spcAft>
                          <a:spcPts val="0"/>
                        </a:spcAft>
                      </a:pPr>
                      <a:r>
                        <a:rPr lang="en-GB" sz="1200" b="0" dirty="0">
                          <a:latin typeface="+mn-lt"/>
                          <a:cs typeface="Courier New"/>
                        </a:rPr>
                        <a:t>69 (17.3)</a:t>
                      </a:r>
                    </a:p>
                  </a:txBody>
                  <a:tcPr marL="121920" marR="121920" marT="36000" marB="36000" anchor="ctr" anchorCtr="1"/>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algn="ctr" rtl="0">
                        <a:lnSpc>
                          <a:spcPct val="100000"/>
                        </a:lnSpc>
                        <a:spcBef>
                          <a:spcPts val="0"/>
                        </a:spcBef>
                        <a:spcAft>
                          <a:spcPts val="0"/>
                        </a:spcAft>
                      </a:pPr>
                      <a:r>
                        <a:rPr lang="ru-RU" sz="1200" b="0" dirty="0"/>
                        <a:t>31 (7,8)</a:t>
                      </a:r>
                      <a:endParaRPr lang="ru-RU" sz="1200" b="0" dirty="0">
                        <a:latin typeface="Arial "/>
                        <a:cs typeface="Courier New"/>
                      </a:endParaRPr>
                    </a:p>
                  </a:txBody>
                  <a:tcPr marL="121920" marR="121920" marT="36000" marB="36000" anchor="ctr" anchorCtr="1"/>
                </a:tc>
                <a:tc>
                  <a:txBody>
                    <a:bodyPr/>
                    <a:lstStyle/>
                    <a:p>
                      <a:pPr algn="ctr" rtl="0">
                        <a:lnSpc>
                          <a:spcPct val="100000"/>
                        </a:lnSpc>
                        <a:spcBef>
                          <a:spcPts val="0"/>
                        </a:spcBef>
                        <a:spcAft>
                          <a:spcPts val="0"/>
                        </a:spcAft>
                      </a:pPr>
                      <a:r>
                        <a:rPr lang="ru-RU" sz="1200" b="0" dirty="0"/>
                        <a:t> 32 (8,1)</a:t>
                      </a:r>
                      <a:endParaRPr lang="ru-RU" sz="1200" b="0" dirty="0">
                        <a:latin typeface="Arial "/>
                        <a:cs typeface="Courier New"/>
                      </a:endParaRPr>
                    </a:p>
                  </a:txBody>
                  <a:tcPr marL="121920" marR="121920" marT="36000" marB="36000" anchor="ctr" anchorCtr="1"/>
                </a:tc>
                <a:tc>
                  <a:txBody>
                    <a:bodyPr/>
                    <a:lstStyle/>
                    <a:p>
                      <a:pPr algn="ctr">
                        <a:lnSpc>
                          <a:spcPct val="100000"/>
                        </a:lnSpc>
                        <a:spcBef>
                          <a:spcPts val="0"/>
                        </a:spcBef>
                        <a:spcAft>
                          <a:spcPts val="0"/>
                        </a:spcAft>
                      </a:pPr>
                      <a:r>
                        <a:rPr lang="en-GB" sz="1200" b="0" dirty="0">
                          <a:latin typeface="+mn-lt"/>
                          <a:cs typeface="Courier New"/>
                        </a:rPr>
                        <a:t>34 (8.6)</a:t>
                      </a:r>
                    </a:p>
                  </a:txBody>
                  <a:tcPr marL="121920" marR="121920" marT="36000" marB="36000" anchor="ctr" anchorCtr="1"/>
                </a:tc>
                <a:extLst>
                  <a:ext uri="{0D108BD9-81ED-4DB2-BD59-A6C34878D82A}">
                    <a16:rowId xmlns:a16="http://schemas.microsoft.com/office/drawing/2014/main" val="2741651915"/>
                  </a:ext>
                </a:extLst>
              </a:tr>
              <a:tr h="393667">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360000" marR="0" lvl="0" indent="0" algn="l" defTabSz="914400" rtl="0" eaLnBrk="1" fontAlgn="auto" latinLnBrk="0" hangingPunct="1">
                        <a:lnSpc>
                          <a:spcPct val="100000"/>
                        </a:lnSpc>
                        <a:spcBef>
                          <a:spcPts val="0"/>
                        </a:spcBef>
                        <a:spcAft>
                          <a:spcPts val="0"/>
                        </a:spcAft>
                        <a:buClrTx/>
                        <a:buSzTx/>
                        <a:buFontTx/>
                        <a:buNone/>
                        <a:tabLst/>
                        <a:defRPr/>
                      </a:pPr>
                      <a:r>
                        <a:rPr lang="ru-RU" sz="1200" b="0" dirty="0">
                          <a:effectLst/>
                        </a:rPr>
                        <a:t>Прекращение применения абиратерона</a:t>
                      </a:r>
                      <a:endParaRPr lang="ru-RU" sz="1200" b="0" dirty="0">
                        <a:effectLst/>
                        <a:latin typeface="Arial "/>
                        <a:ea typeface="Times New Roman" panose="02020603050405020304" pitchFamily="18" charset="0"/>
                        <a:cs typeface="Courier New"/>
                      </a:endParaRPr>
                    </a:p>
                  </a:txBody>
                  <a:tcPr marL="144000" marR="68580" marT="36000" marB="36000" anchor="ct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0" marR="0" algn="ctr" rtl="0">
                        <a:lnSpc>
                          <a:spcPct val="100000"/>
                        </a:lnSpc>
                        <a:spcBef>
                          <a:spcPts val="0"/>
                        </a:spcBef>
                        <a:spcAft>
                          <a:spcPts val="0"/>
                        </a:spcAft>
                      </a:pPr>
                      <a:r>
                        <a:rPr lang="ru-RU" sz="1200" b="0" dirty="0">
                          <a:effectLst/>
                        </a:rPr>
                        <a:t>34 (8,5)</a:t>
                      </a:r>
                      <a:endParaRPr lang="ru-RU" sz="1200" b="0" dirty="0">
                        <a:effectLst/>
                        <a:latin typeface="Arial "/>
                        <a:ea typeface="Times New Roman" panose="02020603050405020304" pitchFamily="18" charset="0"/>
                        <a:cs typeface="Times New Roman" panose="02020603050405020304" pitchFamily="18" charset="0"/>
                      </a:endParaRPr>
                    </a:p>
                  </a:txBody>
                  <a:tcPr marL="68580" marR="68580" marT="36000" marB="36000" anchor="ctr">
                    <a:solidFill>
                      <a:schemeClr val="accent3">
                        <a:lumMod val="60000"/>
                        <a:lumOff val="40000"/>
                        <a:alpha val="20000"/>
                      </a:schemeClr>
                    </a:solidFill>
                  </a:tcPr>
                </a:tc>
                <a:tc>
                  <a:txBody>
                    <a:bodyPr/>
                    <a:lstStyle/>
                    <a:p>
                      <a:pPr marL="0" marR="0" algn="ctr" rtl="0">
                        <a:lnSpc>
                          <a:spcPct val="100000"/>
                        </a:lnSpc>
                        <a:spcBef>
                          <a:spcPts val="0"/>
                        </a:spcBef>
                        <a:spcAft>
                          <a:spcPts val="0"/>
                        </a:spcAft>
                      </a:pPr>
                      <a:r>
                        <a:rPr lang="ru-RU" sz="1200" b="0" dirty="0">
                          <a:effectLst/>
                        </a:rPr>
                        <a:t>41 (10,3)</a:t>
                      </a:r>
                      <a:endParaRPr lang="ru-RU" sz="1200" b="0" dirty="0">
                        <a:effectLst/>
                        <a:latin typeface="Arial "/>
                        <a:ea typeface="Times New Roman" panose="02020603050405020304" pitchFamily="18" charset="0"/>
                        <a:cs typeface="Times New Roman" panose="02020603050405020304" pitchFamily="18" charset="0"/>
                      </a:endParaRPr>
                    </a:p>
                  </a:txBody>
                  <a:tcPr marL="68580" marR="68580" marT="36000" marB="36000" anchor="ctr">
                    <a:solidFill>
                      <a:schemeClr val="accent3">
                        <a:lumMod val="60000"/>
                        <a:lumOff val="40000"/>
                        <a:alpha val="20000"/>
                      </a:schemeClr>
                    </a:solidFill>
                  </a:tcPr>
                </a:tc>
                <a:tc>
                  <a:txBody>
                    <a:bodyPr/>
                    <a:lstStyle/>
                    <a:p>
                      <a:pPr marL="0" marR="0" algn="ctr">
                        <a:lnSpc>
                          <a:spcPct val="100000"/>
                        </a:lnSpc>
                        <a:spcBef>
                          <a:spcPts val="0"/>
                        </a:spcBef>
                        <a:spcAft>
                          <a:spcPts val="0"/>
                        </a:spcAft>
                      </a:pPr>
                      <a:r>
                        <a:rPr lang="en-GB" sz="1200" b="0" dirty="0">
                          <a:effectLst/>
                          <a:latin typeface="+mn-lt"/>
                          <a:ea typeface="Times New Roman" panose="02020603050405020304" pitchFamily="18" charset="0"/>
                          <a:cs typeface="Times New Roman" panose="02020603050405020304" pitchFamily="18" charset="0"/>
                        </a:rPr>
                        <a:t>45 (11.3)</a:t>
                      </a:r>
                    </a:p>
                  </a:txBody>
                  <a:tcPr marL="68580" marR="68580" marT="36000" marB="36000" anchor="ctr">
                    <a:solidFill>
                      <a:schemeClr val="accent3">
                        <a:lumMod val="60000"/>
                        <a:lumOff val="40000"/>
                        <a:alpha val="20000"/>
                      </a:schemeClr>
                    </a:solidFill>
                  </a:tcPr>
                </a:tc>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0" marR="0" algn="ctr" rtl="0">
                        <a:lnSpc>
                          <a:spcPct val="100000"/>
                        </a:lnSpc>
                        <a:spcBef>
                          <a:spcPts val="0"/>
                        </a:spcBef>
                        <a:spcAft>
                          <a:spcPts val="0"/>
                        </a:spcAft>
                      </a:pPr>
                      <a:r>
                        <a:rPr lang="ru-RU" sz="1200" b="0">
                          <a:effectLst/>
                        </a:rPr>
                        <a:t>35 (8,8)</a:t>
                      </a:r>
                      <a:endParaRPr lang="ru-RU" sz="1200" b="0">
                        <a:effectLst/>
                        <a:latin typeface="Arial "/>
                        <a:ea typeface="Times New Roman" panose="02020603050405020304" pitchFamily="18" charset="0"/>
                        <a:cs typeface="Times New Roman" panose="02020603050405020304" pitchFamily="18" charset="0"/>
                      </a:endParaRPr>
                    </a:p>
                  </a:txBody>
                  <a:tcPr marL="68580" marR="68580" marT="36000" marB="36000" anchor="ctr"/>
                </a:tc>
                <a:tc>
                  <a:txBody>
                    <a:bodyPr/>
                    <a:lstStyle/>
                    <a:p>
                      <a:pPr marL="0" marR="0" algn="ctr" rtl="0">
                        <a:lnSpc>
                          <a:spcPct val="100000"/>
                        </a:lnSpc>
                        <a:spcBef>
                          <a:spcPts val="0"/>
                        </a:spcBef>
                        <a:spcAft>
                          <a:spcPts val="0"/>
                        </a:spcAft>
                      </a:pPr>
                      <a:r>
                        <a:rPr lang="ru-RU" sz="1200" b="0" dirty="0">
                          <a:effectLst/>
                        </a:rPr>
                        <a:t> 35 (8,8)</a:t>
                      </a:r>
                      <a:endParaRPr lang="ru-RU" sz="1200" b="0" dirty="0">
                        <a:effectLst/>
                        <a:latin typeface="Arial "/>
                        <a:ea typeface="Times New Roman" panose="02020603050405020304" pitchFamily="18" charset="0"/>
                        <a:cs typeface="Times New Roman" panose="02020603050405020304" pitchFamily="18" charset="0"/>
                      </a:endParaRPr>
                    </a:p>
                  </a:txBody>
                  <a:tcPr marL="68580" marR="68580" marT="36000" marB="36000" anchor="ctr"/>
                </a:tc>
                <a:tc>
                  <a:txBody>
                    <a:bodyPr/>
                    <a:lstStyle/>
                    <a:p>
                      <a:pPr marL="0" marR="0" algn="ctr">
                        <a:lnSpc>
                          <a:spcPct val="100000"/>
                        </a:lnSpc>
                        <a:spcBef>
                          <a:spcPts val="0"/>
                        </a:spcBef>
                        <a:spcAft>
                          <a:spcPts val="0"/>
                        </a:spcAft>
                      </a:pPr>
                      <a:r>
                        <a:rPr lang="en-GB" sz="1200" b="0" dirty="0">
                          <a:effectLst/>
                          <a:latin typeface="+mn-lt"/>
                          <a:ea typeface="Times New Roman" panose="02020603050405020304" pitchFamily="18" charset="0"/>
                          <a:cs typeface="Times New Roman" panose="02020603050405020304" pitchFamily="18" charset="0"/>
                        </a:rPr>
                        <a:t>37 (9.3)</a:t>
                      </a:r>
                    </a:p>
                  </a:txBody>
                  <a:tcPr marL="68580" marR="68580" marT="36000" marB="36000" anchor="ctr"/>
                </a:tc>
                <a:extLst>
                  <a:ext uri="{0D108BD9-81ED-4DB2-BD59-A6C34878D82A}">
                    <a16:rowId xmlns:a16="http://schemas.microsoft.com/office/drawing/2014/main" val="3045782930"/>
                  </a:ext>
                </a:extLst>
              </a:tr>
            </a:tbl>
          </a:graphicData>
        </a:graphic>
      </p:graphicFrame>
    </p:spTree>
    <p:extLst>
      <p:ext uri="{BB962C8B-B14F-4D97-AF65-F5344CB8AC3E}">
        <p14:creationId xmlns:p14="http://schemas.microsoft.com/office/powerpoint/2010/main" val="6917279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7A57DA1-917D-4473-B9A8-41D4EF81F64A}"/>
              </a:ext>
            </a:extLst>
          </p:cNvPr>
          <p:cNvSpPr>
            <a:spLocks noGrp="1"/>
          </p:cNvSpPr>
          <p:nvPr>
            <p:ph type="title"/>
          </p:nvPr>
        </p:nvSpPr>
        <p:spPr>
          <a:xfrm>
            <a:off x="407988" y="183566"/>
            <a:ext cx="11436682" cy="864655"/>
          </a:xfrm>
        </p:spPr>
        <p:txBody>
          <a:bodyPr rtlCol="0">
            <a:noAutofit/>
          </a:bodyPr>
          <a:lstStyle/>
          <a:p>
            <a:pPr rtl="0"/>
            <a:r>
              <a:rPr lang="ru-RU" sz="2000" b="1" i="1" dirty="0">
                <a:latin typeface="+mn-lt"/>
                <a:ea typeface="+mn-ea"/>
                <a:cs typeface="+mn-cs"/>
              </a:rPr>
              <a:t>На момент третьего анализа данных исследования </a:t>
            </a:r>
            <a:r>
              <a:rPr lang="ru-RU" sz="2000" b="1" i="1" dirty="0" err="1">
                <a:latin typeface="+mn-lt"/>
                <a:ea typeface="+mn-ea"/>
                <a:cs typeface="+mn-cs"/>
              </a:rPr>
              <a:t>PROpel</a:t>
            </a:r>
            <a:r>
              <a:rPr lang="ru-RU" sz="2000" b="1" i="1" dirty="0">
                <a:latin typeface="+mn-lt"/>
                <a:ea typeface="+mn-ea"/>
                <a:cs typeface="+mn-cs"/>
              </a:rPr>
              <a:t> комбинация олапариба и </a:t>
            </a:r>
            <a:r>
              <a:rPr lang="ru-RU" sz="2000" b="1" i="1" dirty="0" err="1">
                <a:latin typeface="+mn-lt"/>
                <a:ea typeface="+mn-ea"/>
                <a:cs typeface="+mn-cs"/>
              </a:rPr>
              <a:t>абиратерона</a:t>
            </a:r>
            <a:r>
              <a:rPr lang="ru-RU" sz="2000" b="1" i="1" dirty="0">
                <a:latin typeface="+mn-lt"/>
                <a:ea typeface="+mn-ea"/>
                <a:cs typeface="+mn-cs"/>
              </a:rPr>
              <a:t> продолжает демонстрировать контролируемый и предсказуемый профиль безопасности, позволяющий большинству пациентов получать наибольшую пользу, продолжая терапию до прогрессирования заболевания</a:t>
            </a:r>
            <a:r>
              <a:rPr lang="ru-RU" sz="1800" baseline="30000" dirty="0"/>
              <a:t>1</a:t>
            </a:r>
          </a:p>
        </p:txBody>
      </p:sp>
      <p:sp>
        <p:nvSpPr>
          <p:cNvPr id="10" name="Text Placeholder 9">
            <a:extLst>
              <a:ext uri="{FF2B5EF4-FFF2-40B4-BE49-F238E27FC236}">
                <a16:creationId xmlns:a16="http://schemas.microsoft.com/office/drawing/2014/main" id="{781DDE5F-C3B0-4904-B3A3-05A17D1514FF}"/>
              </a:ext>
            </a:extLst>
          </p:cNvPr>
          <p:cNvSpPr>
            <a:spLocks noGrp="1"/>
          </p:cNvSpPr>
          <p:nvPr>
            <p:ph type="body" sz="quarter" idx="111"/>
          </p:nvPr>
        </p:nvSpPr>
        <p:spPr>
          <a:xfrm>
            <a:off x="407988" y="5862085"/>
            <a:ext cx="10490384" cy="995916"/>
          </a:xfrm>
        </p:spPr>
        <p:txBody>
          <a:bodyPr rtlCol="0"/>
          <a:lstStyle/>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r>
              <a:rPr lang="ru-RU" sz="900" b="1" dirty="0">
                <a:latin typeface="Calibri body"/>
              </a:rPr>
              <a:t>Два случая МДС/ОМЛ выявлено в группе комбинации олапариба и </a:t>
            </a:r>
            <a:r>
              <a:rPr lang="ru-RU" sz="900" b="1" dirty="0" err="1">
                <a:latin typeface="Calibri body"/>
              </a:rPr>
              <a:t>абиратерона</a:t>
            </a:r>
            <a:r>
              <a:rPr lang="ru-RU" sz="900" b="1" dirty="0">
                <a:latin typeface="Calibri body"/>
              </a:rPr>
              <a:t> на момент третьего среза данных</a:t>
            </a:r>
            <a:r>
              <a:rPr lang="en-US" sz="900" b="1" dirty="0">
                <a:latin typeface="Calibri body"/>
              </a:rPr>
              <a:t>.</a:t>
            </a:r>
            <a:endParaRPr lang="ru-RU" sz="900" b="1" dirty="0">
              <a:latin typeface="Calibri body"/>
            </a:endParaRPr>
          </a:p>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r>
              <a:rPr lang="ru-RU" sz="900" b="1" dirty="0">
                <a:latin typeface="Calibri body"/>
              </a:rPr>
              <a:t>Частота случаев возникновения новых первичных злокачественных новообразований и </a:t>
            </a:r>
            <a:r>
              <a:rPr lang="ru-RU" sz="900" b="1" dirty="0" err="1">
                <a:latin typeface="Calibri body"/>
              </a:rPr>
              <a:t>пневмонита</a:t>
            </a:r>
            <a:r>
              <a:rPr lang="ru-RU" sz="900" b="1" dirty="0">
                <a:latin typeface="Calibri body"/>
              </a:rPr>
              <a:t> была сходной в группах лечения.</a:t>
            </a:r>
          </a:p>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r>
              <a:rPr lang="ru-RU" sz="900" b="1" i="0" u="none" strike="noStrike" kern="1200" cap="none" spc="0" normalizeH="0" noProof="0" dirty="0">
                <a:ln>
                  <a:noFill/>
                </a:ln>
                <a:solidFill>
                  <a:schemeClr val="tx1"/>
                </a:solidFill>
                <a:effectLst/>
                <a:uLnTx/>
                <a:uFillTx/>
                <a:latin typeface="Calibri body"/>
              </a:rPr>
              <a:t>Частота тромбоэмболии легочной артерии и сердечно-сосудистых событий была сходной во всех анализах данных.</a:t>
            </a:r>
          </a:p>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endParaRPr lang="ru-RU" sz="700" b="1" i="0" u="none" strike="noStrike" kern="1200" cap="none" spc="0" normalizeH="0" noProof="0" dirty="0">
              <a:ln>
                <a:noFill/>
              </a:ln>
              <a:solidFill>
                <a:schemeClr val="tx1"/>
              </a:solidFill>
              <a:effectLst/>
              <a:uLnTx/>
              <a:uFillTx/>
              <a:latin typeface="Calibri body"/>
            </a:endParaRPr>
          </a:p>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r>
              <a:rPr lang="ru-RU" sz="700" b="0" i="0" u="none" strike="noStrike" kern="1200" cap="none" spc="0" normalizeH="0" noProof="0" dirty="0">
                <a:ln>
                  <a:noFill/>
                </a:ln>
                <a:solidFill>
                  <a:schemeClr val="tx1"/>
                </a:solidFill>
                <a:effectLst/>
                <a:uLnTx/>
                <a:uFillTx/>
                <a:latin typeface="Calibri body"/>
              </a:rPr>
              <a:t>Первичный срез данных: 30 июля 2021 года</a:t>
            </a:r>
            <a:r>
              <a:rPr lang="ru-RU" sz="700" dirty="0">
                <a:solidFill>
                  <a:schemeClr val="tx1"/>
                </a:solidFill>
                <a:latin typeface="Calibri body"/>
              </a:rPr>
              <a:t>; Второй срез данных: 14 марта 2022 г.; Третий срез данных: 12 октября 2022 г. </a:t>
            </a:r>
            <a:r>
              <a:rPr lang="ru-RU" sz="700" dirty="0">
                <a:latin typeface="Calibri body"/>
              </a:rPr>
              <a:t>НЯ — нежелательное явление; ОМЛ — острый </a:t>
            </a:r>
            <a:r>
              <a:rPr lang="ru-RU" sz="700" dirty="0" err="1">
                <a:latin typeface="Calibri body"/>
              </a:rPr>
              <a:t>миелолейкоз</a:t>
            </a:r>
            <a:r>
              <a:rPr lang="ru-RU" sz="700" dirty="0">
                <a:latin typeface="Calibri body"/>
              </a:rPr>
              <a:t>; СТСАЕ — общие терминологические критерии оценки тяжести нежелательных явлений (</a:t>
            </a:r>
            <a:r>
              <a:rPr lang="ru-RU" sz="700" dirty="0" err="1">
                <a:latin typeface="Calibri body"/>
              </a:rPr>
              <a:t>Common</a:t>
            </a:r>
            <a:r>
              <a:rPr lang="ru-RU" sz="700" dirty="0">
                <a:latin typeface="Calibri body"/>
              </a:rPr>
              <a:t> </a:t>
            </a:r>
            <a:r>
              <a:rPr lang="ru-RU" sz="700" dirty="0" err="1">
                <a:latin typeface="Calibri body"/>
              </a:rPr>
              <a:t>Terminology</a:t>
            </a:r>
            <a:r>
              <a:rPr lang="ru-RU" sz="700" dirty="0">
                <a:latin typeface="Calibri body"/>
              </a:rPr>
              <a:t> </a:t>
            </a:r>
            <a:r>
              <a:rPr lang="ru-RU" sz="700" dirty="0" err="1">
                <a:latin typeface="Calibri body"/>
              </a:rPr>
              <a:t>Criteria</a:t>
            </a:r>
            <a:r>
              <a:rPr lang="ru-RU" sz="700" dirty="0">
                <a:latin typeface="Calibri body"/>
              </a:rPr>
              <a:t> for </a:t>
            </a:r>
            <a:r>
              <a:rPr lang="ru-RU" sz="700" dirty="0" err="1">
                <a:latin typeface="Calibri body"/>
              </a:rPr>
              <a:t>Adverse</a:t>
            </a:r>
            <a:r>
              <a:rPr lang="ru-RU" sz="700" dirty="0">
                <a:latin typeface="Calibri body"/>
              </a:rPr>
              <a:t> Events); МДС — </a:t>
            </a:r>
            <a:r>
              <a:rPr lang="ru-RU" sz="700" dirty="0" err="1">
                <a:latin typeface="Calibri body"/>
              </a:rPr>
              <a:t>миелодиспластический</a:t>
            </a:r>
            <a:r>
              <a:rPr lang="ru-RU" sz="700" dirty="0">
                <a:latin typeface="Calibri body"/>
              </a:rPr>
              <a:t> синдром.  </a:t>
            </a:r>
          </a:p>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r>
              <a:rPr lang="ru-RU" sz="700" kern="0" dirty="0">
                <a:latin typeface="Calibri body"/>
                <a:cs typeface="Arial" panose="020B0604020202020204" pitchFamily="34" charset="0"/>
              </a:rPr>
              <a:t>1.</a:t>
            </a:r>
            <a:r>
              <a:rPr lang="ru-RU" sz="700" b="0" i="0" u="none" strike="noStrike" kern="0" cap="none" spc="0" noProof="0" dirty="0">
                <a:ln>
                  <a:noFill/>
                </a:ln>
                <a:effectLst/>
                <a:uLnTx/>
                <a:uFillTx/>
                <a:latin typeface="Calibri body"/>
                <a:cs typeface="Calibri" panose="020F0502020204030204" pitchFamily="34" charset="0"/>
              </a:rPr>
              <a:t> Saad F, et al. Представлено на ежегодном конгрессе ESMO 2022. 9–13 сентября. Париж, Франция. </a:t>
            </a:r>
            <a:r>
              <a:rPr lang="ru-RU" sz="700" b="0" i="0" u="none" strike="noStrike" kern="0" cap="none" spc="0" noProof="0" dirty="0" err="1">
                <a:ln>
                  <a:noFill/>
                </a:ln>
                <a:effectLst/>
                <a:uLnTx/>
                <a:uFillTx/>
                <a:latin typeface="Calibri body"/>
                <a:cs typeface="Calibri" panose="020F0502020204030204" pitchFamily="34" charset="0"/>
              </a:rPr>
              <a:t>Abstract</a:t>
            </a:r>
            <a:r>
              <a:rPr lang="ru-RU" sz="700" b="0" i="0" u="none" strike="noStrike" kern="0" cap="none" spc="0" noProof="0" dirty="0">
                <a:ln>
                  <a:noFill/>
                </a:ln>
                <a:effectLst/>
                <a:uLnTx/>
                <a:uFillTx/>
                <a:latin typeface="Calibri body"/>
                <a:cs typeface="Calibri" panose="020F0502020204030204" pitchFamily="34" charset="0"/>
              </a:rPr>
              <a:t> #13570; </a:t>
            </a:r>
            <a:r>
              <a:rPr lang="en-US" sz="700" b="0" i="0" u="none" strike="noStrike" kern="0" cap="none" spc="0" noProof="0" dirty="0">
                <a:ln>
                  <a:noFill/>
                </a:ln>
                <a:effectLst/>
                <a:uLnTx/>
                <a:uFillTx/>
                <a:latin typeface="Calibri body"/>
                <a:cs typeface="Calibri" panose="020F0502020204030204" pitchFamily="34" charset="0"/>
              </a:rPr>
              <a:t>2. Clarke N, et al. Presented at ASCO GU 2023. 16–18 February. San Francisco, US. Abstract #LBA16.</a:t>
            </a:r>
            <a:endParaRPr lang="en-GB" sz="700" dirty="0">
              <a:latin typeface="Calibri body"/>
            </a:endParaRPr>
          </a:p>
        </p:txBody>
      </p:sp>
      <p:graphicFrame>
        <p:nvGraphicFramePr>
          <p:cNvPr id="7" name="Table 10">
            <a:extLst>
              <a:ext uri="{FF2B5EF4-FFF2-40B4-BE49-F238E27FC236}">
                <a16:creationId xmlns:a16="http://schemas.microsoft.com/office/drawing/2014/main" id="{45315C8E-9691-CE62-BABA-40D26520985B}"/>
              </a:ext>
            </a:extLst>
          </p:cNvPr>
          <p:cNvGraphicFramePr>
            <a:graphicFrameLocks noGrp="1"/>
          </p:cNvGraphicFramePr>
          <p:nvPr>
            <p:extLst>
              <p:ext uri="{D42A27DB-BD31-4B8C-83A1-F6EECF244321}">
                <p14:modId xmlns:p14="http://schemas.microsoft.com/office/powerpoint/2010/main" val="3987341086"/>
              </p:ext>
            </p:extLst>
          </p:nvPr>
        </p:nvGraphicFramePr>
        <p:xfrm>
          <a:off x="638335" y="1554297"/>
          <a:ext cx="9831544" cy="4236850"/>
        </p:xfrm>
        <a:graphic>
          <a:graphicData uri="http://schemas.openxmlformats.org/drawingml/2006/table">
            <a:tbl>
              <a:tblPr firstRow="1" bandRow="1">
                <a:tableStyleId>{616DA210-FB5B-4158-B5E0-FEB733F419BA}</a:tableStyleId>
              </a:tblPr>
              <a:tblGrid>
                <a:gridCol w="3606434">
                  <a:extLst>
                    <a:ext uri="{9D8B030D-6E8A-4147-A177-3AD203B41FA5}">
                      <a16:colId xmlns:a16="http://schemas.microsoft.com/office/drawing/2014/main" val="256280186"/>
                    </a:ext>
                  </a:extLst>
                </a:gridCol>
                <a:gridCol w="3112555">
                  <a:extLst>
                    <a:ext uri="{9D8B030D-6E8A-4147-A177-3AD203B41FA5}">
                      <a16:colId xmlns:a16="http://schemas.microsoft.com/office/drawing/2014/main" val="2611819421"/>
                    </a:ext>
                  </a:extLst>
                </a:gridCol>
                <a:gridCol w="3112555">
                  <a:extLst>
                    <a:ext uri="{9D8B030D-6E8A-4147-A177-3AD203B41FA5}">
                      <a16:colId xmlns:a16="http://schemas.microsoft.com/office/drawing/2014/main" val="3546097202"/>
                    </a:ext>
                  </a:extLst>
                </a:gridCol>
              </a:tblGrid>
              <a:tr h="440746">
                <a:tc>
                  <a:txBody>
                    <a:bodyPr/>
                    <a:lstStyle/>
                    <a:p>
                      <a:pPr rtl="0"/>
                      <a:endParaRPr lang="en-GB" sz="1200" dirty="0">
                        <a:solidFill>
                          <a:schemeClr val="bg1"/>
                        </a:solidFill>
                        <a:latin typeface="Arial "/>
                      </a:endParaRPr>
                    </a:p>
                  </a:txBody>
                  <a:tcPr anchor="b"/>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ru-RU" sz="1200" b="1" dirty="0">
                          <a:solidFill>
                            <a:schemeClr val="tx1"/>
                          </a:solidFill>
                        </a:rPr>
                        <a:t>Олапариб + </a:t>
                      </a:r>
                      <a:r>
                        <a:rPr lang="ru-RU" sz="1200" b="1" dirty="0" err="1">
                          <a:solidFill>
                            <a:schemeClr val="tx1"/>
                          </a:solidFill>
                        </a:rPr>
                        <a:t>абиратерон</a:t>
                      </a:r>
                      <a:r>
                        <a:rPr lang="ru-RU" sz="1200" b="1" dirty="0">
                          <a:solidFill>
                            <a:schemeClr val="tx1"/>
                          </a:solidFill>
                        </a:rPr>
                        <a:t> (n = 398)</a:t>
                      </a:r>
                      <a:endParaRPr lang="ru-RU" sz="1200" b="1" dirty="0">
                        <a:solidFill>
                          <a:schemeClr val="tx1"/>
                        </a:solidFill>
                        <a:latin typeface="Arial "/>
                      </a:endParaRPr>
                    </a:p>
                  </a:txBody>
                  <a:tcPr marT="0" anchor="ctr">
                    <a:solidFill>
                      <a:schemeClr val="accent3"/>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ru-RU" sz="1200" b="1" dirty="0">
                          <a:solidFill>
                            <a:schemeClr val="bg1"/>
                          </a:solidFill>
                        </a:rPr>
                        <a:t>Плацебо + </a:t>
                      </a:r>
                      <a:r>
                        <a:rPr lang="ru-RU" sz="1200" b="1" dirty="0" err="1">
                          <a:solidFill>
                            <a:schemeClr val="bg1"/>
                          </a:solidFill>
                        </a:rPr>
                        <a:t>абиратерон</a:t>
                      </a:r>
                      <a:r>
                        <a:rPr lang="ru-RU" sz="1200" b="1" dirty="0">
                          <a:solidFill>
                            <a:schemeClr val="bg1"/>
                          </a:solidFill>
                        </a:rPr>
                        <a:t> (n = 396)</a:t>
                      </a:r>
                      <a:endParaRPr lang="ru-RU" sz="1200" b="1" dirty="0">
                        <a:solidFill>
                          <a:schemeClr val="bg1"/>
                        </a:solidFill>
                        <a:latin typeface="Arial "/>
                      </a:endParaRPr>
                    </a:p>
                  </a:txBody>
                  <a:tcPr marT="0" anchor="ctr">
                    <a:solidFill>
                      <a:schemeClr val="tx1"/>
                    </a:solidFill>
                  </a:tcPr>
                </a:tc>
                <a:extLst>
                  <a:ext uri="{0D108BD9-81ED-4DB2-BD59-A6C34878D82A}">
                    <a16:rowId xmlns:a16="http://schemas.microsoft.com/office/drawing/2014/main" val="2899970139"/>
                  </a:ext>
                </a:extLst>
              </a:tr>
              <a:tr h="426650">
                <a:tc>
                  <a:txBody>
                    <a:bodyPr/>
                    <a:lstStyle>
                      <a:lvl1pPr marL="0" algn="l" defTabSz="609585" rtl="0" eaLnBrk="1" latinLnBrk="0" hangingPunct="1">
                        <a:defRPr sz="2400" b="1" kern="1200">
                          <a:solidFill>
                            <a:schemeClr val="lt1"/>
                          </a:solidFill>
                          <a:latin typeface="Arial" panose="020B0604020202020204"/>
                        </a:defRPr>
                      </a:lvl1pPr>
                      <a:lvl2pPr marL="609585" algn="l" defTabSz="609585" rtl="0" eaLnBrk="1" latinLnBrk="0" hangingPunct="1">
                        <a:defRPr sz="2400" b="1" kern="1200">
                          <a:solidFill>
                            <a:schemeClr val="lt1"/>
                          </a:solidFill>
                          <a:latin typeface="Arial" panose="020B0604020202020204"/>
                        </a:defRPr>
                      </a:lvl2pPr>
                      <a:lvl3pPr marL="1219170" algn="l" defTabSz="609585" rtl="0" eaLnBrk="1" latinLnBrk="0" hangingPunct="1">
                        <a:defRPr sz="2400" b="1" kern="1200">
                          <a:solidFill>
                            <a:schemeClr val="lt1"/>
                          </a:solidFill>
                          <a:latin typeface="Arial" panose="020B0604020202020204"/>
                        </a:defRPr>
                      </a:lvl3pPr>
                      <a:lvl4pPr marL="1828754" algn="l" defTabSz="609585" rtl="0" eaLnBrk="1" latinLnBrk="0" hangingPunct="1">
                        <a:defRPr sz="2400" b="1" kern="1200">
                          <a:solidFill>
                            <a:schemeClr val="lt1"/>
                          </a:solidFill>
                          <a:latin typeface="Arial" panose="020B0604020202020204"/>
                        </a:defRPr>
                      </a:lvl4pPr>
                      <a:lvl5pPr marL="2438339" algn="l" defTabSz="609585" rtl="0" eaLnBrk="1" latinLnBrk="0" hangingPunct="1">
                        <a:defRPr sz="2400" b="1" kern="1200">
                          <a:solidFill>
                            <a:schemeClr val="lt1"/>
                          </a:solidFill>
                          <a:latin typeface="Arial" panose="020B0604020202020204"/>
                        </a:defRPr>
                      </a:lvl5pPr>
                      <a:lvl6pPr marL="3047924" algn="l" defTabSz="609585" rtl="0" eaLnBrk="1" latinLnBrk="0" hangingPunct="1">
                        <a:defRPr sz="2400" b="1" kern="1200">
                          <a:solidFill>
                            <a:schemeClr val="lt1"/>
                          </a:solidFill>
                          <a:latin typeface="Arial" panose="020B0604020202020204"/>
                        </a:defRPr>
                      </a:lvl6pPr>
                      <a:lvl7pPr marL="3657509" algn="l" defTabSz="609585" rtl="0" eaLnBrk="1" latinLnBrk="0" hangingPunct="1">
                        <a:defRPr sz="2400" b="1" kern="1200">
                          <a:solidFill>
                            <a:schemeClr val="lt1"/>
                          </a:solidFill>
                          <a:latin typeface="Arial" panose="020B0604020202020204"/>
                        </a:defRPr>
                      </a:lvl7pPr>
                      <a:lvl8pPr marL="4267093" algn="l" defTabSz="609585" rtl="0" eaLnBrk="1" latinLnBrk="0" hangingPunct="1">
                        <a:defRPr sz="2400" b="1" kern="1200">
                          <a:solidFill>
                            <a:schemeClr val="lt1"/>
                          </a:solidFill>
                          <a:latin typeface="Arial" panose="020B0604020202020204"/>
                        </a:defRPr>
                      </a:lvl8pPr>
                      <a:lvl9pPr marL="4876678" algn="l" defTabSz="609585" rtl="0" eaLnBrk="1" latinLnBrk="0" hangingPunct="1">
                        <a:defRPr sz="2400" b="1" kern="1200">
                          <a:solidFill>
                            <a:schemeClr val="lt1"/>
                          </a:solidFill>
                          <a:latin typeface="Arial" panose="020B0604020202020204"/>
                        </a:defRPr>
                      </a:lvl9pPr>
                    </a:lstStyle>
                    <a:p>
                      <a:pPr rtl="0"/>
                      <a:r>
                        <a:rPr lang="ru-RU" sz="1200" dirty="0">
                          <a:solidFill>
                            <a:schemeClr val="tx1"/>
                          </a:solidFill>
                        </a:rPr>
                        <a:t>n (%)</a:t>
                      </a:r>
                      <a:endParaRPr lang="ru-RU" sz="1200" dirty="0">
                        <a:solidFill>
                          <a:schemeClr val="tx1"/>
                        </a:solidFill>
                        <a:latin typeface="Arial "/>
                      </a:endParaRPr>
                    </a:p>
                  </a:txBody>
                  <a:tcPr anchor="ctr">
                    <a:solidFill>
                      <a:schemeClr val="tx1">
                        <a:alpha val="20000"/>
                      </a:schemeClr>
                    </a:solidFill>
                  </a:tcPr>
                </a:tc>
                <a:tc gridSpan="2">
                  <a:txBody>
                    <a:bodyPr/>
                    <a:lstStyle/>
                    <a:p>
                      <a:pPr algn="ctr" rtl="0"/>
                      <a:endParaRPr lang="ru-RU" sz="1200" b="1" dirty="0">
                        <a:solidFill>
                          <a:schemeClr val="tx1"/>
                        </a:solidFill>
                        <a:latin typeface="+mn-lt"/>
                        <a:cs typeface="Calibri" panose="020F0502020204030204" pitchFamily="34" charset="0"/>
                      </a:endParaRPr>
                    </a:p>
                  </a:txBody>
                  <a:tcPr marT="0" anchor="ctr">
                    <a:solidFill>
                      <a:schemeClr val="tx1">
                        <a:alpha val="20000"/>
                      </a:schemeClr>
                    </a:solidFill>
                  </a:tcP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ru-RU" sz="1200" b="1" i="0" u="none" strike="noStrike" kern="1200" cap="none" spc="0" normalizeH="0" baseline="0" noProof="0" dirty="0">
                        <a:ln>
                          <a:noFill/>
                        </a:ln>
                        <a:solidFill>
                          <a:srgbClr val="004D74"/>
                        </a:solidFill>
                        <a:effectLst/>
                        <a:uLnTx/>
                        <a:uFillTx/>
                        <a:latin typeface="+mn-lt"/>
                        <a:ea typeface="+mn-ea"/>
                        <a:cs typeface="Calibri" panose="020F0502020204030204" pitchFamily="34" charset="0"/>
                      </a:endParaRPr>
                    </a:p>
                  </a:txBody>
                  <a:tcPr marT="0" anchor="ctr"/>
                </a:tc>
                <a:extLst>
                  <a:ext uri="{0D108BD9-81ED-4DB2-BD59-A6C34878D82A}">
                    <a16:rowId xmlns:a16="http://schemas.microsoft.com/office/drawing/2014/main" val="2534889841"/>
                  </a:ext>
                </a:extLst>
              </a:tr>
              <a:tr h="426650">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rtl="0"/>
                      <a:r>
                        <a:rPr lang="ru-RU" sz="1200" b="0">
                          <a:solidFill>
                            <a:schemeClr val="tx1"/>
                          </a:solidFill>
                        </a:rPr>
                        <a:t>Любые НЯ</a:t>
                      </a:r>
                      <a:endParaRPr lang="ru-RU" sz="1200" b="0">
                        <a:solidFill>
                          <a:schemeClr val="tx1"/>
                        </a:solidFill>
                        <a:latin typeface="Arial "/>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chemeClr val="tx1"/>
                          </a:solidFill>
                          <a:latin typeface="+mn-lt"/>
                        </a:rPr>
                        <a:t>389 (97.7)</a:t>
                      </a:r>
                    </a:p>
                  </a:txBody>
                  <a:tcPr anchor="ctr"/>
                </a:tc>
                <a:tc>
                  <a:txBody>
                    <a:bodyPr/>
                    <a:lstStyle/>
                    <a:p>
                      <a:pPr algn="ctr"/>
                      <a:r>
                        <a:rPr lang="en-GB" sz="1200" dirty="0">
                          <a:solidFill>
                            <a:schemeClr val="tx1"/>
                          </a:solidFill>
                          <a:latin typeface="+mn-lt"/>
                        </a:rPr>
                        <a:t>380 (96.0)</a:t>
                      </a:r>
                    </a:p>
                  </a:txBody>
                  <a:tcPr anchor="ctr"/>
                </a:tc>
                <a:extLst>
                  <a:ext uri="{0D108BD9-81ED-4DB2-BD59-A6C34878D82A}">
                    <a16:rowId xmlns:a16="http://schemas.microsoft.com/office/drawing/2014/main" val="3432230878"/>
                  </a:ext>
                </a:extLst>
              </a:tr>
              <a:tr h="426650">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rtl="0"/>
                      <a:r>
                        <a:rPr lang="ru-RU" sz="1200" b="0" dirty="0">
                          <a:solidFill>
                            <a:schemeClr val="tx1"/>
                          </a:solidFill>
                        </a:rPr>
                        <a:t>Любое НЯ ≥ 3 степени тяжести по CTCAE</a:t>
                      </a:r>
                      <a:endParaRPr lang="ru-RU" sz="1200" b="0" dirty="0">
                        <a:solidFill>
                          <a:schemeClr val="tx1"/>
                        </a:solidFill>
                        <a:latin typeface="Arial "/>
                      </a:endParaRPr>
                    </a:p>
                  </a:txBody>
                  <a:tcPr anchor="ctr"/>
                </a:tc>
                <a:tc>
                  <a:txBody>
                    <a:bodyPr/>
                    <a:lstStyle/>
                    <a:p>
                      <a:pPr algn="ctr"/>
                      <a:r>
                        <a:rPr lang="en-GB" sz="1200" dirty="0">
                          <a:solidFill>
                            <a:schemeClr val="tx1"/>
                          </a:solidFill>
                          <a:latin typeface="+mn-lt"/>
                        </a:rPr>
                        <a:t>222 (55.8)</a:t>
                      </a:r>
                    </a:p>
                  </a:txBody>
                  <a:tcPr anchor="ctr">
                    <a:solidFill>
                      <a:schemeClr val="accent3">
                        <a:lumMod val="60000"/>
                        <a:lumOff val="40000"/>
                        <a:alpha val="20000"/>
                      </a:schemeClr>
                    </a:solidFill>
                  </a:tcPr>
                </a:tc>
                <a:tc>
                  <a:txBody>
                    <a:bodyPr/>
                    <a:lstStyle/>
                    <a:p>
                      <a:pPr algn="ctr"/>
                      <a:r>
                        <a:rPr lang="en-GB" sz="1200" dirty="0">
                          <a:solidFill>
                            <a:schemeClr val="tx1"/>
                          </a:solidFill>
                          <a:latin typeface="+mn-lt"/>
                        </a:rPr>
                        <a:t>171 (43.2)</a:t>
                      </a:r>
                    </a:p>
                  </a:txBody>
                  <a:tcPr anchor="ctr"/>
                </a:tc>
                <a:extLst>
                  <a:ext uri="{0D108BD9-81ED-4DB2-BD59-A6C34878D82A}">
                    <a16:rowId xmlns:a16="http://schemas.microsoft.com/office/drawing/2014/main" val="2283592731"/>
                  </a:ext>
                </a:extLst>
              </a:tr>
              <a:tr h="426650">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0" algn="l" defTabSz="914400" rtl="0" eaLnBrk="1" latinLnBrk="0" hangingPunct="1"/>
                      <a:r>
                        <a:rPr lang="ru-RU" sz="1200" b="0" kern="1200" dirty="0">
                          <a:solidFill>
                            <a:schemeClr val="tx1"/>
                          </a:solidFill>
                        </a:rPr>
                        <a:t>Летальные исходы по причине НЯ</a:t>
                      </a:r>
                      <a:endParaRPr lang="ru-RU" sz="1200" b="0" kern="1200" dirty="0">
                        <a:solidFill>
                          <a:schemeClr val="tx1"/>
                        </a:solidFill>
                        <a:latin typeface="Arial "/>
                        <a:ea typeface="+mn-ea"/>
                        <a:cs typeface="+mn-cs"/>
                      </a:endParaRPr>
                    </a:p>
                  </a:txBody>
                  <a:tcPr anchor="ctr"/>
                </a:tc>
                <a:tc>
                  <a:txBody>
                    <a:bodyPr/>
                    <a:lstStyle/>
                    <a:p>
                      <a:pPr algn="ctr"/>
                      <a:r>
                        <a:rPr lang="en-GB" sz="1200" b="0" dirty="0">
                          <a:solidFill>
                            <a:schemeClr val="tx1"/>
                          </a:solidFill>
                          <a:latin typeface="+mn-lt"/>
                        </a:rPr>
                        <a:t>26 (6.5)</a:t>
                      </a:r>
                    </a:p>
                  </a:txBody>
                  <a:tcPr anchor="ctr"/>
                </a:tc>
                <a:tc>
                  <a:txBody>
                    <a:bodyPr/>
                    <a:lstStyle/>
                    <a:p>
                      <a:pPr algn="ctr"/>
                      <a:r>
                        <a:rPr lang="en-GB" sz="1200" b="0" dirty="0">
                          <a:solidFill>
                            <a:schemeClr val="tx1"/>
                          </a:solidFill>
                          <a:latin typeface="+mn-lt"/>
                        </a:rPr>
                        <a:t>20 (5.1)</a:t>
                      </a:r>
                    </a:p>
                  </a:txBody>
                  <a:tcPr anchor="ctr"/>
                </a:tc>
                <a:extLst>
                  <a:ext uri="{0D108BD9-81ED-4DB2-BD59-A6C34878D82A}">
                    <a16:rowId xmlns:a16="http://schemas.microsoft.com/office/drawing/2014/main" val="4143462032"/>
                  </a:ext>
                </a:extLst>
              </a:tr>
              <a:tr h="426650">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rtl="0"/>
                      <a:r>
                        <a:rPr lang="ru-RU" sz="1200" kern="1600" dirty="0">
                          <a:effectLst/>
                        </a:rPr>
                        <a:t>НЯ, приведшие к принятию следующих мер:</a:t>
                      </a:r>
                      <a:endParaRPr lang="en-GB" sz="1200" b="1" dirty="0">
                        <a:solidFill>
                          <a:schemeClr val="tx1"/>
                        </a:solidFill>
                        <a:latin typeface="Arial "/>
                      </a:endParaRPr>
                    </a:p>
                  </a:txBody>
                  <a:tcPr anchor="ctr"/>
                </a:tc>
                <a:tc gridSpan="2">
                  <a:txBody>
                    <a:bodyPr/>
                    <a:lstStyle/>
                    <a:p>
                      <a:pPr marL="0" algn="ctr" defTabSz="609585" rtl="0" eaLnBrk="1" latinLnBrk="0" hangingPunct="1">
                        <a:lnSpc>
                          <a:spcPct val="100000"/>
                        </a:lnSpc>
                        <a:spcBef>
                          <a:spcPts val="0"/>
                        </a:spcBef>
                        <a:spcAft>
                          <a:spcPts val="0"/>
                        </a:spcAft>
                      </a:pPr>
                      <a:endParaRPr lang="en-GB" sz="1200" b="0" kern="1200" dirty="0">
                        <a:solidFill>
                          <a:schemeClr val="dk1"/>
                        </a:solidFill>
                        <a:latin typeface="Arial" panose="020B0604020202020204"/>
                        <a:ea typeface="+mn-ea"/>
                        <a:cs typeface="+mn-cs"/>
                      </a:endParaRPr>
                    </a:p>
                  </a:txBody>
                  <a:tcPr anchor="ctr"/>
                </a:tc>
                <a:tc hMerge="1">
                  <a:txBody>
                    <a:bodyPr/>
                    <a:lstStyle/>
                    <a:p>
                      <a:pPr marL="0" algn="ctr" defTabSz="609585" rtl="0" eaLnBrk="1" latinLnBrk="0" hangingPunct="1">
                        <a:lnSpc>
                          <a:spcPct val="100000"/>
                        </a:lnSpc>
                        <a:spcBef>
                          <a:spcPts val="0"/>
                        </a:spcBef>
                        <a:spcAft>
                          <a:spcPts val="0"/>
                        </a:spcAft>
                      </a:pPr>
                      <a:endParaRPr lang="en-GB" sz="1200" b="0" kern="1200" dirty="0">
                        <a:solidFill>
                          <a:schemeClr val="dk1"/>
                        </a:solidFill>
                        <a:latin typeface="Arial" panose="020B0604020202020204"/>
                        <a:ea typeface="+mn-ea"/>
                        <a:cs typeface="+mn-cs"/>
                      </a:endParaRPr>
                    </a:p>
                  </a:txBody>
                  <a:tcPr anchor="ctr"/>
                </a:tc>
                <a:extLst>
                  <a:ext uri="{0D108BD9-81ED-4DB2-BD59-A6C34878D82A}">
                    <a16:rowId xmlns:a16="http://schemas.microsoft.com/office/drawing/2014/main" val="1310370715"/>
                  </a:ext>
                </a:extLst>
              </a:tr>
              <a:tr h="393667">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360000" marR="0" lvl="0" rtl="0">
                        <a:lnSpc>
                          <a:spcPct val="100000"/>
                        </a:lnSpc>
                        <a:spcBef>
                          <a:spcPts val="0"/>
                        </a:spcBef>
                        <a:spcAft>
                          <a:spcPts val="0"/>
                        </a:spcAft>
                      </a:pPr>
                      <a:r>
                        <a:rPr lang="ru-RU" sz="1200" b="0" kern="1600">
                          <a:effectLst/>
                        </a:rPr>
                        <a:t>Приостановка применения олапариба/плацебо</a:t>
                      </a:r>
                      <a:endParaRPr lang="ru-RU" sz="1200" b="0" kern="1600">
                        <a:effectLst/>
                        <a:latin typeface="Arial "/>
                      </a:endParaRPr>
                    </a:p>
                  </a:txBody>
                  <a:tcPr marL="144000" marR="68580" marT="36000" marB="36000" anchor="ctr"/>
                </a:tc>
                <a:tc>
                  <a:txBody>
                    <a:bodyPr/>
                    <a:lstStyle/>
                    <a:p>
                      <a:pPr marL="0" marR="0" algn="ctr">
                        <a:lnSpc>
                          <a:spcPct val="100000"/>
                        </a:lnSpc>
                        <a:spcBef>
                          <a:spcPts val="0"/>
                        </a:spcBef>
                        <a:spcAft>
                          <a:spcPts val="0"/>
                        </a:spcAft>
                      </a:pPr>
                      <a:r>
                        <a:rPr lang="en-GB" sz="1200" dirty="0">
                          <a:effectLst/>
                          <a:latin typeface="+mn-lt"/>
                          <a:ea typeface="Times New Roman" panose="02020603050405020304" pitchFamily="18" charset="0"/>
                          <a:cs typeface="Times New Roman" panose="02020603050405020304" pitchFamily="18" charset="0"/>
                        </a:rPr>
                        <a:t>195 (49.0)</a:t>
                      </a:r>
                    </a:p>
                  </a:txBody>
                  <a:tcPr marL="68580" marR="68580" marT="36000" marB="36000" anchor="ctr"/>
                </a:tc>
                <a:tc>
                  <a:txBody>
                    <a:bodyPr/>
                    <a:lstStyle/>
                    <a:p>
                      <a:pPr marL="0" marR="0" algn="ctr">
                        <a:lnSpc>
                          <a:spcPct val="100000"/>
                        </a:lnSpc>
                        <a:spcBef>
                          <a:spcPts val="0"/>
                        </a:spcBef>
                        <a:spcAft>
                          <a:spcPts val="0"/>
                        </a:spcAft>
                      </a:pPr>
                      <a:r>
                        <a:rPr lang="en-GB" sz="1200" dirty="0">
                          <a:effectLst/>
                          <a:latin typeface="+mn-lt"/>
                          <a:ea typeface="Times New Roman" panose="02020603050405020304" pitchFamily="18" charset="0"/>
                          <a:cs typeface="Times New Roman" panose="02020603050405020304" pitchFamily="18" charset="0"/>
                        </a:rPr>
                        <a:t>112 (28.3)</a:t>
                      </a:r>
                    </a:p>
                  </a:txBody>
                  <a:tcPr marL="68580" marR="68580" marT="36000" marB="36000" anchor="ctr"/>
                </a:tc>
                <a:extLst>
                  <a:ext uri="{0D108BD9-81ED-4DB2-BD59-A6C34878D82A}">
                    <a16:rowId xmlns:a16="http://schemas.microsoft.com/office/drawing/2014/main" val="2834635822"/>
                  </a:ext>
                </a:extLst>
              </a:tr>
              <a:tr h="393667">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360000" marR="0" lvl="0" rtl="0">
                        <a:lnSpc>
                          <a:spcPct val="100000"/>
                        </a:lnSpc>
                        <a:spcBef>
                          <a:spcPts val="0"/>
                        </a:spcBef>
                        <a:spcAft>
                          <a:spcPts val="0"/>
                        </a:spcAft>
                      </a:pPr>
                      <a:r>
                        <a:rPr lang="ru-RU" sz="1200" b="0" kern="1600">
                          <a:effectLst/>
                        </a:rPr>
                        <a:t>Снижение дозы олапариба/плацебо</a:t>
                      </a:r>
                      <a:endParaRPr lang="en-GB" sz="1200" b="0" kern="1600">
                        <a:effectLst/>
                        <a:latin typeface="Arial "/>
                        <a:ea typeface="Times New Roman" panose="02020603050405020304" pitchFamily="18" charset="0"/>
                        <a:cs typeface="Arial" panose="020B0604020202020204" pitchFamily="34" charset="0"/>
                      </a:endParaRPr>
                    </a:p>
                  </a:txBody>
                  <a:tcPr marL="144000" marR="68580" marT="36000" marB="36000" anchor="ctr"/>
                </a:tc>
                <a:tc>
                  <a:txBody>
                    <a:bodyPr/>
                    <a:lstStyle/>
                    <a:p>
                      <a:pPr marL="0" marR="0" algn="ctr">
                        <a:lnSpc>
                          <a:spcPct val="100000"/>
                        </a:lnSpc>
                        <a:spcBef>
                          <a:spcPts val="0"/>
                        </a:spcBef>
                        <a:spcAft>
                          <a:spcPts val="0"/>
                        </a:spcAft>
                      </a:pPr>
                      <a:r>
                        <a:rPr lang="en-GB" sz="1200" dirty="0">
                          <a:effectLst/>
                          <a:latin typeface="+mn-lt"/>
                          <a:ea typeface="Times New Roman" panose="02020603050405020304" pitchFamily="18" charset="0"/>
                          <a:cs typeface="Times New Roman" panose="02020603050405020304" pitchFamily="18" charset="0"/>
                        </a:rPr>
                        <a:t>90 (22.6)</a:t>
                      </a:r>
                    </a:p>
                  </a:txBody>
                  <a:tcPr marL="68580" marR="68580" marT="36000" marB="36000" anchor="ctr">
                    <a:solidFill>
                      <a:schemeClr val="accent3">
                        <a:lumMod val="60000"/>
                        <a:lumOff val="40000"/>
                        <a:alpha val="20000"/>
                      </a:schemeClr>
                    </a:solidFill>
                  </a:tcPr>
                </a:tc>
                <a:tc>
                  <a:txBody>
                    <a:bodyPr/>
                    <a:lstStyle/>
                    <a:p>
                      <a:pPr marL="0" marR="0" algn="ctr">
                        <a:lnSpc>
                          <a:spcPct val="100000"/>
                        </a:lnSpc>
                        <a:spcBef>
                          <a:spcPts val="0"/>
                        </a:spcBef>
                        <a:spcAft>
                          <a:spcPts val="0"/>
                        </a:spcAft>
                      </a:pPr>
                      <a:r>
                        <a:rPr lang="en-GB" sz="1200" dirty="0">
                          <a:effectLst/>
                          <a:latin typeface="+mn-lt"/>
                          <a:ea typeface="Times New Roman" panose="02020603050405020304" pitchFamily="18" charset="0"/>
                          <a:cs typeface="Times New Roman" panose="02020603050405020304" pitchFamily="18" charset="0"/>
                        </a:rPr>
                        <a:t>24 (6.1)</a:t>
                      </a:r>
                    </a:p>
                  </a:txBody>
                  <a:tcPr marL="68580" marR="68580" marT="36000" marB="36000" anchor="ctr"/>
                </a:tc>
                <a:extLst>
                  <a:ext uri="{0D108BD9-81ED-4DB2-BD59-A6C34878D82A}">
                    <a16:rowId xmlns:a16="http://schemas.microsoft.com/office/drawing/2014/main" val="1949009773"/>
                  </a:ext>
                </a:extLst>
              </a:tr>
              <a:tr h="393667">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360000" marR="0" lvl="0" indent="0" algn="l" defTabSz="457189" rtl="0" eaLnBrk="1" fontAlgn="auto" latinLnBrk="0" hangingPunct="1">
                        <a:lnSpc>
                          <a:spcPct val="100000"/>
                        </a:lnSpc>
                        <a:spcBef>
                          <a:spcPts val="0"/>
                        </a:spcBef>
                        <a:spcAft>
                          <a:spcPts val="0"/>
                        </a:spcAft>
                        <a:buClrTx/>
                        <a:buSzTx/>
                        <a:buFontTx/>
                        <a:buNone/>
                        <a:tabLst/>
                        <a:defRPr/>
                      </a:pPr>
                      <a:r>
                        <a:rPr lang="ru-RU" sz="1200" b="0">
                          <a:effectLst/>
                        </a:rPr>
                        <a:t>Прекращение применения олапариба/плацебо </a:t>
                      </a:r>
                      <a:endParaRPr lang="ru-RU" sz="1200" b="0">
                        <a:effectLst/>
                        <a:latin typeface="Arial "/>
                        <a:ea typeface="Times New Roman" panose="02020603050405020304" pitchFamily="18" charset="0"/>
                        <a:cs typeface="Courier New"/>
                      </a:endParaRPr>
                    </a:p>
                  </a:txBody>
                  <a:tcPr marL="144000" marT="36000" marB="36000" anchor="ctr"/>
                </a:tc>
                <a:tc>
                  <a:txBody>
                    <a:bodyPr/>
                    <a:lstStyle/>
                    <a:p>
                      <a:pPr algn="ctr">
                        <a:lnSpc>
                          <a:spcPct val="100000"/>
                        </a:lnSpc>
                        <a:spcBef>
                          <a:spcPts val="0"/>
                        </a:spcBef>
                        <a:spcAft>
                          <a:spcPts val="0"/>
                        </a:spcAft>
                      </a:pPr>
                      <a:r>
                        <a:rPr lang="en-GB" sz="1200" b="0" dirty="0">
                          <a:latin typeface="+mn-lt"/>
                          <a:cs typeface="Courier New"/>
                        </a:rPr>
                        <a:t>69 (17.3)</a:t>
                      </a:r>
                    </a:p>
                  </a:txBody>
                  <a:tcPr marL="121920" marR="121920" marT="36000" marB="36000" anchor="ctr" anchorCtr="1"/>
                </a:tc>
                <a:tc>
                  <a:txBody>
                    <a:bodyPr/>
                    <a:lstStyle/>
                    <a:p>
                      <a:pPr algn="ctr">
                        <a:lnSpc>
                          <a:spcPct val="100000"/>
                        </a:lnSpc>
                        <a:spcBef>
                          <a:spcPts val="0"/>
                        </a:spcBef>
                        <a:spcAft>
                          <a:spcPts val="0"/>
                        </a:spcAft>
                      </a:pPr>
                      <a:r>
                        <a:rPr lang="en-GB" sz="1200" b="0" dirty="0">
                          <a:latin typeface="+mn-lt"/>
                          <a:cs typeface="Courier New"/>
                        </a:rPr>
                        <a:t>34 (8.6)</a:t>
                      </a:r>
                    </a:p>
                  </a:txBody>
                  <a:tcPr marL="121920" marR="121920" marT="36000" marB="36000" anchor="ctr" anchorCtr="1"/>
                </a:tc>
                <a:extLst>
                  <a:ext uri="{0D108BD9-81ED-4DB2-BD59-A6C34878D82A}">
                    <a16:rowId xmlns:a16="http://schemas.microsoft.com/office/drawing/2014/main" val="2741651915"/>
                  </a:ext>
                </a:extLst>
              </a:tr>
              <a:tr h="393667">
                <a:tc>
                  <a:txBody>
                    <a:bodyPr/>
                    <a:lstStyle>
                      <a:lvl1pPr marL="0" algn="l" defTabSz="609585" rtl="0" eaLnBrk="1" latinLnBrk="0" hangingPunct="1">
                        <a:defRPr sz="2400" kern="1200">
                          <a:solidFill>
                            <a:schemeClr val="dk1"/>
                          </a:solidFill>
                          <a:latin typeface="Arial" panose="020B0604020202020204"/>
                        </a:defRPr>
                      </a:lvl1pPr>
                      <a:lvl2pPr marL="609585" algn="l" defTabSz="609585" rtl="0" eaLnBrk="1" latinLnBrk="0" hangingPunct="1">
                        <a:defRPr sz="2400" kern="1200">
                          <a:solidFill>
                            <a:schemeClr val="dk1"/>
                          </a:solidFill>
                          <a:latin typeface="Arial" panose="020B0604020202020204"/>
                        </a:defRPr>
                      </a:lvl2pPr>
                      <a:lvl3pPr marL="1219170" algn="l" defTabSz="609585" rtl="0" eaLnBrk="1" latinLnBrk="0" hangingPunct="1">
                        <a:defRPr sz="2400" kern="1200">
                          <a:solidFill>
                            <a:schemeClr val="dk1"/>
                          </a:solidFill>
                          <a:latin typeface="Arial" panose="020B0604020202020204"/>
                        </a:defRPr>
                      </a:lvl3pPr>
                      <a:lvl4pPr marL="1828754" algn="l" defTabSz="609585" rtl="0" eaLnBrk="1" latinLnBrk="0" hangingPunct="1">
                        <a:defRPr sz="2400" kern="1200">
                          <a:solidFill>
                            <a:schemeClr val="dk1"/>
                          </a:solidFill>
                          <a:latin typeface="Arial" panose="020B0604020202020204"/>
                        </a:defRPr>
                      </a:lvl4pPr>
                      <a:lvl5pPr marL="2438339" algn="l" defTabSz="609585" rtl="0" eaLnBrk="1" latinLnBrk="0" hangingPunct="1">
                        <a:defRPr sz="2400" kern="1200">
                          <a:solidFill>
                            <a:schemeClr val="dk1"/>
                          </a:solidFill>
                          <a:latin typeface="Arial" panose="020B0604020202020204"/>
                        </a:defRPr>
                      </a:lvl5pPr>
                      <a:lvl6pPr marL="3047924" algn="l" defTabSz="609585" rtl="0" eaLnBrk="1" latinLnBrk="0" hangingPunct="1">
                        <a:defRPr sz="2400" kern="1200">
                          <a:solidFill>
                            <a:schemeClr val="dk1"/>
                          </a:solidFill>
                          <a:latin typeface="Arial" panose="020B0604020202020204"/>
                        </a:defRPr>
                      </a:lvl6pPr>
                      <a:lvl7pPr marL="3657509" algn="l" defTabSz="609585" rtl="0" eaLnBrk="1" latinLnBrk="0" hangingPunct="1">
                        <a:defRPr sz="2400" kern="1200">
                          <a:solidFill>
                            <a:schemeClr val="dk1"/>
                          </a:solidFill>
                          <a:latin typeface="Arial" panose="020B0604020202020204"/>
                        </a:defRPr>
                      </a:lvl7pPr>
                      <a:lvl8pPr marL="4267093" algn="l" defTabSz="609585" rtl="0" eaLnBrk="1" latinLnBrk="0" hangingPunct="1">
                        <a:defRPr sz="2400" kern="1200">
                          <a:solidFill>
                            <a:schemeClr val="dk1"/>
                          </a:solidFill>
                          <a:latin typeface="Arial" panose="020B0604020202020204"/>
                        </a:defRPr>
                      </a:lvl8pPr>
                      <a:lvl9pPr marL="4876678" algn="l" defTabSz="609585" rtl="0" eaLnBrk="1" latinLnBrk="0" hangingPunct="1">
                        <a:defRPr sz="2400" kern="1200">
                          <a:solidFill>
                            <a:schemeClr val="dk1"/>
                          </a:solidFill>
                          <a:latin typeface="Arial" panose="020B0604020202020204"/>
                        </a:defRPr>
                      </a:lvl9pPr>
                    </a:lstStyle>
                    <a:p>
                      <a:pPr marL="360000" marR="0" lvl="0" indent="0" algn="l" defTabSz="914400" rtl="0" eaLnBrk="1" fontAlgn="auto" latinLnBrk="0" hangingPunct="1">
                        <a:lnSpc>
                          <a:spcPct val="100000"/>
                        </a:lnSpc>
                        <a:spcBef>
                          <a:spcPts val="0"/>
                        </a:spcBef>
                        <a:spcAft>
                          <a:spcPts val="0"/>
                        </a:spcAft>
                        <a:buClrTx/>
                        <a:buSzTx/>
                        <a:buFontTx/>
                        <a:buNone/>
                        <a:tabLst/>
                        <a:defRPr/>
                      </a:pPr>
                      <a:r>
                        <a:rPr lang="ru-RU" sz="1200" b="0" dirty="0">
                          <a:effectLst/>
                        </a:rPr>
                        <a:t>Прекращение применения абиратерона</a:t>
                      </a:r>
                      <a:endParaRPr lang="ru-RU" sz="1200" b="0" dirty="0">
                        <a:effectLst/>
                        <a:latin typeface="Arial "/>
                        <a:ea typeface="Times New Roman" panose="02020603050405020304" pitchFamily="18" charset="0"/>
                        <a:cs typeface="Courier New"/>
                      </a:endParaRPr>
                    </a:p>
                  </a:txBody>
                  <a:tcPr marL="144000" marR="68580" marT="36000" marB="36000" anchor="ctr"/>
                </a:tc>
                <a:tc>
                  <a:txBody>
                    <a:bodyPr/>
                    <a:lstStyle/>
                    <a:p>
                      <a:pPr marL="0" marR="0" algn="ctr">
                        <a:lnSpc>
                          <a:spcPct val="100000"/>
                        </a:lnSpc>
                        <a:spcBef>
                          <a:spcPts val="0"/>
                        </a:spcBef>
                        <a:spcAft>
                          <a:spcPts val="0"/>
                        </a:spcAft>
                      </a:pPr>
                      <a:r>
                        <a:rPr lang="en-GB" sz="1200" b="0" dirty="0">
                          <a:effectLst/>
                          <a:latin typeface="+mn-lt"/>
                          <a:ea typeface="Times New Roman" panose="02020603050405020304" pitchFamily="18" charset="0"/>
                          <a:cs typeface="Times New Roman" panose="02020603050405020304" pitchFamily="18" charset="0"/>
                        </a:rPr>
                        <a:t>45 (11.3)</a:t>
                      </a:r>
                    </a:p>
                  </a:txBody>
                  <a:tcPr marL="68580" marR="68580" marT="36000" marB="36000" anchor="ctr">
                    <a:solidFill>
                      <a:schemeClr val="accent3">
                        <a:lumMod val="60000"/>
                        <a:lumOff val="40000"/>
                        <a:alpha val="20000"/>
                      </a:schemeClr>
                    </a:solidFill>
                  </a:tcPr>
                </a:tc>
                <a:tc>
                  <a:txBody>
                    <a:bodyPr/>
                    <a:lstStyle/>
                    <a:p>
                      <a:pPr marL="0" marR="0" algn="ctr">
                        <a:lnSpc>
                          <a:spcPct val="100000"/>
                        </a:lnSpc>
                        <a:spcBef>
                          <a:spcPts val="0"/>
                        </a:spcBef>
                        <a:spcAft>
                          <a:spcPts val="0"/>
                        </a:spcAft>
                      </a:pPr>
                      <a:r>
                        <a:rPr lang="en-GB" sz="1200" b="0" dirty="0">
                          <a:effectLst/>
                          <a:latin typeface="+mn-lt"/>
                          <a:ea typeface="Times New Roman" panose="02020603050405020304" pitchFamily="18" charset="0"/>
                          <a:cs typeface="Times New Roman" panose="02020603050405020304" pitchFamily="18" charset="0"/>
                        </a:rPr>
                        <a:t>37 (9.3)</a:t>
                      </a:r>
                    </a:p>
                  </a:txBody>
                  <a:tcPr marL="68580" marR="68580" marT="36000" marB="36000" anchor="ctr"/>
                </a:tc>
                <a:extLst>
                  <a:ext uri="{0D108BD9-81ED-4DB2-BD59-A6C34878D82A}">
                    <a16:rowId xmlns:a16="http://schemas.microsoft.com/office/drawing/2014/main" val="3045782930"/>
                  </a:ext>
                </a:extLst>
              </a:tr>
            </a:tbl>
          </a:graphicData>
        </a:graphic>
      </p:graphicFrame>
    </p:spTree>
    <p:extLst>
      <p:ext uri="{BB962C8B-B14F-4D97-AF65-F5344CB8AC3E}">
        <p14:creationId xmlns:p14="http://schemas.microsoft.com/office/powerpoint/2010/main" val="17238544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B84B0ABD-1CE4-338C-4FC2-3F9A416781A4}"/>
              </a:ext>
            </a:extLst>
          </p:cNvPr>
          <p:cNvSpPr/>
          <p:nvPr/>
        </p:nvSpPr>
        <p:spPr>
          <a:xfrm>
            <a:off x="6331901" y="2140688"/>
            <a:ext cx="4872143" cy="3437861"/>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Rectangle: Rounded Corners 2">
            <a:extLst>
              <a:ext uri="{FF2B5EF4-FFF2-40B4-BE49-F238E27FC236}">
                <a16:creationId xmlns:a16="http://schemas.microsoft.com/office/drawing/2014/main" id="{038F88A3-77D5-C3F2-0FBE-5ACF0D61F234}"/>
              </a:ext>
            </a:extLst>
          </p:cNvPr>
          <p:cNvSpPr/>
          <p:nvPr/>
        </p:nvSpPr>
        <p:spPr>
          <a:xfrm>
            <a:off x="907312" y="2140688"/>
            <a:ext cx="4872143" cy="3437861"/>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itle 1">
            <a:extLst>
              <a:ext uri="{FF2B5EF4-FFF2-40B4-BE49-F238E27FC236}">
                <a16:creationId xmlns:a16="http://schemas.microsoft.com/office/drawing/2014/main" id="{9A8CF19F-731F-423B-8156-9D05D4286337}"/>
              </a:ext>
            </a:extLst>
          </p:cNvPr>
          <p:cNvSpPr>
            <a:spLocks noGrp="1"/>
          </p:cNvSpPr>
          <p:nvPr>
            <p:ph type="title"/>
          </p:nvPr>
        </p:nvSpPr>
        <p:spPr>
          <a:xfrm>
            <a:off x="745344" y="592393"/>
            <a:ext cx="10562644" cy="864655"/>
          </a:xfrm>
        </p:spPr>
        <p:txBody>
          <a:bodyPr rtlCol="0">
            <a:noAutofit/>
          </a:bodyPr>
          <a:lstStyle/>
          <a:p>
            <a:pPr algn="ctr" rtl="0"/>
            <a:r>
              <a:rPr lang="ru-RU" b="1" i="1" dirty="0">
                <a:latin typeface="+mn-lt"/>
                <a:ea typeface="+mn-ea"/>
                <a:cs typeface="+mn-cs"/>
              </a:rPr>
              <a:t>Количество кардиологических нежелательных явлений или артериальных тромбоэмболических нежелательных явлений между группами лечения было сходным</a:t>
            </a:r>
            <a:r>
              <a:rPr lang="ru-RU" baseline="30000" dirty="0"/>
              <a:t>1</a:t>
            </a:r>
            <a:endParaRPr lang="en-GB" dirty="0"/>
          </a:p>
        </p:txBody>
      </p:sp>
      <p:sp>
        <p:nvSpPr>
          <p:cNvPr id="4" name="Text Placeholder 3">
            <a:extLst>
              <a:ext uri="{FF2B5EF4-FFF2-40B4-BE49-F238E27FC236}">
                <a16:creationId xmlns:a16="http://schemas.microsoft.com/office/drawing/2014/main" id="{850DA770-426D-4BB5-9CB4-57A30E7536A0}"/>
              </a:ext>
            </a:extLst>
          </p:cNvPr>
          <p:cNvSpPr>
            <a:spLocks noGrp="1"/>
          </p:cNvSpPr>
          <p:nvPr>
            <p:ph type="body" sz="quarter" idx="111"/>
          </p:nvPr>
        </p:nvSpPr>
        <p:spPr/>
        <p:txBody>
          <a:bodyPr rtlCol="0"/>
          <a:lstStyle/>
          <a:p>
            <a:pPr rtl="0"/>
            <a:r>
              <a:rPr lang="ru-RU"/>
              <a:t>  </a:t>
            </a:r>
          </a:p>
        </p:txBody>
      </p:sp>
      <p:sp>
        <p:nvSpPr>
          <p:cNvPr id="7" name="Text Placeholder 3">
            <a:extLst>
              <a:ext uri="{FF2B5EF4-FFF2-40B4-BE49-F238E27FC236}">
                <a16:creationId xmlns:a16="http://schemas.microsoft.com/office/drawing/2014/main" id="{D9A48B27-10E4-ABC3-745C-734D7360539B}"/>
              </a:ext>
            </a:extLst>
          </p:cNvPr>
          <p:cNvSpPr txBox="1">
            <a:spLocks/>
          </p:cNvSpPr>
          <p:nvPr/>
        </p:nvSpPr>
        <p:spPr>
          <a:xfrm>
            <a:off x="745344" y="6091449"/>
            <a:ext cx="9729787" cy="657225"/>
          </a:xfrm>
          <a:prstGeom prst="rect">
            <a:avLst/>
          </a:prstGeom>
        </p:spPr>
        <p:txBody>
          <a:bodyPr vert="horz" lIns="91440" tIns="45720" rIns="91440" bIns="45720" rtlCol="0" anchor="b"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800" kern="1200">
                <a:solidFill>
                  <a:schemeClr val="tx1"/>
                </a:solidFill>
                <a:latin typeface="+mn-lt"/>
                <a:ea typeface="+mn-ea"/>
                <a:cs typeface="+mn-cs"/>
              </a:defRPr>
            </a:lvl1pPr>
            <a:lvl2pPr marL="630900" marR="0" indent="-3429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79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72000" indent="-2160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88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ru-RU" sz="800" b="0" i="0" u="none" strike="noStrike" kern="1200" cap="none" spc="0" normalizeH="0" baseline="0" noProof="0" dirty="0">
                <a:ln>
                  <a:noFill/>
                </a:ln>
                <a:solidFill>
                  <a:srgbClr val="3F4444"/>
                </a:solidFill>
                <a:effectLst/>
                <a:uLnTx/>
                <a:uFillTx/>
                <a:latin typeface="Calibri"/>
                <a:ea typeface="+mn-ea"/>
                <a:cs typeface="+mn-cs"/>
              </a:rPr>
              <a:t>* Групповой термин</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ru-RU" sz="800" b="0" i="0" u="none" strike="noStrike" kern="1200" cap="none" spc="0" normalizeH="0" baseline="0" noProof="0" dirty="0">
                <a:ln>
                  <a:noFill/>
                </a:ln>
                <a:solidFill>
                  <a:srgbClr val="3F4444"/>
                </a:solidFill>
                <a:effectLst/>
                <a:uLnTx/>
                <a:uFillTx/>
                <a:latin typeface="Calibri"/>
                <a:ea typeface="+mn-ea"/>
                <a:cs typeface="+mn-cs"/>
              </a:rPr>
              <a:t>Первый срез данных: 30 июля 2021 г.</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ru-RU" sz="800" b="0" i="0" u="none" strike="noStrike" kern="1200" cap="none" spc="0" normalizeH="0" baseline="0" noProof="0" dirty="0">
                <a:ln>
                  <a:noFill/>
                </a:ln>
                <a:solidFill>
                  <a:srgbClr val="3F4444"/>
                </a:solidFill>
                <a:effectLst/>
                <a:uLnTx/>
                <a:uFillTx/>
                <a:latin typeface="Calibri"/>
                <a:ea typeface="+mn-ea"/>
                <a:cs typeface="+mn-cs"/>
              </a:rPr>
              <a:t>1. </a:t>
            </a:r>
            <a:r>
              <a:rPr kumimoji="0" lang="ru-RU" sz="800" b="0" i="0" u="none" strike="noStrike" kern="1200" cap="none" spc="0" normalizeH="0" baseline="0" noProof="0" dirty="0" err="1">
                <a:ln>
                  <a:noFill/>
                </a:ln>
                <a:solidFill>
                  <a:srgbClr val="3F4444"/>
                </a:solidFill>
                <a:effectLst/>
                <a:uLnTx/>
                <a:uFillTx/>
                <a:latin typeface="Calibri"/>
                <a:ea typeface="+mn-ea"/>
                <a:cs typeface="+mn-cs"/>
              </a:rPr>
              <a:t>Thiery</a:t>
            </a:r>
            <a:r>
              <a:rPr kumimoji="0" lang="ru-RU" sz="800" b="0" i="0" u="none" strike="noStrike" kern="1200" cap="none" spc="0" normalizeH="0" baseline="0" noProof="0" dirty="0">
                <a:ln>
                  <a:noFill/>
                </a:ln>
                <a:solidFill>
                  <a:srgbClr val="3F4444"/>
                </a:solidFill>
                <a:effectLst/>
                <a:uLnTx/>
                <a:uFillTx/>
                <a:latin typeface="Calibri"/>
                <a:ea typeface="+mn-ea"/>
                <a:cs typeface="+mn-cs"/>
              </a:rPr>
              <a:t>–</a:t>
            </a:r>
            <a:r>
              <a:rPr kumimoji="0" lang="ru-RU" sz="800" b="0" i="0" u="none" strike="noStrike" kern="1200" cap="none" spc="0" normalizeH="0" baseline="0" noProof="0" dirty="0" err="1">
                <a:ln>
                  <a:noFill/>
                </a:ln>
                <a:solidFill>
                  <a:srgbClr val="3F4444"/>
                </a:solidFill>
                <a:effectLst/>
                <a:uLnTx/>
                <a:uFillTx/>
                <a:latin typeface="Calibri"/>
                <a:ea typeface="+mn-ea"/>
                <a:cs typeface="+mn-cs"/>
              </a:rPr>
              <a:t>Vuillemin</a:t>
            </a:r>
            <a:r>
              <a:rPr kumimoji="0" lang="ru-RU" sz="800" b="0" i="0" u="none" strike="noStrike" kern="1200" cap="none" spc="0" normalizeH="0" baseline="0" noProof="0" dirty="0">
                <a:ln>
                  <a:noFill/>
                </a:ln>
                <a:solidFill>
                  <a:srgbClr val="3F4444"/>
                </a:solidFill>
                <a:effectLst/>
                <a:uLnTx/>
                <a:uFillTx/>
                <a:latin typeface="Calibri"/>
                <a:ea typeface="+mn-ea"/>
                <a:cs typeface="+mn-cs"/>
              </a:rPr>
              <a:t> A, </a:t>
            </a:r>
            <a:r>
              <a:rPr kumimoji="0" lang="ru-RU" sz="800" b="0" i="0" u="none" strike="noStrike" kern="1200" cap="none" spc="0" normalizeH="0" baseline="0" noProof="0" dirty="0" err="1">
                <a:ln>
                  <a:noFill/>
                </a:ln>
                <a:solidFill>
                  <a:srgbClr val="3F4444"/>
                </a:solidFill>
                <a:effectLst/>
                <a:uLnTx/>
                <a:uFillTx/>
                <a:latin typeface="Calibri"/>
                <a:ea typeface="+mn-ea"/>
                <a:cs typeface="+mn-cs"/>
              </a:rPr>
              <a:t>et</a:t>
            </a:r>
            <a:r>
              <a:rPr kumimoji="0" lang="ru-RU" sz="800" b="0" i="0" u="none" strike="noStrike" kern="1200" cap="none" spc="0" normalizeH="0" baseline="0" noProof="0" dirty="0">
                <a:ln>
                  <a:noFill/>
                </a:ln>
                <a:solidFill>
                  <a:srgbClr val="3F4444"/>
                </a:solidFill>
                <a:effectLst/>
                <a:uLnTx/>
                <a:uFillTx/>
                <a:latin typeface="Calibri"/>
                <a:ea typeface="+mn-ea"/>
                <a:cs typeface="+mn-cs"/>
              </a:rPr>
              <a:t> </a:t>
            </a:r>
            <a:r>
              <a:rPr kumimoji="0" lang="ru-RU" sz="800" b="0" i="0" u="none" strike="noStrike" kern="1200" cap="none" spc="0" normalizeH="0" baseline="0" noProof="0" dirty="0" err="1">
                <a:ln>
                  <a:noFill/>
                </a:ln>
                <a:solidFill>
                  <a:srgbClr val="3F4444"/>
                </a:solidFill>
                <a:effectLst/>
                <a:uLnTx/>
                <a:uFillTx/>
                <a:latin typeface="Calibri"/>
                <a:ea typeface="+mn-ea"/>
                <a:cs typeface="+mn-cs"/>
              </a:rPr>
              <a:t>al</a:t>
            </a:r>
            <a:r>
              <a:rPr kumimoji="0" lang="ru-RU" sz="800" b="0" i="0" u="none" strike="noStrike" kern="1200" cap="none" spc="0" normalizeH="0" baseline="0" noProof="0" dirty="0">
                <a:ln>
                  <a:noFill/>
                </a:ln>
                <a:solidFill>
                  <a:srgbClr val="3F4444"/>
                </a:solidFill>
                <a:effectLst/>
                <a:uLnTx/>
                <a:uFillTx/>
                <a:latin typeface="Calibri"/>
                <a:ea typeface="+mn-ea"/>
                <a:cs typeface="+mn-cs"/>
              </a:rPr>
              <a:t>. </a:t>
            </a:r>
            <a:r>
              <a:rPr kumimoji="0" lang="ru-RU" sz="800" b="0" i="0" u="none" strike="noStrike" kern="1200" cap="none" spc="0" normalizeH="0" baseline="0" noProof="0" dirty="0">
                <a:ln>
                  <a:noFill/>
                </a:ln>
                <a:solidFill>
                  <a:srgbClr val="3F4444"/>
                </a:solidFill>
                <a:effectLst/>
                <a:uLnTx/>
                <a:uFillTx/>
                <a:latin typeface="Calibri" panose="020F0502020204030204" pitchFamily="34" charset="0"/>
                <a:ea typeface="+mn-ea"/>
                <a:cs typeface="Calibri" panose="020F0502020204030204" pitchFamily="34" charset="0"/>
              </a:rPr>
              <a:t>Представлено на ASCO 3–7 июня 2022 года, Чикаго, штат Иллинойс  </a:t>
            </a:r>
            <a:r>
              <a:rPr kumimoji="0" lang="ru-RU" sz="800" b="0" i="0" u="none" strike="noStrike" kern="1200" cap="none" spc="0" normalizeH="0" baseline="0" noProof="0" dirty="0" err="1">
                <a:ln>
                  <a:noFill/>
                </a:ln>
                <a:solidFill>
                  <a:srgbClr val="3F4444"/>
                </a:solidFill>
                <a:effectLst/>
                <a:uLnTx/>
                <a:uFillTx/>
                <a:latin typeface="Calibri" panose="020F0502020204030204" pitchFamily="34" charset="0"/>
                <a:ea typeface="+mn-ea"/>
                <a:cs typeface="Calibri" panose="020F0502020204030204" pitchFamily="34" charset="0"/>
              </a:rPr>
              <a:t>Abstract</a:t>
            </a:r>
            <a:r>
              <a:rPr kumimoji="0" lang="ru-RU" sz="800" b="0" i="0" u="none" strike="noStrike" kern="1200" cap="none" spc="0" normalizeH="0" baseline="0" noProof="0" dirty="0">
                <a:ln>
                  <a:noFill/>
                </a:ln>
                <a:solidFill>
                  <a:srgbClr val="3F4444"/>
                </a:solidFill>
                <a:effectLst/>
                <a:uLnTx/>
                <a:uFillTx/>
                <a:latin typeface="Calibri" panose="020F0502020204030204" pitchFamily="34" charset="0"/>
                <a:ea typeface="+mn-ea"/>
                <a:cs typeface="Calibri" panose="020F0502020204030204" pitchFamily="34" charset="0"/>
              </a:rPr>
              <a:t> 5019</a:t>
            </a:r>
            <a:endParaRPr kumimoji="0" lang="en-GB" sz="800" b="0" i="0" u="none" strike="noStrike" kern="1200" cap="none" spc="0" normalizeH="0" baseline="0" noProof="0" dirty="0">
              <a:ln>
                <a:noFill/>
              </a:ln>
              <a:solidFill>
                <a:srgbClr val="3F4444"/>
              </a:solidFill>
              <a:effectLst/>
              <a:uLnTx/>
              <a:uFillTx/>
              <a:latin typeface="Calibri"/>
              <a:ea typeface="+mn-ea"/>
              <a:cs typeface="+mn-cs"/>
            </a:endParaRPr>
          </a:p>
        </p:txBody>
      </p:sp>
      <p:grpSp>
        <p:nvGrpSpPr>
          <p:cNvPr id="10" name="object 370">
            <a:extLst>
              <a:ext uri="{FF2B5EF4-FFF2-40B4-BE49-F238E27FC236}">
                <a16:creationId xmlns:a16="http://schemas.microsoft.com/office/drawing/2014/main" id="{7110B727-2F8F-60B0-657A-3B792ED93846}"/>
              </a:ext>
            </a:extLst>
          </p:cNvPr>
          <p:cNvGrpSpPr>
            <a:grpSpLocks noChangeAspect="1"/>
          </p:cNvGrpSpPr>
          <p:nvPr/>
        </p:nvGrpSpPr>
        <p:grpSpPr>
          <a:xfrm>
            <a:off x="1521199" y="4432039"/>
            <a:ext cx="3584392" cy="825317"/>
            <a:chOff x="15834417" y="6407343"/>
            <a:chExt cx="1908928" cy="439756"/>
          </a:xfrm>
        </p:grpSpPr>
        <p:sp>
          <p:nvSpPr>
            <p:cNvPr id="11" name="object 371">
              <a:extLst>
                <a:ext uri="{FF2B5EF4-FFF2-40B4-BE49-F238E27FC236}">
                  <a16:creationId xmlns:a16="http://schemas.microsoft.com/office/drawing/2014/main" id="{0DC156AC-924E-DFB6-9DA8-27FF195B45E4}"/>
                </a:ext>
              </a:extLst>
            </p:cNvPr>
            <p:cNvSpPr/>
            <p:nvPr/>
          </p:nvSpPr>
          <p:spPr>
            <a:xfrm>
              <a:off x="16070581" y="6568194"/>
              <a:ext cx="1436370" cy="271145"/>
            </a:xfrm>
            <a:custGeom>
              <a:avLst/>
              <a:gdLst/>
              <a:ahLst/>
              <a:cxnLst/>
              <a:rect l="l" t="t" r="r" b="b"/>
              <a:pathLst>
                <a:path w="1436369" h="271145">
                  <a:moveTo>
                    <a:pt x="1436039" y="52387"/>
                  </a:moveTo>
                  <a:lnTo>
                    <a:pt x="1433283" y="41211"/>
                  </a:lnTo>
                  <a:lnTo>
                    <a:pt x="1425752" y="32054"/>
                  </a:lnTo>
                  <a:lnTo>
                    <a:pt x="1414602" y="25882"/>
                  </a:lnTo>
                  <a:lnTo>
                    <a:pt x="1401000" y="23609"/>
                  </a:lnTo>
                  <a:lnTo>
                    <a:pt x="762635" y="23609"/>
                  </a:lnTo>
                  <a:lnTo>
                    <a:pt x="760780" y="20447"/>
                  </a:lnTo>
                  <a:lnTo>
                    <a:pt x="741527" y="5486"/>
                  </a:lnTo>
                  <a:lnTo>
                    <a:pt x="718019" y="0"/>
                  </a:lnTo>
                  <a:lnTo>
                    <a:pt x="694512" y="5486"/>
                  </a:lnTo>
                  <a:lnTo>
                    <a:pt x="675259" y="20447"/>
                  </a:lnTo>
                  <a:lnTo>
                    <a:pt x="673392" y="23609"/>
                  </a:lnTo>
                  <a:lnTo>
                    <a:pt x="35039" y="23609"/>
                  </a:lnTo>
                  <a:lnTo>
                    <a:pt x="21424" y="25882"/>
                  </a:lnTo>
                  <a:lnTo>
                    <a:pt x="10287" y="32054"/>
                  </a:lnTo>
                  <a:lnTo>
                    <a:pt x="2755" y="41211"/>
                  </a:lnTo>
                  <a:lnTo>
                    <a:pt x="0" y="52387"/>
                  </a:lnTo>
                  <a:lnTo>
                    <a:pt x="2755" y="63550"/>
                  </a:lnTo>
                  <a:lnTo>
                    <a:pt x="10287" y="72707"/>
                  </a:lnTo>
                  <a:lnTo>
                    <a:pt x="21424" y="78892"/>
                  </a:lnTo>
                  <a:lnTo>
                    <a:pt x="35039" y="81153"/>
                  </a:lnTo>
                  <a:lnTo>
                    <a:pt x="653999" y="81153"/>
                  </a:lnTo>
                  <a:lnTo>
                    <a:pt x="608342" y="233108"/>
                  </a:lnTo>
                  <a:lnTo>
                    <a:pt x="620801" y="255143"/>
                  </a:lnTo>
                  <a:lnTo>
                    <a:pt x="650697" y="266293"/>
                  </a:lnTo>
                  <a:lnTo>
                    <a:pt x="686828" y="270268"/>
                  </a:lnTo>
                  <a:lnTo>
                    <a:pt x="718019" y="270764"/>
                  </a:lnTo>
                  <a:lnTo>
                    <a:pt x="749198" y="270268"/>
                  </a:lnTo>
                  <a:lnTo>
                    <a:pt x="785342" y="266293"/>
                  </a:lnTo>
                  <a:lnTo>
                    <a:pt x="815238" y="255143"/>
                  </a:lnTo>
                  <a:lnTo>
                    <a:pt x="827684" y="233108"/>
                  </a:lnTo>
                  <a:lnTo>
                    <a:pt x="782015" y="81153"/>
                  </a:lnTo>
                  <a:lnTo>
                    <a:pt x="1401000" y="81153"/>
                  </a:lnTo>
                  <a:lnTo>
                    <a:pt x="1414602" y="78892"/>
                  </a:lnTo>
                  <a:lnTo>
                    <a:pt x="1425752" y="72707"/>
                  </a:lnTo>
                  <a:lnTo>
                    <a:pt x="1433283" y="63550"/>
                  </a:lnTo>
                  <a:lnTo>
                    <a:pt x="1436039" y="52387"/>
                  </a:lnTo>
                  <a:close/>
                </a:path>
              </a:pathLst>
            </a:custGeom>
            <a:solidFill>
              <a:srgbClr val="9DB6B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4444"/>
                </a:solidFill>
                <a:effectLst/>
                <a:uLnTx/>
                <a:uFillTx/>
                <a:latin typeface="Calibri"/>
                <a:ea typeface="+mn-ea"/>
                <a:cs typeface="+mn-cs"/>
              </a:endParaRPr>
            </a:p>
          </p:txBody>
        </p:sp>
        <p:sp>
          <p:nvSpPr>
            <p:cNvPr id="12" name="object 372">
              <a:extLst>
                <a:ext uri="{FF2B5EF4-FFF2-40B4-BE49-F238E27FC236}">
                  <a16:creationId xmlns:a16="http://schemas.microsoft.com/office/drawing/2014/main" id="{357D7257-D88D-AC80-6F8B-A38D927B6E13}"/>
                </a:ext>
              </a:extLst>
            </p:cNvPr>
            <p:cNvSpPr/>
            <p:nvPr/>
          </p:nvSpPr>
          <p:spPr>
            <a:xfrm>
              <a:off x="16761809" y="6599279"/>
              <a:ext cx="53975" cy="53975"/>
            </a:xfrm>
            <a:custGeom>
              <a:avLst/>
              <a:gdLst/>
              <a:ahLst/>
              <a:cxnLst/>
              <a:rect l="l" t="t" r="r" b="b"/>
              <a:pathLst>
                <a:path w="53975" h="53975">
                  <a:moveTo>
                    <a:pt x="26793" y="0"/>
                  </a:moveTo>
                  <a:lnTo>
                    <a:pt x="16365" y="2105"/>
                  </a:lnTo>
                  <a:lnTo>
                    <a:pt x="7848" y="7847"/>
                  </a:lnTo>
                  <a:lnTo>
                    <a:pt x="2105" y="16364"/>
                  </a:lnTo>
                  <a:lnTo>
                    <a:pt x="0" y="26793"/>
                  </a:lnTo>
                  <a:lnTo>
                    <a:pt x="2105" y="37223"/>
                  </a:lnTo>
                  <a:lnTo>
                    <a:pt x="7848" y="45740"/>
                  </a:lnTo>
                  <a:lnTo>
                    <a:pt x="16365" y="51482"/>
                  </a:lnTo>
                  <a:lnTo>
                    <a:pt x="26793" y="53587"/>
                  </a:lnTo>
                  <a:lnTo>
                    <a:pt x="37225" y="51482"/>
                  </a:lnTo>
                  <a:lnTo>
                    <a:pt x="45743" y="45740"/>
                  </a:lnTo>
                  <a:lnTo>
                    <a:pt x="51486" y="37223"/>
                  </a:lnTo>
                  <a:lnTo>
                    <a:pt x="53591" y="26793"/>
                  </a:lnTo>
                  <a:lnTo>
                    <a:pt x="51486" y="16364"/>
                  </a:lnTo>
                  <a:lnTo>
                    <a:pt x="45743" y="7847"/>
                  </a:lnTo>
                  <a:lnTo>
                    <a:pt x="37225" y="2105"/>
                  </a:lnTo>
                  <a:lnTo>
                    <a:pt x="2679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4444"/>
                </a:solidFill>
                <a:effectLst/>
                <a:uLnTx/>
                <a:uFillTx/>
                <a:latin typeface="Calibri"/>
                <a:ea typeface="+mn-ea"/>
                <a:cs typeface="+mn-cs"/>
              </a:endParaRPr>
            </a:p>
          </p:txBody>
        </p:sp>
        <p:sp>
          <p:nvSpPr>
            <p:cNvPr id="13" name="object 373">
              <a:extLst>
                <a:ext uri="{FF2B5EF4-FFF2-40B4-BE49-F238E27FC236}">
                  <a16:creationId xmlns:a16="http://schemas.microsoft.com/office/drawing/2014/main" id="{D5364EAF-9535-BA2B-473A-3ADE22A8E2E7}"/>
                </a:ext>
              </a:extLst>
            </p:cNvPr>
            <p:cNvSpPr/>
            <p:nvPr/>
          </p:nvSpPr>
          <p:spPr>
            <a:xfrm>
              <a:off x="16633261" y="6777249"/>
              <a:ext cx="311150" cy="69850"/>
            </a:xfrm>
            <a:custGeom>
              <a:avLst/>
              <a:gdLst/>
              <a:ahLst/>
              <a:cxnLst/>
              <a:rect l="l" t="t" r="r" b="b"/>
              <a:pathLst>
                <a:path w="311150" h="69850">
                  <a:moveTo>
                    <a:pt x="310686" y="0"/>
                  </a:moveTo>
                  <a:lnTo>
                    <a:pt x="0" y="0"/>
                  </a:lnTo>
                  <a:lnTo>
                    <a:pt x="0" y="69414"/>
                  </a:lnTo>
                  <a:lnTo>
                    <a:pt x="310686" y="69414"/>
                  </a:lnTo>
                  <a:lnTo>
                    <a:pt x="310686" y="0"/>
                  </a:lnTo>
                  <a:close/>
                </a:path>
              </a:pathLst>
            </a:custGeom>
            <a:solidFill>
              <a:srgbClr val="9DB6B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4444"/>
                </a:solidFill>
                <a:effectLst/>
                <a:uLnTx/>
                <a:uFillTx/>
                <a:latin typeface="Calibri"/>
                <a:ea typeface="+mn-ea"/>
                <a:cs typeface="+mn-cs"/>
              </a:endParaRPr>
            </a:p>
          </p:txBody>
        </p:sp>
        <p:pic>
          <p:nvPicPr>
            <p:cNvPr id="14" name="object 374">
              <a:extLst>
                <a:ext uri="{FF2B5EF4-FFF2-40B4-BE49-F238E27FC236}">
                  <a16:creationId xmlns:a16="http://schemas.microsoft.com/office/drawing/2014/main" id="{90C3B1E1-7F52-23CF-028E-6BC950478664}"/>
                </a:ext>
              </a:extLst>
            </p:cNvPr>
            <p:cNvPicPr/>
            <p:nvPr/>
          </p:nvPicPr>
          <p:blipFill>
            <a:blip r:embed="rId3" cstate="print"/>
            <a:stretch>
              <a:fillRect/>
            </a:stretch>
          </p:blipFill>
          <p:spPr>
            <a:xfrm>
              <a:off x="16112912" y="6439803"/>
              <a:ext cx="91426" cy="228552"/>
            </a:xfrm>
            <a:prstGeom prst="rect">
              <a:avLst/>
            </a:prstGeom>
          </p:spPr>
        </p:pic>
        <p:sp>
          <p:nvSpPr>
            <p:cNvPr id="15" name="object 375">
              <a:extLst>
                <a:ext uri="{FF2B5EF4-FFF2-40B4-BE49-F238E27FC236}">
                  <a16:creationId xmlns:a16="http://schemas.microsoft.com/office/drawing/2014/main" id="{8BE10C83-AE81-536D-3641-226277BEFE30}"/>
                </a:ext>
              </a:extLst>
            </p:cNvPr>
            <p:cNvSpPr/>
            <p:nvPr/>
          </p:nvSpPr>
          <p:spPr>
            <a:xfrm>
              <a:off x="15834417" y="6407343"/>
              <a:ext cx="648970" cy="140335"/>
            </a:xfrm>
            <a:custGeom>
              <a:avLst/>
              <a:gdLst/>
              <a:ahLst/>
              <a:cxnLst/>
              <a:rect l="l" t="t" r="r" b="b"/>
              <a:pathLst>
                <a:path w="648969" h="140334">
                  <a:moveTo>
                    <a:pt x="648291" y="0"/>
                  </a:moveTo>
                  <a:lnTo>
                    <a:pt x="127" y="0"/>
                  </a:lnTo>
                  <a:lnTo>
                    <a:pt x="108" y="1043"/>
                  </a:lnTo>
                  <a:lnTo>
                    <a:pt x="0" y="2059"/>
                  </a:lnTo>
                  <a:lnTo>
                    <a:pt x="0" y="3110"/>
                  </a:lnTo>
                  <a:lnTo>
                    <a:pt x="8673" y="56210"/>
                  </a:lnTo>
                  <a:lnTo>
                    <a:pt x="32289" y="99696"/>
                  </a:lnTo>
                  <a:lnTo>
                    <a:pt x="67239" y="129079"/>
                  </a:lnTo>
                  <a:lnTo>
                    <a:pt x="109917" y="139871"/>
                  </a:lnTo>
                  <a:lnTo>
                    <a:pt x="538502" y="139871"/>
                  </a:lnTo>
                  <a:lnTo>
                    <a:pt x="581179" y="129079"/>
                  </a:lnTo>
                  <a:lnTo>
                    <a:pt x="616130" y="99696"/>
                  </a:lnTo>
                  <a:lnTo>
                    <a:pt x="639745" y="56210"/>
                  </a:lnTo>
                  <a:lnTo>
                    <a:pt x="648419" y="3110"/>
                  </a:lnTo>
                  <a:lnTo>
                    <a:pt x="648419" y="2059"/>
                  </a:lnTo>
                  <a:lnTo>
                    <a:pt x="648310" y="1043"/>
                  </a:lnTo>
                  <a:lnTo>
                    <a:pt x="648291" y="0"/>
                  </a:lnTo>
                  <a:close/>
                </a:path>
              </a:pathLst>
            </a:custGeom>
            <a:solidFill>
              <a:srgbClr val="9DB6B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4444"/>
                </a:solidFill>
                <a:effectLst/>
                <a:uLnTx/>
                <a:uFillTx/>
                <a:latin typeface="Calibri"/>
                <a:ea typeface="+mn-ea"/>
                <a:cs typeface="+mn-cs"/>
              </a:endParaRPr>
            </a:p>
          </p:txBody>
        </p:sp>
        <p:sp>
          <p:nvSpPr>
            <p:cNvPr id="16" name="object 376">
              <a:extLst>
                <a:ext uri="{FF2B5EF4-FFF2-40B4-BE49-F238E27FC236}">
                  <a16:creationId xmlns:a16="http://schemas.microsoft.com/office/drawing/2014/main" id="{09DFD580-E34E-1202-22DB-38936F0261C1}"/>
                </a:ext>
              </a:extLst>
            </p:cNvPr>
            <p:cNvSpPr/>
            <p:nvPr/>
          </p:nvSpPr>
          <p:spPr>
            <a:xfrm>
              <a:off x="16132220" y="6592422"/>
              <a:ext cx="53340" cy="53340"/>
            </a:xfrm>
            <a:custGeom>
              <a:avLst/>
              <a:gdLst/>
              <a:ahLst/>
              <a:cxnLst/>
              <a:rect l="l" t="t" r="r" b="b"/>
              <a:pathLst>
                <a:path w="53340" h="53340">
                  <a:moveTo>
                    <a:pt x="26406" y="0"/>
                  </a:moveTo>
                  <a:lnTo>
                    <a:pt x="16128" y="2075"/>
                  </a:lnTo>
                  <a:lnTo>
                    <a:pt x="7734" y="7734"/>
                  </a:lnTo>
                  <a:lnTo>
                    <a:pt x="2075" y="16128"/>
                  </a:lnTo>
                  <a:lnTo>
                    <a:pt x="0" y="26406"/>
                  </a:lnTo>
                  <a:lnTo>
                    <a:pt x="2075" y="36685"/>
                  </a:lnTo>
                  <a:lnTo>
                    <a:pt x="7734" y="45078"/>
                  </a:lnTo>
                  <a:lnTo>
                    <a:pt x="16128" y="50737"/>
                  </a:lnTo>
                  <a:lnTo>
                    <a:pt x="26406" y="52812"/>
                  </a:lnTo>
                  <a:lnTo>
                    <a:pt x="36685" y="50737"/>
                  </a:lnTo>
                  <a:lnTo>
                    <a:pt x="45078" y="45078"/>
                  </a:lnTo>
                  <a:lnTo>
                    <a:pt x="50737" y="36685"/>
                  </a:lnTo>
                  <a:lnTo>
                    <a:pt x="52812" y="26406"/>
                  </a:lnTo>
                  <a:lnTo>
                    <a:pt x="50737" y="16128"/>
                  </a:lnTo>
                  <a:lnTo>
                    <a:pt x="45078" y="7734"/>
                  </a:lnTo>
                  <a:lnTo>
                    <a:pt x="36685" y="2075"/>
                  </a:lnTo>
                  <a:lnTo>
                    <a:pt x="26406"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4444"/>
                </a:solidFill>
                <a:effectLst/>
                <a:uLnTx/>
                <a:uFillTx/>
                <a:latin typeface="Calibri"/>
                <a:ea typeface="+mn-ea"/>
                <a:cs typeface="+mn-cs"/>
              </a:endParaRPr>
            </a:p>
          </p:txBody>
        </p:sp>
        <p:pic>
          <p:nvPicPr>
            <p:cNvPr id="17" name="object 377">
              <a:extLst>
                <a:ext uri="{FF2B5EF4-FFF2-40B4-BE49-F238E27FC236}">
                  <a16:creationId xmlns:a16="http://schemas.microsoft.com/office/drawing/2014/main" id="{4EECA41E-468A-FA0E-4F40-51BF9B963A90}"/>
                </a:ext>
              </a:extLst>
            </p:cNvPr>
            <p:cNvPicPr/>
            <p:nvPr/>
          </p:nvPicPr>
          <p:blipFill>
            <a:blip r:embed="rId3" cstate="print"/>
            <a:stretch>
              <a:fillRect/>
            </a:stretch>
          </p:blipFill>
          <p:spPr>
            <a:xfrm>
              <a:off x="17372873" y="6439803"/>
              <a:ext cx="91422" cy="228552"/>
            </a:xfrm>
            <a:prstGeom prst="rect">
              <a:avLst/>
            </a:prstGeom>
          </p:spPr>
        </p:pic>
        <p:sp>
          <p:nvSpPr>
            <p:cNvPr id="18" name="object 378">
              <a:extLst>
                <a:ext uri="{FF2B5EF4-FFF2-40B4-BE49-F238E27FC236}">
                  <a16:creationId xmlns:a16="http://schemas.microsoft.com/office/drawing/2014/main" id="{74C9EE84-964D-1A71-12ED-50626B58BD6F}"/>
                </a:ext>
              </a:extLst>
            </p:cNvPr>
            <p:cNvSpPr/>
            <p:nvPr/>
          </p:nvSpPr>
          <p:spPr>
            <a:xfrm>
              <a:off x="17094375" y="6407343"/>
              <a:ext cx="648970" cy="140335"/>
            </a:xfrm>
            <a:custGeom>
              <a:avLst/>
              <a:gdLst/>
              <a:ahLst/>
              <a:cxnLst/>
              <a:rect l="l" t="t" r="r" b="b"/>
              <a:pathLst>
                <a:path w="648969" h="140334">
                  <a:moveTo>
                    <a:pt x="648291" y="0"/>
                  </a:moveTo>
                  <a:lnTo>
                    <a:pt x="127" y="0"/>
                  </a:lnTo>
                  <a:lnTo>
                    <a:pt x="108" y="1043"/>
                  </a:lnTo>
                  <a:lnTo>
                    <a:pt x="0" y="2059"/>
                  </a:lnTo>
                  <a:lnTo>
                    <a:pt x="0" y="3110"/>
                  </a:lnTo>
                  <a:lnTo>
                    <a:pt x="8672" y="56210"/>
                  </a:lnTo>
                  <a:lnTo>
                    <a:pt x="32287" y="99696"/>
                  </a:lnTo>
                  <a:lnTo>
                    <a:pt x="67237" y="129079"/>
                  </a:lnTo>
                  <a:lnTo>
                    <a:pt x="109917" y="139871"/>
                  </a:lnTo>
                  <a:lnTo>
                    <a:pt x="538502" y="139871"/>
                  </a:lnTo>
                  <a:lnTo>
                    <a:pt x="581179" y="129079"/>
                  </a:lnTo>
                  <a:lnTo>
                    <a:pt x="616130" y="99696"/>
                  </a:lnTo>
                  <a:lnTo>
                    <a:pt x="639745" y="56210"/>
                  </a:lnTo>
                  <a:lnTo>
                    <a:pt x="648419" y="3110"/>
                  </a:lnTo>
                  <a:lnTo>
                    <a:pt x="648419" y="2059"/>
                  </a:lnTo>
                  <a:lnTo>
                    <a:pt x="648310" y="1043"/>
                  </a:lnTo>
                  <a:lnTo>
                    <a:pt x="648291" y="0"/>
                  </a:lnTo>
                  <a:close/>
                </a:path>
              </a:pathLst>
            </a:custGeom>
            <a:solidFill>
              <a:srgbClr val="9DB6B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4444"/>
                </a:solidFill>
                <a:effectLst/>
                <a:uLnTx/>
                <a:uFillTx/>
                <a:latin typeface="Calibri"/>
                <a:ea typeface="+mn-ea"/>
                <a:cs typeface="+mn-cs"/>
              </a:endParaRPr>
            </a:p>
          </p:txBody>
        </p:sp>
        <p:sp>
          <p:nvSpPr>
            <p:cNvPr id="19" name="object 379">
              <a:extLst>
                <a:ext uri="{FF2B5EF4-FFF2-40B4-BE49-F238E27FC236}">
                  <a16:creationId xmlns:a16="http://schemas.microsoft.com/office/drawing/2014/main" id="{A7D35CCA-D786-1609-F055-4CBC949CB7AD}"/>
                </a:ext>
              </a:extLst>
            </p:cNvPr>
            <p:cNvSpPr/>
            <p:nvPr/>
          </p:nvSpPr>
          <p:spPr>
            <a:xfrm>
              <a:off x="17392178" y="6592422"/>
              <a:ext cx="53340" cy="53340"/>
            </a:xfrm>
            <a:custGeom>
              <a:avLst/>
              <a:gdLst/>
              <a:ahLst/>
              <a:cxnLst/>
              <a:rect l="l" t="t" r="r" b="b"/>
              <a:pathLst>
                <a:path w="53340" h="53340">
                  <a:moveTo>
                    <a:pt x="26406" y="0"/>
                  </a:moveTo>
                  <a:lnTo>
                    <a:pt x="16126" y="2075"/>
                  </a:lnTo>
                  <a:lnTo>
                    <a:pt x="7733" y="7734"/>
                  </a:lnTo>
                  <a:lnTo>
                    <a:pt x="2074" y="16128"/>
                  </a:lnTo>
                  <a:lnTo>
                    <a:pt x="0" y="26406"/>
                  </a:lnTo>
                  <a:lnTo>
                    <a:pt x="2074" y="36685"/>
                  </a:lnTo>
                  <a:lnTo>
                    <a:pt x="7733" y="45078"/>
                  </a:lnTo>
                  <a:lnTo>
                    <a:pt x="16126" y="50737"/>
                  </a:lnTo>
                  <a:lnTo>
                    <a:pt x="26406" y="52812"/>
                  </a:lnTo>
                  <a:lnTo>
                    <a:pt x="36685" y="50737"/>
                  </a:lnTo>
                  <a:lnTo>
                    <a:pt x="45078" y="45078"/>
                  </a:lnTo>
                  <a:lnTo>
                    <a:pt x="50737" y="36685"/>
                  </a:lnTo>
                  <a:lnTo>
                    <a:pt x="52812" y="26406"/>
                  </a:lnTo>
                  <a:lnTo>
                    <a:pt x="50737" y="16128"/>
                  </a:lnTo>
                  <a:lnTo>
                    <a:pt x="45078" y="7734"/>
                  </a:lnTo>
                  <a:lnTo>
                    <a:pt x="36685" y="2075"/>
                  </a:lnTo>
                  <a:lnTo>
                    <a:pt x="26406"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4444"/>
                </a:solidFill>
                <a:effectLst/>
                <a:uLnTx/>
                <a:uFillTx/>
                <a:latin typeface="Calibri"/>
                <a:ea typeface="+mn-ea"/>
                <a:cs typeface="+mn-cs"/>
              </a:endParaRPr>
            </a:p>
          </p:txBody>
        </p:sp>
      </p:grpSp>
      <p:sp>
        <p:nvSpPr>
          <p:cNvPr id="36" name="TextBox 35">
            <a:extLst>
              <a:ext uri="{FF2B5EF4-FFF2-40B4-BE49-F238E27FC236}">
                <a16:creationId xmlns:a16="http://schemas.microsoft.com/office/drawing/2014/main" id="{115A4516-EB36-AACF-ECCA-927010CC0FB7}"/>
              </a:ext>
            </a:extLst>
          </p:cNvPr>
          <p:cNvSpPr txBox="1"/>
          <p:nvPr/>
        </p:nvSpPr>
        <p:spPr>
          <a:xfrm>
            <a:off x="2534752" y="3437749"/>
            <a:ext cx="164796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1" i="0" u="none" strike="noStrike" kern="1200" cap="none" spc="0" normalizeH="0" baseline="0" noProof="0" dirty="0">
                <a:ln>
                  <a:noFill/>
                </a:ln>
                <a:solidFill>
                  <a:srgbClr val="3F4444"/>
                </a:solidFill>
                <a:effectLst/>
                <a:uLnTx/>
                <a:uFillTx/>
                <a:latin typeface="Calibri"/>
                <a:ea typeface="+mn-ea"/>
                <a:cs typeface="+mn-cs"/>
              </a:rPr>
              <a:t>Сердечная недостаточность*</a:t>
            </a:r>
            <a:endParaRPr kumimoji="0" lang="en-GB" sz="1400" b="0" i="0" u="none" strike="noStrike" kern="1200" cap="none" spc="0" normalizeH="0" baseline="0" noProof="0" dirty="0">
              <a:ln>
                <a:noFill/>
              </a:ln>
              <a:solidFill>
                <a:srgbClr val="3F4444"/>
              </a:solidFill>
              <a:effectLst/>
              <a:uLnTx/>
              <a:uFillTx/>
              <a:latin typeface="Calibri"/>
              <a:ea typeface="+mn-ea"/>
              <a:cs typeface="+mn-cs"/>
            </a:endParaRPr>
          </a:p>
        </p:txBody>
      </p:sp>
      <p:sp>
        <p:nvSpPr>
          <p:cNvPr id="40" name="TextBox 39">
            <a:extLst>
              <a:ext uri="{FF2B5EF4-FFF2-40B4-BE49-F238E27FC236}">
                <a16:creationId xmlns:a16="http://schemas.microsoft.com/office/drawing/2014/main" id="{4C905A31-66E7-84C2-120A-8367EF993AF6}"/>
              </a:ext>
            </a:extLst>
          </p:cNvPr>
          <p:cNvSpPr txBox="1"/>
          <p:nvPr/>
        </p:nvSpPr>
        <p:spPr>
          <a:xfrm>
            <a:off x="1152643" y="3636866"/>
            <a:ext cx="1918335"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1" i="0" u="none" strike="noStrike" kern="1200" cap="none" spc="0" normalizeH="0" baseline="0" noProof="0">
                <a:ln>
                  <a:noFill/>
                </a:ln>
                <a:solidFill>
                  <a:srgbClr val="830051"/>
                </a:solidFill>
                <a:effectLst/>
                <a:uLnTx/>
                <a:uFillTx/>
                <a:latin typeface="Calibri"/>
                <a:ea typeface="+mn-ea"/>
                <a:cs typeface="+mn-cs"/>
              </a:rPr>
              <a:t>6 (1,5)</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0" i="0" u="none" strike="noStrike" kern="1200" cap="none" spc="0" normalizeH="0" baseline="0" noProof="0">
                <a:ln>
                  <a:noFill/>
                </a:ln>
                <a:solidFill>
                  <a:srgbClr val="830051"/>
                </a:solidFill>
                <a:effectLst/>
                <a:uLnTx/>
                <a:uFillTx/>
                <a:latin typeface="Calibri"/>
                <a:ea typeface="+mn-ea"/>
                <a:cs typeface="+mn-cs"/>
              </a:rPr>
              <a:t>4 (1,0)</a:t>
            </a:r>
          </a:p>
        </p:txBody>
      </p:sp>
      <p:sp>
        <p:nvSpPr>
          <p:cNvPr id="41" name="TextBox 40">
            <a:extLst>
              <a:ext uri="{FF2B5EF4-FFF2-40B4-BE49-F238E27FC236}">
                <a16:creationId xmlns:a16="http://schemas.microsoft.com/office/drawing/2014/main" id="{CE9A3FCC-5653-B1DA-992A-F50C5C612F97}"/>
              </a:ext>
            </a:extLst>
          </p:cNvPr>
          <p:cNvSpPr txBox="1"/>
          <p:nvPr/>
        </p:nvSpPr>
        <p:spPr>
          <a:xfrm>
            <a:off x="3633127" y="3636866"/>
            <a:ext cx="1918335"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1" i="0" u="none" strike="noStrike" kern="1200" cap="none" spc="0" normalizeH="0" baseline="0" noProof="0">
                <a:ln>
                  <a:noFill/>
                </a:ln>
                <a:solidFill>
                  <a:srgbClr val="F0AB00"/>
                </a:solidFill>
                <a:effectLst/>
                <a:uLnTx/>
                <a:uFillTx/>
                <a:latin typeface="Calibri"/>
                <a:ea typeface="+mn-ea"/>
                <a:cs typeface="+mn-cs"/>
              </a:rPr>
              <a:t>5 (1,3)</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0" i="0" u="none" strike="noStrike" kern="1200" cap="none" spc="0" normalizeH="0" baseline="0" noProof="0">
                <a:ln>
                  <a:noFill/>
                </a:ln>
                <a:solidFill>
                  <a:srgbClr val="F0AB00"/>
                </a:solidFill>
                <a:effectLst/>
                <a:uLnTx/>
                <a:uFillTx/>
                <a:latin typeface="Calibri"/>
                <a:ea typeface="+mn-ea"/>
                <a:cs typeface="+mn-cs"/>
              </a:rPr>
              <a:t>1 (0,3)</a:t>
            </a:r>
          </a:p>
        </p:txBody>
      </p:sp>
      <p:sp>
        <p:nvSpPr>
          <p:cNvPr id="42" name="TextBox 41">
            <a:extLst>
              <a:ext uri="{FF2B5EF4-FFF2-40B4-BE49-F238E27FC236}">
                <a16:creationId xmlns:a16="http://schemas.microsoft.com/office/drawing/2014/main" id="{17FBACA9-2FBC-4850-DC9F-49575D1FAFD5}"/>
              </a:ext>
            </a:extLst>
          </p:cNvPr>
          <p:cNvSpPr txBox="1"/>
          <p:nvPr/>
        </p:nvSpPr>
        <p:spPr>
          <a:xfrm>
            <a:off x="7952709" y="3437749"/>
            <a:ext cx="181976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1" i="0" u="none" strike="noStrike" kern="1200" cap="none" spc="0" normalizeH="0" baseline="0" noProof="0">
                <a:ln>
                  <a:noFill/>
                </a:ln>
                <a:solidFill>
                  <a:srgbClr val="3F4444"/>
                </a:solidFill>
                <a:effectLst/>
                <a:uLnTx/>
                <a:uFillTx/>
                <a:latin typeface="Calibri"/>
                <a:ea typeface="+mn-ea"/>
                <a:cs typeface="+mn-cs"/>
              </a:rPr>
              <a:t>Артериальные тромбоэмболии*</a:t>
            </a:r>
            <a:endParaRPr kumimoji="0" lang="en-GB" sz="1400" b="0" i="0" u="none" strike="noStrike" kern="1200" cap="none" spc="0" normalizeH="0" baseline="0" noProof="0">
              <a:ln>
                <a:noFill/>
              </a:ln>
              <a:solidFill>
                <a:srgbClr val="3F4444"/>
              </a:solidFill>
              <a:effectLst/>
              <a:uLnTx/>
              <a:uFillTx/>
              <a:latin typeface="Calibri"/>
              <a:ea typeface="+mn-ea"/>
              <a:cs typeface="+mn-cs"/>
            </a:endParaRPr>
          </a:p>
        </p:txBody>
      </p:sp>
      <p:sp>
        <p:nvSpPr>
          <p:cNvPr id="43" name="TextBox 42">
            <a:extLst>
              <a:ext uri="{FF2B5EF4-FFF2-40B4-BE49-F238E27FC236}">
                <a16:creationId xmlns:a16="http://schemas.microsoft.com/office/drawing/2014/main" id="{EC4794DD-BF96-E2F8-2728-D51BE295331E}"/>
              </a:ext>
            </a:extLst>
          </p:cNvPr>
          <p:cNvSpPr txBox="1"/>
          <p:nvPr/>
        </p:nvSpPr>
        <p:spPr>
          <a:xfrm>
            <a:off x="6681900" y="3656805"/>
            <a:ext cx="1918335"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1" i="0" u="none" strike="noStrike" kern="1200" cap="none" spc="0" normalizeH="0" baseline="0" noProof="0">
                <a:ln>
                  <a:noFill/>
                </a:ln>
                <a:solidFill>
                  <a:srgbClr val="830051"/>
                </a:solidFill>
                <a:effectLst/>
                <a:uLnTx/>
                <a:uFillTx/>
                <a:latin typeface="Calibri"/>
                <a:ea typeface="+mn-ea"/>
                <a:cs typeface="+mn-cs"/>
              </a:rPr>
              <a:t>8 (2,0)</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0" i="0" u="none" strike="noStrike" kern="1200" cap="none" spc="0" normalizeH="0" baseline="0" noProof="0">
                <a:ln>
                  <a:noFill/>
                </a:ln>
                <a:solidFill>
                  <a:srgbClr val="830051"/>
                </a:solidFill>
                <a:effectLst/>
                <a:uLnTx/>
                <a:uFillTx/>
                <a:latin typeface="Calibri"/>
                <a:ea typeface="+mn-ea"/>
                <a:cs typeface="+mn-cs"/>
              </a:rPr>
              <a:t>6 (1,5)</a:t>
            </a:r>
          </a:p>
        </p:txBody>
      </p:sp>
      <p:sp>
        <p:nvSpPr>
          <p:cNvPr id="44" name="TextBox 43">
            <a:extLst>
              <a:ext uri="{FF2B5EF4-FFF2-40B4-BE49-F238E27FC236}">
                <a16:creationId xmlns:a16="http://schemas.microsoft.com/office/drawing/2014/main" id="{6D9F38A3-4CA9-7179-91F8-F7046E8F42F9}"/>
              </a:ext>
            </a:extLst>
          </p:cNvPr>
          <p:cNvSpPr txBox="1"/>
          <p:nvPr/>
        </p:nvSpPr>
        <p:spPr>
          <a:xfrm>
            <a:off x="9106993" y="3656805"/>
            <a:ext cx="1918335"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1" i="0" u="none" strike="noStrike" kern="1200" cap="none" spc="0" normalizeH="0" baseline="0" noProof="0">
                <a:ln>
                  <a:noFill/>
                </a:ln>
                <a:solidFill>
                  <a:srgbClr val="F0AB00"/>
                </a:solidFill>
                <a:effectLst/>
                <a:uLnTx/>
                <a:uFillTx/>
                <a:latin typeface="Calibri"/>
                <a:ea typeface="+mn-ea"/>
                <a:cs typeface="+mn-cs"/>
              </a:rPr>
              <a:t>10 (2,5)</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0" i="0" u="none" strike="noStrike" kern="1200" cap="none" spc="0" normalizeH="0" baseline="0" noProof="0">
                <a:ln>
                  <a:noFill/>
                </a:ln>
                <a:solidFill>
                  <a:srgbClr val="F0AB00"/>
                </a:solidFill>
                <a:effectLst/>
                <a:uLnTx/>
                <a:uFillTx/>
                <a:latin typeface="Calibri"/>
                <a:ea typeface="+mn-ea"/>
                <a:cs typeface="+mn-cs"/>
              </a:rPr>
              <a:t>8 (2,0)</a:t>
            </a:r>
          </a:p>
        </p:txBody>
      </p:sp>
      <p:grpSp>
        <p:nvGrpSpPr>
          <p:cNvPr id="45" name="object 370">
            <a:extLst>
              <a:ext uri="{FF2B5EF4-FFF2-40B4-BE49-F238E27FC236}">
                <a16:creationId xmlns:a16="http://schemas.microsoft.com/office/drawing/2014/main" id="{460F780A-4DCE-6ACC-F154-9ED109BBA4B6}"/>
              </a:ext>
            </a:extLst>
          </p:cNvPr>
          <p:cNvGrpSpPr>
            <a:grpSpLocks noChangeAspect="1"/>
          </p:cNvGrpSpPr>
          <p:nvPr/>
        </p:nvGrpSpPr>
        <p:grpSpPr>
          <a:xfrm>
            <a:off x="7032306" y="4432039"/>
            <a:ext cx="3584392" cy="825317"/>
            <a:chOff x="15834417" y="6407343"/>
            <a:chExt cx="1908928" cy="439756"/>
          </a:xfrm>
        </p:grpSpPr>
        <p:sp>
          <p:nvSpPr>
            <p:cNvPr id="46" name="object 371">
              <a:extLst>
                <a:ext uri="{FF2B5EF4-FFF2-40B4-BE49-F238E27FC236}">
                  <a16:creationId xmlns:a16="http://schemas.microsoft.com/office/drawing/2014/main" id="{D1282508-7580-2C4B-760D-078C7F771958}"/>
                </a:ext>
              </a:extLst>
            </p:cNvPr>
            <p:cNvSpPr/>
            <p:nvPr/>
          </p:nvSpPr>
          <p:spPr>
            <a:xfrm>
              <a:off x="16070581" y="6568194"/>
              <a:ext cx="1436370" cy="271145"/>
            </a:xfrm>
            <a:custGeom>
              <a:avLst/>
              <a:gdLst/>
              <a:ahLst/>
              <a:cxnLst/>
              <a:rect l="l" t="t" r="r" b="b"/>
              <a:pathLst>
                <a:path w="1436369" h="271145">
                  <a:moveTo>
                    <a:pt x="1436039" y="52387"/>
                  </a:moveTo>
                  <a:lnTo>
                    <a:pt x="1433283" y="41211"/>
                  </a:lnTo>
                  <a:lnTo>
                    <a:pt x="1425752" y="32054"/>
                  </a:lnTo>
                  <a:lnTo>
                    <a:pt x="1414602" y="25882"/>
                  </a:lnTo>
                  <a:lnTo>
                    <a:pt x="1401000" y="23609"/>
                  </a:lnTo>
                  <a:lnTo>
                    <a:pt x="762635" y="23609"/>
                  </a:lnTo>
                  <a:lnTo>
                    <a:pt x="760780" y="20447"/>
                  </a:lnTo>
                  <a:lnTo>
                    <a:pt x="741527" y="5486"/>
                  </a:lnTo>
                  <a:lnTo>
                    <a:pt x="718019" y="0"/>
                  </a:lnTo>
                  <a:lnTo>
                    <a:pt x="694512" y="5486"/>
                  </a:lnTo>
                  <a:lnTo>
                    <a:pt x="675259" y="20447"/>
                  </a:lnTo>
                  <a:lnTo>
                    <a:pt x="673392" y="23609"/>
                  </a:lnTo>
                  <a:lnTo>
                    <a:pt x="35039" y="23609"/>
                  </a:lnTo>
                  <a:lnTo>
                    <a:pt x="21424" y="25882"/>
                  </a:lnTo>
                  <a:lnTo>
                    <a:pt x="10287" y="32054"/>
                  </a:lnTo>
                  <a:lnTo>
                    <a:pt x="2755" y="41211"/>
                  </a:lnTo>
                  <a:lnTo>
                    <a:pt x="0" y="52387"/>
                  </a:lnTo>
                  <a:lnTo>
                    <a:pt x="2755" y="63550"/>
                  </a:lnTo>
                  <a:lnTo>
                    <a:pt x="10287" y="72707"/>
                  </a:lnTo>
                  <a:lnTo>
                    <a:pt x="21424" y="78892"/>
                  </a:lnTo>
                  <a:lnTo>
                    <a:pt x="35039" y="81153"/>
                  </a:lnTo>
                  <a:lnTo>
                    <a:pt x="653999" y="81153"/>
                  </a:lnTo>
                  <a:lnTo>
                    <a:pt x="608342" y="233108"/>
                  </a:lnTo>
                  <a:lnTo>
                    <a:pt x="620801" y="255143"/>
                  </a:lnTo>
                  <a:lnTo>
                    <a:pt x="650697" y="266293"/>
                  </a:lnTo>
                  <a:lnTo>
                    <a:pt x="686828" y="270268"/>
                  </a:lnTo>
                  <a:lnTo>
                    <a:pt x="718019" y="270764"/>
                  </a:lnTo>
                  <a:lnTo>
                    <a:pt x="749198" y="270268"/>
                  </a:lnTo>
                  <a:lnTo>
                    <a:pt x="785342" y="266293"/>
                  </a:lnTo>
                  <a:lnTo>
                    <a:pt x="815238" y="255143"/>
                  </a:lnTo>
                  <a:lnTo>
                    <a:pt x="827684" y="233108"/>
                  </a:lnTo>
                  <a:lnTo>
                    <a:pt x="782015" y="81153"/>
                  </a:lnTo>
                  <a:lnTo>
                    <a:pt x="1401000" y="81153"/>
                  </a:lnTo>
                  <a:lnTo>
                    <a:pt x="1414602" y="78892"/>
                  </a:lnTo>
                  <a:lnTo>
                    <a:pt x="1425752" y="72707"/>
                  </a:lnTo>
                  <a:lnTo>
                    <a:pt x="1433283" y="63550"/>
                  </a:lnTo>
                  <a:lnTo>
                    <a:pt x="1436039" y="52387"/>
                  </a:lnTo>
                  <a:close/>
                </a:path>
              </a:pathLst>
            </a:custGeom>
            <a:solidFill>
              <a:srgbClr val="9DB6B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4444"/>
                </a:solidFill>
                <a:effectLst/>
                <a:uLnTx/>
                <a:uFillTx/>
                <a:latin typeface="Calibri"/>
                <a:ea typeface="+mn-ea"/>
                <a:cs typeface="+mn-cs"/>
              </a:endParaRPr>
            </a:p>
          </p:txBody>
        </p:sp>
        <p:sp>
          <p:nvSpPr>
            <p:cNvPr id="47" name="object 372">
              <a:extLst>
                <a:ext uri="{FF2B5EF4-FFF2-40B4-BE49-F238E27FC236}">
                  <a16:creationId xmlns:a16="http://schemas.microsoft.com/office/drawing/2014/main" id="{018DD374-798C-F432-7665-EA06AD934508}"/>
                </a:ext>
              </a:extLst>
            </p:cNvPr>
            <p:cNvSpPr/>
            <p:nvPr/>
          </p:nvSpPr>
          <p:spPr>
            <a:xfrm>
              <a:off x="16761809" y="6599279"/>
              <a:ext cx="53975" cy="53975"/>
            </a:xfrm>
            <a:custGeom>
              <a:avLst/>
              <a:gdLst/>
              <a:ahLst/>
              <a:cxnLst/>
              <a:rect l="l" t="t" r="r" b="b"/>
              <a:pathLst>
                <a:path w="53975" h="53975">
                  <a:moveTo>
                    <a:pt x="26793" y="0"/>
                  </a:moveTo>
                  <a:lnTo>
                    <a:pt x="16365" y="2105"/>
                  </a:lnTo>
                  <a:lnTo>
                    <a:pt x="7848" y="7847"/>
                  </a:lnTo>
                  <a:lnTo>
                    <a:pt x="2105" y="16364"/>
                  </a:lnTo>
                  <a:lnTo>
                    <a:pt x="0" y="26793"/>
                  </a:lnTo>
                  <a:lnTo>
                    <a:pt x="2105" y="37223"/>
                  </a:lnTo>
                  <a:lnTo>
                    <a:pt x="7848" y="45740"/>
                  </a:lnTo>
                  <a:lnTo>
                    <a:pt x="16365" y="51482"/>
                  </a:lnTo>
                  <a:lnTo>
                    <a:pt x="26793" y="53587"/>
                  </a:lnTo>
                  <a:lnTo>
                    <a:pt x="37225" y="51482"/>
                  </a:lnTo>
                  <a:lnTo>
                    <a:pt x="45743" y="45740"/>
                  </a:lnTo>
                  <a:lnTo>
                    <a:pt x="51486" y="37223"/>
                  </a:lnTo>
                  <a:lnTo>
                    <a:pt x="53591" y="26793"/>
                  </a:lnTo>
                  <a:lnTo>
                    <a:pt x="51486" y="16364"/>
                  </a:lnTo>
                  <a:lnTo>
                    <a:pt x="45743" y="7847"/>
                  </a:lnTo>
                  <a:lnTo>
                    <a:pt x="37225" y="2105"/>
                  </a:lnTo>
                  <a:lnTo>
                    <a:pt x="2679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4444"/>
                </a:solidFill>
                <a:effectLst/>
                <a:uLnTx/>
                <a:uFillTx/>
                <a:latin typeface="Calibri"/>
                <a:ea typeface="+mn-ea"/>
                <a:cs typeface="+mn-cs"/>
              </a:endParaRPr>
            </a:p>
          </p:txBody>
        </p:sp>
        <p:sp>
          <p:nvSpPr>
            <p:cNvPr id="48" name="object 373">
              <a:extLst>
                <a:ext uri="{FF2B5EF4-FFF2-40B4-BE49-F238E27FC236}">
                  <a16:creationId xmlns:a16="http://schemas.microsoft.com/office/drawing/2014/main" id="{FE6616D7-BFE5-A160-58AF-84BBA8A48E8C}"/>
                </a:ext>
              </a:extLst>
            </p:cNvPr>
            <p:cNvSpPr/>
            <p:nvPr/>
          </p:nvSpPr>
          <p:spPr>
            <a:xfrm>
              <a:off x="16633261" y="6777249"/>
              <a:ext cx="311150" cy="69850"/>
            </a:xfrm>
            <a:custGeom>
              <a:avLst/>
              <a:gdLst/>
              <a:ahLst/>
              <a:cxnLst/>
              <a:rect l="l" t="t" r="r" b="b"/>
              <a:pathLst>
                <a:path w="311150" h="69850">
                  <a:moveTo>
                    <a:pt x="310686" y="0"/>
                  </a:moveTo>
                  <a:lnTo>
                    <a:pt x="0" y="0"/>
                  </a:lnTo>
                  <a:lnTo>
                    <a:pt x="0" y="69414"/>
                  </a:lnTo>
                  <a:lnTo>
                    <a:pt x="310686" y="69414"/>
                  </a:lnTo>
                  <a:lnTo>
                    <a:pt x="310686" y="0"/>
                  </a:lnTo>
                  <a:close/>
                </a:path>
              </a:pathLst>
            </a:custGeom>
            <a:solidFill>
              <a:srgbClr val="9DB6B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4444"/>
                </a:solidFill>
                <a:effectLst/>
                <a:uLnTx/>
                <a:uFillTx/>
                <a:latin typeface="Calibri"/>
                <a:ea typeface="+mn-ea"/>
                <a:cs typeface="+mn-cs"/>
              </a:endParaRPr>
            </a:p>
          </p:txBody>
        </p:sp>
        <p:pic>
          <p:nvPicPr>
            <p:cNvPr id="49" name="object 374">
              <a:extLst>
                <a:ext uri="{FF2B5EF4-FFF2-40B4-BE49-F238E27FC236}">
                  <a16:creationId xmlns:a16="http://schemas.microsoft.com/office/drawing/2014/main" id="{C4036044-C51F-E4E3-E177-C91506D33DE7}"/>
                </a:ext>
              </a:extLst>
            </p:cNvPr>
            <p:cNvPicPr/>
            <p:nvPr/>
          </p:nvPicPr>
          <p:blipFill>
            <a:blip r:embed="rId3" cstate="print"/>
            <a:stretch>
              <a:fillRect/>
            </a:stretch>
          </p:blipFill>
          <p:spPr>
            <a:xfrm>
              <a:off x="16112912" y="6439803"/>
              <a:ext cx="91426" cy="228552"/>
            </a:xfrm>
            <a:prstGeom prst="rect">
              <a:avLst/>
            </a:prstGeom>
          </p:spPr>
        </p:pic>
        <p:sp>
          <p:nvSpPr>
            <p:cNvPr id="50" name="object 375">
              <a:extLst>
                <a:ext uri="{FF2B5EF4-FFF2-40B4-BE49-F238E27FC236}">
                  <a16:creationId xmlns:a16="http://schemas.microsoft.com/office/drawing/2014/main" id="{77882772-EA1A-C7A5-42AA-9713D56104CF}"/>
                </a:ext>
              </a:extLst>
            </p:cNvPr>
            <p:cNvSpPr/>
            <p:nvPr/>
          </p:nvSpPr>
          <p:spPr>
            <a:xfrm>
              <a:off x="15834417" y="6407343"/>
              <a:ext cx="648970" cy="140335"/>
            </a:xfrm>
            <a:custGeom>
              <a:avLst/>
              <a:gdLst/>
              <a:ahLst/>
              <a:cxnLst/>
              <a:rect l="l" t="t" r="r" b="b"/>
              <a:pathLst>
                <a:path w="648969" h="140334">
                  <a:moveTo>
                    <a:pt x="648291" y="0"/>
                  </a:moveTo>
                  <a:lnTo>
                    <a:pt x="127" y="0"/>
                  </a:lnTo>
                  <a:lnTo>
                    <a:pt x="108" y="1043"/>
                  </a:lnTo>
                  <a:lnTo>
                    <a:pt x="0" y="2059"/>
                  </a:lnTo>
                  <a:lnTo>
                    <a:pt x="0" y="3110"/>
                  </a:lnTo>
                  <a:lnTo>
                    <a:pt x="8673" y="56210"/>
                  </a:lnTo>
                  <a:lnTo>
                    <a:pt x="32289" y="99696"/>
                  </a:lnTo>
                  <a:lnTo>
                    <a:pt x="67239" y="129079"/>
                  </a:lnTo>
                  <a:lnTo>
                    <a:pt x="109917" y="139871"/>
                  </a:lnTo>
                  <a:lnTo>
                    <a:pt x="538502" y="139871"/>
                  </a:lnTo>
                  <a:lnTo>
                    <a:pt x="581179" y="129079"/>
                  </a:lnTo>
                  <a:lnTo>
                    <a:pt x="616130" y="99696"/>
                  </a:lnTo>
                  <a:lnTo>
                    <a:pt x="639745" y="56210"/>
                  </a:lnTo>
                  <a:lnTo>
                    <a:pt x="648419" y="3110"/>
                  </a:lnTo>
                  <a:lnTo>
                    <a:pt x="648419" y="2059"/>
                  </a:lnTo>
                  <a:lnTo>
                    <a:pt x="648310" y="1043"/>
                  </a:lnTo>
                  <a:lnTo>
                    <a:pt x="648291" y="0"/>
                  </a:lnTo>
                  <a:close/>
                </a:path>
              </a:pathLst>
            </a:custGeom>
            <a:solidFill>
              <a:srgbClr val="9DB6B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4444"/>
                </a:solidFill>
                <a:effectLst/>
                <a:uLnTx/>
                <a:uFillTx/>
                <a:latin typeface="Calibri"/>
                <a:ea typeface="+mn-ea"/>
                <a:cs typeface="+mn-cs"/>
              </a:endParaRPr>
            </a:p>
          </p:txBody>
        </p:sp>
        <p:sp>
          <p:nvSpPr>
            <p:cNvPr id="51" name="object 376">
              <a:extLst>
                <a:ext uri="{FF2B5EF4-FFF2-40B4-BE49-F238E27FC236}">
                  <a16:creationId xmlns:a16="http://schemas.microsoft.com/office/drawing/2014/main" id="{6169F839-2A75-88B1-64A7-CB148B4BC007}"/>
                </a:ext>
              </a:extLst>
            </p:cNvPr>
            <p:cNvSpPr/>
            <p:nvPr/>
          </p:nvSpPr>
          <p:spPr>
            <a:xfrm>
              <a:off x="16132220" y="6592422"/>
              <a:ext cx="53340" cy="53340"/>
            </a:xfrm>
            <a:custGeom>
              <a:avLst/>
              <a:gdLst/>
              <a:ahLst/>
              <a:cxnLst/>
              <a:rect l="l" t="t" r="r" b="b"/>
              <a:pathLst>
                <a:path w="53340" h="53340">
                  <a:moveTo>
                    <a:pt x="26406" y="0"/>
                  </a:moveTo>
                  <a:lnTo>
                    <a:pt x="16128" y="2075"/>
                  </a:lnTo>
                  <a:lnTo>
                    <a:pt x="7734" y="7734"/>
                  </a:lnTo>
                  <a:lnTo>
                    <a:pt x="2075" y="16128"/>
                  </a:lnTo>
                  <a:lnTo>
                    <a:pt x="0" y="26406"/>
                  </a:lnTo>
                  <a:lnTo>
                    <a:pt x="2075" y="36685"/>
                  </a:lnTo>
                  <a:lnTo>
                    <a:pt x="7734" y="45078"/>
                  </a:lnTo>
                  <a:lnTo>
                    <a:pt x="16128" y="50737"/>
                  </a:lnTo>
                  <a:lnTo>
                    <a:pt x="26406" y="52812"/>
                  </a:lnTo>
                  <a:lnTo>
                    <a:pt x="36685" y="50737"/>
                  </a:lnTo>
                  <a:lnTo>
                    <a:pt x="45078" y="45078"/>
                  </a:lnTo>
                  <a:lnTo>
                    <a:pt x="50737" y="36685"/>
                  </a:lnTo>
                  <a:lnTo>
                    <a:pt x="52812" y="26406"/>
                  </a:lnTo>
                  <a:lnTo>
                    <a:pt x="50737" y="16128"/>
                  </a:lnTo>
                  <a:lnTo>
                    <a:pt x="45078" y="7734"/>
                  </a:lnTo>
                  <a:lnTo>
                    <a:pt x="36685" y="2075"/>
                  </a:lnTo>
                  <a:lnTo>
                    <a:pt x="26406"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4444"/>
                </a:solidFill>
                <a:effectLst/>
                <a:uLnTx/>
                <a:uFillTx/>
                <a:latin typeface="Calibri"/>
                <a:ea typeface="+mn-ea"/>
                <a:cs typeface="+mn-cs"/>
              </a:endParaRPr>
            </a:p>
          </p:txBody>
        </p:sp>
        <p:pic>
          <p:nvPicPr>
            <p:cNvPr id="52" name="object 377">
              <a:extLst>
                <a:ext uri="{FF2B5EF4-FFF2-40B4-BE49-F238E27FC236}">
                  <a16:creationId xmlns:a16="http://schemas.microsoft.com/office/drawing/2014/main" id="{B24F6660-1EE6-C61B-D35C-EF062BFAA022}"/>
                </a:ext>
              </a:extLst>
            </p:cNvPr>
            <p:cNvPicPr/>
            <p:nvPr/>
          </p:nvPicPr>
          <p:blipFill>
            <a:blip r:embed="rId3" cstate="print"/>
            <a:stretch>
              <a:fillRect/>
            </a:stretch>
          </p:blipFill>
          <p:spPr>
            <a:xfrm>
              <a:off x="17372873" y="6439803"/>
              <a:ext cx="91422" cy="228552"/>
            </a:xfrm>
            <a:prstGeom prst="rect">
              <a:avLst/>
            </a:prstGeom>
          </p:spPr>
        </p:pic>
        <p:sp>
          <p:nvSpPr>
            <p:cNvPr id="53" name="object 378">
              <a:extLst>
                <a:ext uri="{FF2B5EF4-FFF2-40B4-BE49-F238E27FC236}">
                  <a16:creationId xmlns:a16="http://schemas.microsoft.com/office/drawing/2014/main" id="{20840200-0746-23C3-7850-BC7BF50BEC4D}"/>
                </a:ext>
              </a:extLst>
            </p:cNvPr>
            <p:cNvSpPr/>
            <p:nvPr/>
          </p:nvSpPr>
          <p:spPr>
            <a:xfrm>
              <a:off x="17094375" y="6407343"/>
              <a:ext cx="648970" cy="140335"/>
            </a:xfrm>
            <a:custGeom>
              <a:avLst/>
              <a:gdLst/>
              <a:ahLst/>
              <a:cxnLst/>
              <a:rect l="l" t="t" r="r" b="b"/>
              <a:pathLst>
                <a:path w="648969" h="140334">
                  <a:moveTo>
                    <a:pt x="648291" y="0"/>
                  </a:moveTo>
                  <a:lnTo>
                    <a:pt x="127" y="0"/>
                  </a:lnTo>
                  <a:lnTo>
                    <a:pt x="108" y="1043"/>
                  </a:lnTo>
                  <a:lnTo>
                    <a:pt x="0" y="2059"/>
                  </a:lnTo>
                  <a:lnTo>
                    <a:pt x="0" y="3110"/>
                  </a:lnTo>
                  <a:lnTo>
                    <a:pt x="8672" y="56210"/>
                  </a:lnTo>
                  <a:lnTo>
                    <a:pt x="32287" y="99696"/>
                  </a:lnTo>
                  <a:lnTo>
                    <a:pt x="67237" y="129079"/>
                  </a:lnTo>
                  <a:lnTo>
                    <a:pt x="109917" y="139871"/>
                  </a:lnTo>
                  <a:lnTo>
                    <a:pt x="538502" y="139871"/>
                  </a:lnTo>
                  <a:lnTo>
                    <a:pt x="581179" y="129079"/>
                  </a:lnTo>
                  <a:lnTo>
                    <a:pt x="616130" y="99696"/>
                  </a:lnTo>
                  <a:lnTo>
                    <a:pt x="639745" y="56210"/>
                  </a:lnTo>
                  <a:lnTo>
                    <a:pt x="648419" y="3110"/>
                  </a:lnTo>
                  <a:lnTo>
                    <a:pt x="648419" y="2059"/>
                  </a:lnTo>
                  <a:lnTo>
                    <a:pt x="648310" y="1043"/>
                  </a:lnTo>
                  <a:lnTo>
                    <a:pt x="648291" y="0"/>
                  </a:lnTo>
                  <a:close/>
                </a:path>
              </a:pathLst>
            </a:custGeom>
            <a:solidFill>
              <a:srgbClr val="9DB6B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4444"/>
                </a:solidFill>
                <a:effectLst/>
                <a:uLnTx/>
                <a:uFillTx/>
                <a:latin typeface="Calibri"/>
                <a:ea typeface="+mn-ea"/>
                <a:cs typeface="+mn-cs"/>
              </a:endParaRPr>
            </a:p>
          </p:txBody>
        </p:sp>
        <p:sp>
          <p:nvSpPr>
            <p:cNvPr id="54" name="object 379">
              <a:extLst>
                <a:ext uri="{FF2B5EF4-FFF2-40B4-BE49-F238E27FC236}">
                  <a16:creationId xmlns:a16="http://schemas.microsoft.com/office/drawing/2014/main" id="{25D2331F-0634-1FEA-A5D8-11A2F99B8139}"/>
                </a:ext>
              </a:extLst>
            </p:cNvPr>
            <p:cNvSpPr/>
            <p:nvPr/>
          </p:nvSpPr>
          <p:spPr>
            <a:xfrm>
              <a:off x="17392178" y="6592422"/>
              <a:ext cx="53340" cy="53340"/>
            </a:xfrm>
            <a:custGeom>
              <a:avLst/>
              <a:gdLst/>
              <a:ahLst/>
              <a:cxnLst/>
              <a:rect l="l" t="t" r="r" b="b"/>
              <a:pathLst>
                <a:path w="53340" h="53340">
                  <a:moveTo>
                    <a:pt x="26406" y="0"/>
                  </a:moveTo>
                  <a:lnTo>
                    <a:pt x="16126" y="2075"/>
                  </a:lnTo>
                  <a:lnTo>
                    <a:pt x="7733" y="7734"/>
                  </a:lnTo>
                  <a:lnTo>
                    <a:pt x="2074" y="16128"/>
                  </a:lnTo>
                  <a:lnTo>
                    <a:pt x="0" y="26406"/>
                  </a:lnTo>
                  <a:lnTo>
                    <a:pt x="2074" y="36685"/>
                  </a:lnTo>
                  <a:lnTo>
                    <a:pt x="7733" y="45078"/>
                  </a:lnTo>
                  <a:lnTo>
                    <a:pt x="16126" y="50737"/>
                  </a:lnTo>
                  <a:lnTo>
                    <a:pt x="26406" y="52812"/>
                  </a:lnTo>
                  <a:lnTo>
                    <a:pt x="36685" y="50737"/>
                  </a:lnTo>
                  <a:lnTo>
                    <a:pt x="45078" y="45078"/>
                  </a:lnTo>
                  <a:lnTo>
                    <a:pt x="50737" y="36685"/>
                  </a:lnTo>
                  <a:lnTo>
                    <a:pt x="52812" y="26406"/>
                  </a:lnTo>
                  <a:lnTo>
                    <a:pt x="50737" y="16128"/>
                  </a:lnTo>
                  <a:lnTo>
                    <a:pt x="45078" y="7734"/>
                  </a:lnTo>
                  <a:lnTo>
                    <a:pt x="36685" y="2075"/>
                  </a:lnTo>
                  <a:lnTo>
                    <a:pt x="26406"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4444"/>
                </a:solidFill>
                <a:effectLst/>
                <a:uLnTx/>
                <a:uFillTx/>
                <a:latin typeface="Calibri"/>
                <a:ea typeface="+mn-ea"/>
                <a:cs typeface="+mn-cs"/>
              </a:endParaRPr>
            </a:p>
          </p:txBody>
        </p:sp>
      </p:grpSp>
      <p:sp>
        <p:nvSpPr>
          <p:cNvPr id="59" name="TextBox 58">
            <a:extLst>
              <a:ext uri="{FF2B5EF4-FFF2-40B4-BE49-F238E27FC236}">
                <a16:creationId xmlns:a16="http://schemas.microsoft.com/office/drawing/2014/main" id="{CAE492D8-6D88-D907-3537-B5DC299F332E}"/>
              </a:ext>
            </a:extLst>
          </p:cNvPr>
          <p:cNvSpPr txBox="1"/>
          <p:nvPr/>
        </p:nvSpPr>
        <p:spPr>
          <a:xfrm>
            <a:off x="7992561" y="3174343"/>
            <a:ext cx="164796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1" i="0" u="none" strike="noStrike" kern="1200" cap="none" spc="0" normalizeH="0" baseline="0" noProof="0">
                <a:ln>
                  <a:noFill/>
                </a:ln>
                <a:solidFill>
                  <a:srgbClr val="3F4444"/>
                </a:solidFill>
                <a:effectLst/>
                <a:uLnTx/>
                <a:uFillTx/>
                <a:latin typeface="Calibri"/>
                <a:ea typeface="+mn-ea"/>
                <a:cs typeface="+mn-cs"/>
              </a:rPr>
              <a:t>n (%)</a:t>
            </a:r>
          </a:p>
        </p:txBody>
      </p:sp>
      <p:sp>
        <p:nvSpPr>
          <p:cNvPr id="60" name="TextBox 59">
            <a:extLst>
              <a:ext uri="{FF2B5EF4-FFF2-40B4-BE49-F238E27FC236}">
                <a16:creationId xmlns:a16="http://schemas.microsoft.com/office/drawing/2014/main" id="{A9F9B25A-E93E-448C-978A-3F77C249ED00}"/>
              </a:ext>
            </a:extLst>
          </p:cNvPr>
          <p:cNvSpPr txBox="1"/>
          <p:nvPr/>
        </p:nvSpPr>
        <p:spPr>
          <a:xfrm>
            <a:off x="9106993" y="2383751"/>
            <a:ext cx="191833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1" i="0" u="none" strike="noStrike" kern="1200" cap="none" spc="0" normalizeH="0" baseline="0" noProof="0" dirty="0">
                <a:ln>
                  <a:noFill/>
                </a:ln>
                <a:solidFill>
                  <a:srgbClr val="F0AB00"/>
                </a:solidFill>
                <a:effectLst/>
                <a:uLnTx/>
                <a:uFillTx/>
                <a:latin typeface="Calibri"/>
                <a:ea typeface="+mn-ea"/>
                <a:cs typeface="+mn-cs"/>
              </a:rPr>
              <a:t>Плацебо + абиратерон </a:t>
            </a:r>
            <a:br>
              <a:rPr kumimoji="0" lang="en-GB" sz="1400" b="1" i="0" u="none" strike="noStrike" kern="1200" cap="none" spc="0" normalizeH="0" baseline="0" noProof="0" dirty="0">
                <a:ln>
                  <a:noFill/>
                </a:ln>
                <a:solidFill>
                  <a:srgbClr val="F0AB00"/>
                </a:solidFill>
                <a:effectLst/>
                <a:uLnTx/>
                <a:uFillTx/>
                <a:latin typeface="Calibri"/>
                <a:ea typeface="+mn-ea"/>
                <a:cs typeface="+mn-cs"/>
              </a:rPr>
            </a:br>
            <a:r>
              <a:rPr kumimoji="0" lang="ru-RU" sz="1400" b="1" i="0" u="none" strike="noStrike" kern="1200" cap="none" spc="0" normalizeH="0" baseline="0" noProof="0" dirty="0">
                <a:ln>
                  <a:noFill/>
                </a:ln>
                <a:solidFill>
                  <a:srgbClr val="F0AB00"/>
                </a:solidFill>
                <a:effectLst/>
                <a:uLnTx/>
                <a:uFillTx/>
                <a:latin typeface="Calibri"/>
                <a:ea typeface="+mn-ea"/>
                <a:cs typeface="+mn-cs"/>
              </a:rPr>
              <a:t>(N = 396)</a:t>
            </a:r>
          </a:p>
        </p:txBody>
      </p:sp>
      <p:sp>
        <p:nvSpPr>
          <p:cNvPr id="61" name="TextBox 60">
            <a:extLst>
              <a:ext uri="{FF2B5EF4-FFF2-40B4-BE49-F238E27FC236}">
                <a16:creationId xmlns:a16="http://schemas.microsoft.com/office/drawing/2014/main" id="{3360311B-2CAC-08BD-5C6F-2EFD34567047}"/>
              </a:ext>
            </a:extLst>
          </p:cNvPr>
          <p:cNvSpPr txBox="1"/>
          <p:nvPr/>
        </p:nvSpPr>
        <p:spPr>
          <a:xfrm>
            <a:off x="6714238" y="2383751"/>
            <a:ext cx="191833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1" i="0" u="none" strike="noStrike" kern="1200" cap="none" spc="0" normalizeH="0" baseline="0" noProof="0" dirty="0">
                <a:ln>
                  <a:noFill/>
                </a:ln>
                <a:solidFill>
                  <a:srgbClr val="830051"/>
                </a:solidFill>
                <a:effectLst/>
                <a:uLnTx/>
                <a:uFillTx/>
                <a:latin typeface="Calibri"/>
                <a:ea typeface="+mn-ea"/>
                <a:cs typeface="+mn-cs"/>
              </a:rPr>
              <a:t>Олапариб + абиратерон </a:t>
            </a:r>
            <a:br>
              <a:rPr kumimoji="0" lang="en-GB" sz="1400" b="1" i="0" u="none" strike="noStrike" kern="1200" cap="none" spc="0" normalizeH="0" baseline="0" noProof="0" dirty="0">
                <a:ln>
                  <a:noFill/>
                </a:ln>
                <a:solidFill>
                  <a:srgbClr val="830051"/>
                </a:solidFill>
                <a:effectLst/>
                <a:uLnTx/>
                <a:uFillTx/>
                <a:latin typeface="Calibri"/>
                <a:ea typeface="+mn-ea"/>
                <a:cs typeface="+mn-cs"/>
              </a:rPr>
            </a:br>
            <a:r>
              <a:rPr kumimoji="0" lang="ru-RU" sz="1400" b="1" i="0" u="none" strike="noStrike" kern="1200" cap="none" spc="0" normalizeH="0" baseline="0" noProof="0" dirty="0">
                <a:ln>
                  <a:noFill/>
                </a:ln>
                <a:solidFill>
                  <a:srgbClr val="830051"/>
                </a:solidFill>
                <a:effectLst/>
                <a:uLnTx/>
                <a:uFillTx/>
                <a:latin typeface="Calibri"/>
                <a:ea typeface="+mn-ea"/>
                <a:cs typeface="+mn-cs"/>
              </a:rPr>
              <a:t> (N = 398)</a:t>
            </a:r>
          </a:p>
        </p:txBody>
      </p:sp>
      <p:sp>
        <p:nvSpPr>
          <p:cNvPr id="62" name="TextBox 61">
            <a:extLst>
              <a:ext uri="{FF2B5EF4-FFF2-40B4-BE49-F238E27FC236}">
                <a16:creationId xmlns:a16="http://schemas.microsoft.com/office/drawing/2014/main" id="{4D5C6431-29E6-BEDE-BD07-3B847424FEAF}"/>
              </a:ext>
            </a:extLst>
          </p:cNvPr>
          <p:cNvSpPr txBox="1"/>
          <p:nvPr/>
        </p:nvSpPr>
        <p:spPr>
          <a:xfrm>
            <a:off x="2544649" y="2968526"/>
            <a:ext cx="164796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1" i="0" u="none" strike="noStrike" kern="1200" cap="none" spc="0" normalizeH="0" baseline="0" noProof="0" dirty="0">
                <a:ln>
                  <a:noFill/>
                </a:ln>
                <a:solidFill>
                  <a:srgbClr val="3F4444"/>
                </a:solidFill>
                <a:effectLst/>
                <a:uLnTx/>
                <a:uFillTx/>
                <a:latin typeface="Calibri"/>
                <a:ea typeface="+mn-ea"/>
                <a:cs typeface="+mn-cs"/>
              </a:rPr>
              <a:t>n (%)</a:t>
            </a:r>
          </a:p>
        </p:txBody>
      </p:sp>
      <p:sp>
        <p:nvSpPr>
          <p:cNvPr id="63" name="TextBox 62">
            <a:extLst>
              <a:ext uri="{FF2B5EF4-FFF2-40B4-BE49-F238E27FC236}">
                <a16:creationId xmlns:a16="http://schemas.microsoft.com/office/drawing/2014/main" id="{81E1D37E-9821-90BD-D2DF-6F2A35C7A577}"/>
              </a:ext>
            </a:extLst>
          </p:cNvPr>
          <p:cNvSpPr txBox="1"/>
          <p:nvPr/>
        </p:nvSpPr>
        <p:spPr>
          <a:xfrm>
            <a:off x="3614123" y="2383751"/>
            <a:ext cx="191833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1" i="0" u="none" strike="noStrike" kern="1200" cap="none" spc="0" normalizeH="0" baseline="0" noProof="0" dirty="0">
                <a:ln>
                  <a:noFill/>
                </a:ln>
                <a:solidFill>
                  <a:srgbClr val="F0AB00"/>
                </a:solidFill>
                <a:effectLst/>
                <a:uLnTx/>
                <a:uFillTx/>
                <a:latin typeface="Calibri"/>
                <a:ea typeface="+mn-ea"/>
                <a:cs typeface="+mn-cs"/>
              </a:rPr>
              <a:t>Плацебо + абиратерон </a:t>
            </a:r>
            <a:br>
              <a:rPr kumimoji="0" lang="en-GB" sz="1400" b="1" i="0" u="none" strike="noStrike" kern="1200" cap="none" spc="0" normalizeH="0" baseline="0" noProof="0" dirty="0">
                <a:ln>
                  <a:noFill/>
                </a:ln>
                <a:solidFill>
                  <a:srgbClr val="F0AB00"/>
                </a:solidFill>
                <a:effectLst/>
                <a:uLnTx/>
                <a:uFillTx/>
                <a:latin typeface="Calibri"/>
                <a:ea typeface="+mn-ea"/>
                <a:cs typeface="+mn-cs"/>
              </a:rPr>
            </a:br>
            <a:r>
              <a:rPr kumimoji="0" lang="ru-RU" sz="1400" b="1" i="0" u="none" strike="noStrike" kern="1200" cap="none" spc="0" normalizeH="0" baseline="0" noProof="0" dirty="0">
                <a:ln>
                  <a:noFill/>
                </a:ln>
                <a:solidFill>
                  <a:srgbClr val="F0AB00"/>
                </a:solidFill>
                <a:effectLst/>
                <a:uLnTx/>
                <a:uFillTx/>
                <a:latin typeface="Calibri"/>
                <a:ea typeface="+mn-ea"/>
                <a:cs typeface="+mn-cs"/>
              </a:rPr>
              <a:t> (N = 396)</a:t>
            </a:r>
          </a:p>
        </p:txBody>
      </p:sp>
      <p:sp>
        <p:nvSpPr>
          <p:cNvPr id="64" name="TextBox 63">
            <a:extLst>
              <a:ext uri="{FF2B5EF4-FFF2-40B4-BE49-F238E27FC236}">
                <a16:creationId xmlns:a16="http://schemas.microsoft.com/office/drawing/2014/main" id="{A283BC50-8BC9-33B2-2DFC-C407FB226B9E}"/>
              </a:ext>
            </a:extLst>
          </p:cNvPr>
          <p:cNvSpPr txBox="1"/>
          <p:nvPr/>
        </p:nvSpPr>
        <p:spPr>
          <a:xfrm>
            <a:off x="1221368" y="2383751"/>
            <a:ext cx="1918335"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1" i="0" u="none" strike="noStrike" kern="1200" cap="none" spc="0" normalizeH="0" baseline="0" noProof="0" dirty="0">
                <a:ln>
                  <a:noFill/>
                </a:ln>
                <a:solidFill>
                  <a:srgbClr val="830051"/>
                </a:solidFill>
                <a:effectLst/>
                <a:uLnTx/>
                <a:uFillTx/>
                <a:latin typeface="Calibri"/>
                <a:ea typeface="+mn-ea"/>
                <a:cs typeface="+mn-cs"/>
              </a:rPr>
              <a:t>Олапариб + абиратерон </a:t>
            </a:r>
            <a:br>
              <a:rPr kumimoji="0" lang="en-GB" sz="1400" b="1" i="0" u="none" strike="noStrike" kern="1200" cap="none" spc="0" normalizeH="0" baseline="0" noProof="0" dirty="0">
                <a:ln>
                  <a:noFill/>
                </a:ln>
                <a:solidFill>
                  <a:srgbClr val="830051"/>
                </a:solidFill>
                <a:effectLst/>
                <a:uLnTx/>
                <a:uFillTx/>
                <a:latin typeface="Calibri"/>
                <a:ea typeface="+mn-ea"/>
                <a:cs typeface="+mn-cs"/>
              </a:rPr>
            </a:br>
            <a:r>
              <a:rPr kumimoji="0" lang="ru-RU" sz="1400" b="1" i="0" u="none" strike="noStrike" kern="1200" cap="none" spc="0" normalizeH="0" baseline="0" noProof="0" dirty="0">
                <a:ln>
                  <a:noFill/>
                </a:ln>
                <a:solidFill>
                  <a:srgbClr val="830051"/>
                </a:solidFill>
                <a:effectLst/>
                <a:uLnTx/>
                <a:uFillTx/>
                <a:latin typeface="Calibri"/>
                <a:ea typeface="+mn-ea"/>
                <a:cs typeface="+mn-cs"/>
              </a:rPr>
              <a:t> (N = 398)</a:t>
            </a:r>
          </a:p>
        </p:txBody>
      </p:sp>
      <p:sp>
        <p:nvSpPr>
          <p:cNvPr id="65" name="TextBox 64">
            <a:extLst>
              <a:ext uri="{FF2B5EF4-FFF2-40B4-BE49-F238E27FC236}">
                <a16:creationId xmlns:a16="http://schemas.microsoft.com/office/drawing/2014/main" id="{3D912821-7362-CD57-1E6E-120D5A555CC1}"/>
              </a:ext>
            </a:extLst>
          </p:cNvPr>
          <p:cNvSpPr txBox="1"/>
          <p:nvPr/>
        </p:nvSpPr>
        <p:spPr>
          <a:xfrm>
            <a:off x="7910680" y="3904710"/>
            <a:ext cx="191833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1200"/>
              </a:spcAft>
              <a:buClrTx/>
              <a:buSzTx/>
              <a:buFontTx/>
              <a:buNone/>
              <a:tabLst/>
              <a:defRPr/>
            </a:pPr>
            <a:r>
              <a:rPr kumimoji="0" lang="ru-RU" sz="1400" b="0" i="0" u="none" strike="noStrike" kern="1200" cap="none" spc="0" normalizeH="0" baseline="0" noProof="0">
                <a:ln>
                  <a:noFill/>
                </a:ln>
                <a:solidFill>
                  <a:srgbClr val="3F4444"/>
                </a:solidFill>
                <a:effectLst/>
                <a:uLnTx/>
                <a:uFillTx/>
                <a:latin typeface="Calibri"/>
                <a:ea typeface="+mn-ea"/>
                <a:cs typeface="+mn-cs"/>
              </a:rPr>
              <a:t>Степень тяжести ≥ 3</a:t>
            </a:r>
          </a:p>
        </p:txBody>
      </p:sp>
      <p:sp>
        <p:nvSpPr>
          <p:cNvPr id="66" name="TextBox 65">
            <a:extLst>
              <a:ext uri="{FF2B5EF4-FFF2-40B4-BE49-F238E27FC236}">
                <a16:creationId xmlns:a16="http://schemas.microsoft.com/office/drawing/2014/main" id="{F6F613F4-8CE3-D102-C0D0-8AAEF2A1DEF2}"/>
              </a:ext>
            </a:extLst>
          </p:cNvPr>
          <p:cNvSpPr txBox="1"/>
          <p:nvPr/>
        </p:nvSpPr>
        <p:spPr>
          <a:xfrm>
            <a:off x="2364506" y="3898581"/>
            <a:ext cx="191833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600"/>
              </a:spcBef>
              <a:spcAft>
                <a:spcPts val="1200"/>
              </a:spcAft>
              <a:buClrTx/>
              <a:buSzTx/>
              <a:buFontTx/>
              <a:buNone/>
              <a:tabLst/>
              <a:defRPr/>
            </a:pPr>
            <a:r>
              <a:rPr kumimoji="0" lang="ru-RU" sz="1400" b="0" i="0" u="none" strike="noStrike" kern="1200" cap="none" spc="0" normalizeH="0" baseline="0" noProof="0">
                <a:ln>
                  <a:noFill/>
                </a:ln>
                <a:solidFill>
                  <a:srgbClr val="3F4444"/>
                </a:solidFill>
                <a:effectLst/>
                <a:uLnTx/>
                <a:uFillTx/>
                <a:latin typeface="Calibri"/>
                <a:ea typeface="+mn-ea"/>
                <a:cs typeface="+mn-cs"/>
              </a:rPr>
              <a:t>Степень тяжести ≥ 3</a:t>
            </a:r>
          </a:p>
        </p:txBody>
      </p:sp>
    </p:spTree>
    <p:extLst>
      <p:ext uri="{BB962C8B-B14F-4D97-AF65-F5344CB8AC3E}">
        <p14:creationId xmlns:p14="http://schemas.microsoft.com/office/powerpoint/2010/main" val="12367880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9128214-FE1C-4160-B3DB-36FB4AB7C432}"/>
              </a:ext>
            </a:extLst>
          </p:cNvPr>
          <p:cNvSpPr>
            <a:spLocks noGrp="1"/>
          </p:cNvSpPr>
          <p:nvPr>
            <p:ph type="title"/>
          </p:nvPr>
        </p:nvSpPr>
        <p:spPr>
          <a:xfrm>
            <a:off x="751840" y="-609600"/>
            <a:ext cx="10708640" cy="2296160"/>
          </a:xfrm>
        </p:spPr>
        <p:txBody>
          <a:bodyPr>
            <a:normAutofit/>
          </a:bodyPr>
          <a:lstStyle/>
          <a:p>
            <a:pPr algn="ctr"/>
            <a:br>
              <a:rPr lang="ru-RU" sz="3100" dirty="0">
                <a:solidFill>
                  <a:prstClr val="black"/>
                </a:solidFill>
                <a:latin typeface="Times New Roman" panose="02020603050405020304" pitchFamily="18" charset="0"/>
                <a:cs typeface="Times New Roman" panose="02020603050405020304" pitchFamily="18" charset="0"/>
              </a:rPr>
            </a:br>
            <a:br>
              <a:rPr lang="ru-RU" sz="3100" dirty="0">
                <a:solidFill>
                  <a:prstClr val="black"/>
                </a:solidFill>
                <a:latin typeface="Times New Roman" panose="02020603050405020304" pitchFamily="18" charset="0"/>
                <a:cs typeface="Times New Roman" panose="02020603050405020304" pitchFamily="18" charset="0"/>
              </a:rPr>
            </a:br>
            <a:br>
              <a:rPr lang="ru-RU" sz="3100" dirty="0">
                <a:solidFill>
                  <a:prstClr val="black"/>
                </a:solidFill>
                <a:latin typeface="Times New Roman" panose="02020603050405020304" pitchFamily="18" charset="0"/>
                <a:cs typeface="Times New Roman" panose="02020603050405020304" pitchFamily="18" charset="0"/>
              </a:rPr>
            </a:br>
            <a:br>
              <a:rPr lang="ru-RU" sz="2400" dirty="0">
                <a:solidFill>
                  <a:prstClr val="black"/>
                </a:solidFill>
                <a:latin typeface="Calibri" panose="020F0502020204030204"/>
              </a:rPr>
            </a:br>
            <a:endParaRPr lang="ru-RU" sz="2400" dirty="0"/>
          </a:p>
        </p:txBody>
      </p:sp>
      <p:sp>
        <p:nvSpPr>
          <p:cNvPr id="3" name="Объект 2"/>
          <p:cNvSpPr>
            <a:spLocks noGrp="1"/>
          </p:cNvSpPr>
          <p:nvPr>
            <p:ph idx="1"/>
          </p:nvPr>
        </p:nvSpPr>
        <p:spPr/>
        <p:txBody>
          <a:bodyPr/>
          <a:lstStyle/>
          <a:p>
            <a:endParaRPr lang="ru-RU"/>
          </a:p>
        </p:txBody>
      </p:sp>
      <p:graphicFrame>
        <p:nvGraphicFramePr>
          <p:cNvPr id="6" name="Диаграмма 5">
            <a:extLst>
              <a:ext uri="{FF2B5EF4-FFF2-40B4-BE49-F238E27FC236}">
                <a16:creationId xmlns:a16="http://schemas.microsoft.com/office/drawing/2014/main" id="{19FC2830-DB09-BE67-9CA4-47A444DEDD32}"/>
              </a:ext>
            </a:extLst>
          </p:cNvPr>
          <p:cNvGraphicFramePr/>
          <p:nvPr/>
        </p:nvGraphicFramePr>
        <p:xfrm>
          <a:off x="228601" y="2209799"/>
          <a:ext cx="5391150" cy="32861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Диаграмма 7">
            <a:extLst>
              <a:ext uri="{FF2B5EF4-FFF2-40B4-BE49-F238E27FC236}">
                <a16:creationId xmlns:a16="http://schemas.microsoft.com/office/drawing/2014/main" id="{06CC39F2-C1E8-50E7-C053-C7330167FBA1}"/>
              </a:ext>
            </a:extLst>
          </p:cNvPr>
          <p:cNvGraphicFramePr/>
          <p:nvPr/>
        </p:nvGraphicFramePr>
        <p:xfrm>
          <a:off x="6010274" y="2209800"/>
          <a:ext cx="5953125" cy="3286125"/>
        </p:xfrm>
        <a:graphic>
          <a:graphicData uri="http://schemas.openxmlformats.org/drawingml/2006/chart">
            <c:chart xmlns:c="http://schemas.openxmlformats.org/drawingml/2006/chart" xmlns:r="http://schemas.openxmlformats.org/officeDocument/2006/relationships" r:id="rId4"/>
          </a:graphicData>
        </a:graphic>
      </p:graphicFrame>
      <p:sp>
        <p:nvSpPr>
          <p:cNvPr id="9" name="Заголовок 1">
            <a:extLst>
              <a:ext uri="{FF2B5EF4-FFF2-40B4-BE49-F238E27FC236}">
                <a16:creationId xmlns:a16="http://schemas.microsoft.com/office/drawing/2014/main" id="{4A16F463-BE81-9416-6CEA-63687C10AAE0}"/>
              </a:ext>
            </a:extLst>
          </p:cNvPr>
          <p:cNvSpPr txBox="1">
            <a:spLocks/>
          </p:cNvSpPr>
          <p:nvPr/>
        </p:nvSpPr>
        <p:spPr>
          <a:xfrm>
            <a:off x="434141" y="331878"/>
            <a:ext cx="10515600" cy="655807"/>
          </a:xfrm>
          <a:prstGeom prst="rect">
            <a:avLst/>
          </a:prstGeom>
        </p:spPr>
        <p:txBody>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pPr algn="ctr"/>
            <a:r>
              <a:rPr lang="ru-RU" sz="3200" dirty="0">
                <a:solidFill>
                  <a:schemeClr val="tx2"/>
                </a:solidFill>
              </a:rPr>
              <a:t>Уральский федеральный округ, 2021 год</a:t>
            </a:r>
          </a:p>
        </p:txBody>
      </p:sp>
      <p:sp>
        <p:nvSpPr>
          <p:cNvPr id="5" name="Прямоугольник 4"/>
          <p:cNvSpPr/>
          <p:nvPr/>
        </p:nvSpPr>
        <p:spPr>
          <a:xfrm>
            <a:off x="1495861" y="1003820"/>
            <a:ext cx="8392160" cy="369332"/>
          </a:xfrm>
          <a:prstGeom prst="rect">
            <a:avLst/>
          </a:prstGeom>
        </p:spPr>
        <p:txBody>
          <a:bodyPr wrap="square">
            <a:spAutoFit/>
          </a:bodyPr>
          <a:lstStyle/>
          <a:p>
            <a:r>
              <a:rPr lang="ru-RU" altLang="ru-RU" dirty="0">
                <a:solidFill>
                  <a:schemeClr val="tx2"/>
                </a:solidFill>
              </a:rPr>
              <a:t>Распределение впервые выявленного РПЖ по стадиям и методам терапии</a:t>
            </a:r>
            <a:endParaRPr lang="ru-RU" dirty="0">
              <a:solidFill>
                <a:schemeClr val="tx2"/>
              </a:solidFill>
            </a:endParaRPr>
          </a:p>
        </p:txBody>
      </p:sp>
      <p:sp>
        <p:nvSpPr>
          <p:cNvPr id="4" name="TextBox 3">
            <a:extLst>
              <a:ext uri="{FF2B5EF4-FFF2-40B4-BE49-F238E27FC236}">
                <a16:creationId xmlns:a16="http://schemas.microsoft.com/office/drawing/2014/main" id="{5FFC917B-1A1D-FD0C-3D1A-AB5B0D3485F3}"/>
              </a:ext>
            </a:extLst>
          </p:cNvPr>
          <p:cNvSpPr txBox="1"/>
          <p:nvPr/>
        </p:nvSpPr>
        <p:spPr>
          <a:xfrm>
            <a:off x="0" y="6243379"/>
            <a:ext cx="10302240" cy="461665"/>
          </a:xfrm>
          <a:prstGeom prst="rect">
            <a:avLst/>
          </a:prstGeom>
          <a:noFill/>
        </p:spPr>
        <p:txBody>
          <a:bodyPr wrap="square" rtlCol="0">
            <a:spAutoFit/>
          </a:bodyPr>
          <a:lstStyle/>
          <a:p>
            <a:r>
              <a:rPr lang="ru-RU" sz="1200" dirty="0">
                <a:latin typeface="Times New Roman" panose="02020603050405020304" pitchFamily="18" charset="0"/>
                <a:cs typeface="Times New Roman" panose="02020603050405020304" pitchFamily="18" charset="0"/>
              </a:rPr>
              <a:t>Из личного архива Карнаух П.А.,</a:t>
            </a:r>
            <a:r>
              <a:rPr lang="ru-RU" sz="1200" dirty="0">
                <a:latin typeface="Times New Roman"/>
                <a:cs typeface="Times New Roman"/>
              </a:rPr>
              <a:t> Заведующая онкологическим отделением урологическим ГБУЗ «ЧОКЦО и ЯМ» г.  Челябинск, 2023 г</a:t>
            </a:r>
            <a:endParaRPr lang="ru-RU" sz="1200" dirty="0">
              <a:latin typeface="Times New Roman" panose="02020603050405020304" pitchFamily="18" charset="0"/>
              <a:cs typeface="Times New Roman" panose="02020603050405020304" pitchFamily="18" charset="0"/>
            </a:endParaRPr>
          </a:p>
          <a:p>
            <a:endParaRPr lang="ru-RU"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046182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81DDE5F-C3B0-4904-B3A3-05A17D1514FF}"/>
              </a:ext>
            </a:extLst>
          </p:cNvPr>
          <p:cNvSpPr>
            <a:spLocks noGrp="1"/>
          </p:cNvSpPr>
          <p:nvPr>
            <p:ph type="body" sz="quarter" idx="111"/>
          </p:nvPr>
        </p:nvSpPr>
        <p:spPr>
          <a:xfrm>
            <a:off x="407987" y="6200774"/>
            <a:ext cx="11397037" cy="657225"/>
          </a:xfrm>
        </p:spPr>
        <p:txBody>
          <a:bodyPr/>
          <a:lstStyle/>
          <a:p>
            <a:pPr>
              <a:lnSpc>
                <a:spcPct val="100000"/>
              </a:lnSpc>
              <a:spcBef>
                <a:spcPts val="0"/>
              </a:spcBef>
            </a:pPr>
            <a:r>
              <a:rPr lang="ru-RU" noProof="0" dirty="0"/>
              <a:t>3 срез данных</a:t>
            </a:r>
            <a:r>
              <a:rPr lang="en-GB" noProof="0" dirty="0"/>
              <a:t>: 12 </a:t>
            </a:r>
            <a:r>
              <a:rPr lang="ru-RU" noProof="0" dirty="0"/>
              <a:t>октября</a:t>
            </a:r>
            <a:r>
              <a:rPr lang="en-GB" noProof="0" dirty="0"/>
              <a:t> 2022.</a:t>
            </a:r>
          </a:p>
          <a:p>
            <a:pPr>
              <a:lnSpc>
                <a:spcPct val="100000"/>
              </a:lnSpc>
              <a:spcBef>
                <a:spcPts val="0"/>
              </a:spcBef>
            </a:pPr>
            <a:r>
              <a:rPr lang="ru-RU" noProof="0" dirty="0"/>
              <a:t>Безопасность терапии оценивали посредством регистрации НЯ в соответствии с Общими терминологическими критериями оценки тяжести нежелательных явлений Национального института рака (NCI CTCAE версии 4.03) и оценки результатов лабораторных анализов.</a:t>
            </a:r>
          </a:p>
          <a:p>
            <a:pPr>
              <a:lnSpc>
                <a:spcPct val="100000"/>
              </a:lnSpc>
              <a:spcBef>
                <a:spcPts val="0"/>
              </a:spcBef>
            </a:pPr>
            <a:r>
              <a:rPr lang="ru-RU" noProof="0" dirty="0"/>
              <a:t>*Категория «анемия» включает: анемию, снижение уровня гемоглобина, снижение количества эритроцитов, снижение гематокрита, </a:t>
            </a:r>
            <a:r>
              <a:rPr lang="ru-RU" noProof="0" dirty="0" err="1"/>
              <a:t>эритропению</a:t>
            </a:r>
            <a:r>
              <a:rPr lang="ru-RU" noProof="0" dirty="0"/>
              <a:t>, </a:t>
            </a:r>
            <a:r>
              <a:rPr lang="ru-RU" noProof="0" dirty="0" err="1"/>
              <a:t>макроцитарную</a:t>
            </a:r>
            <a:r>
              <a:rPr lang="ru-RU" noProof="0" dirty="0"/>
              <a:t> анемию, </a:t>
            </a:r>
            <a:r>
              <a:rPr lang="ru-RU" noProof="0" dirty="0" err="1"/>
              <a:t>нормохромную</a:t>
            </a:r>
            <a:r>
              <a:rPr lang="ru-RU" noProof="0" dirty="0"/>
              <a:t> анемию, </a:t>
            </a:r>
            <a:r>
              <a:rPr lang="ru-RU" noProof="0" dirty="0" err="1"/>
              <a:t>нормохромную</a:t>
            </a:r>
            <a:r>
              <a:rPr lang="ru-RU" noProof="0" dirty="0"/>
              <a:t> </a:t>
            </a:r>
            <a:r>
              <a:rPr lang="ru-RU" noProof="0" dirty="0" err="1"/>
              <a:t>нормоцитарную</a:t>
            </a:r>
            <a:r>
              <a:rPr lang="ru-RU" noProof="0" dirty="0"/>
              <a:t> анемию и </a:t>
            </a:r>
            <a:r>
              <a:rPr lang="ru-RU" noProof="0" dirty="0" err="1"/>
              <a:t>нормоцитарную</a:t>
            </a:r>
            <a:r>
              <a:rPr lang="ru-RU" noProof="0" dirty="0"/>
              <a:t> анемию.</a:t>
            </a:r>
          </a:p>
          <a:p>
            <a:pPr>
              <a:lnSpc>
                <a:spcPct val="100000"/>
              </a:lnSpc>
              <a:spcBef>
                <a:spcPts val="0"/>
              </a:spcBef>
            </a:pPr>
            <a:r>
              <a:rPr lang="ru-RU" noProof="0" dirty="0"/>
              <a:t>НЯ — нежелательное явление; CTCAE — общие терминологические критерии оценки тяжести нежелательных явлений (</a:t>
            </a:r>
            <a:r>
              <a:rPr lang="ru-RU" noProof="0" dirty="0" err="1"/>
              <a:t>Common</a:t>
            </a:r>
            <a:r>
              <a:rPr lang="ru-RU" noProof="0" dirty="0"/>
              <a:t> </a:t>
            </a:r>
            <a:r>
              <a:rPr lang="ru-RU" noProof="0" dirty="0" err="1"/>
              <a:t>Terminology</a:t>
            </a:r>
            <a:r>
              <a:rPr lang="ru-RU" noProof="0" dirty="0"/>
              <a:t> </a:t>
            </a:r>
            <a:r>
              <a:rPr lang="ru-RU" noProof="0" dirty="0" err="1"/>
              <a:t>Criteria</a:t>
            </a:r>
            <a:r>
              <a:rPr lang="ru-RU" noProof="0" dirty="0"/>
              <a:t> for </a:t>
            </a:r>
            <a:r>
              <a:rPr lang="ru-RU" noProof="0" dirty="0" err="1"/>
              <a:t>Adverse</a:t>
            </a:r>
            <a:r>
              <a:rPr lang="ru-RU" noProof="0" dirty="0"/>
              <a:t> </a:t>
            </a:r>
            <a:r>
              <a:rPr lang="ru-RU" noProof="0" dirty="0" err="1"/>
              <a:t>Events</a:t>
            </a:r>
            <a:r>
              <a:rPr lang="ru-RU" noProof="0" dirty="0"/>
              <a:t>); NCI — Национальный институт онкологии США (</a:t>
            </a:r>
            <a:r>
              <a:rPr lang="ru-RU" noProof="0" dirty="0" err="1"/>
              <a:t>National</a:t>
            </a:r>
            <a:r>
              <a:rPr lang="ru-RU" noProof="0" dirty="0"/>
              <a:t> </a:t>
            </a:r>
            <a:r>
              <a:rPr lang="ru-RU" noProof="0" dirty="0" err="1"/>
              <a:t>Cancer</a:t>
            </a:r>
            <a:r>
              <a:rPr lang="ru-RU" noProof="0" dirty="0"/>
              <a:t> </a:t>
            </a:r>
            <a:r>
              <a:rPr lang="ru-RU" noProof="0" dirty="0" err="1"/>
              <a:t>Institute</a:t>
            </a:r>
            <a:r>
              <a:rPr lang="ru-RU" noProof="0" dirty="0"/>
              <a:t>); МВП – мочевыводящие пути</a:t>
            </a:r>
          </a:p>
          <a:p>
            <a:pPr>
              <a:lnSpc>
                <a:spcPct val="100000"/>
              </a:lnSpc>
              <a:spcBef>
                <a:spcPts val="0"/>
              </a:spcBef>
            </a:pPr>
            <a:r>
              <a:rPr lang="en-GB" noProof="0" dirty="0"/>
              <a:t>Clarke N, et al. Presented at ASCO GU 2023. 16–18 February. San Francisco, US. Abstract #LBA16.</a:t>
            </a:r>
            <a:endParaRPr lang="en-GB" dirty="0"/>
          </a:p>
        </p:txBody>
      </p:sp>
      <p:sp>
        <p:nvSpPr>
          <p:cNvPr id="112" name="TextBox 111">
            <a:extLst>
              <a:ext uri="{FF2B5EF4-FFF2-40B4-BE49-F238E27FC236}">
                <a16:creationId xmlns:a16="http://schemas.microsoft.com/office/drawing/2014/main" id="{439FAE36-2ADF-86D4-FAB5-8D68BD6BE59E}"/>
              </a:ext>
            </a:extLst>
          </p:cNvPr>
          <p:cNvSpPr txBox="1"/>
          <p:nvPr/>
        </p:nvSpPr>
        <p:spPr>
          <a:xfrm>
            <a:off x="8068660" y="5330261"/>
            <a:ext cx="22911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ru-RU" sz="1800" b="0" i="0" u="none" strike="noStrike" kern="1200" cap="none" spc="0" normalizeH="0" baseline="0" noProof="0" dirty="0">
                <a:ln>
                  <a:noFill/>
                </a:ln>
                <a:solidFill>
                  <a:srgbClr val="3F4444"/>
                </a:solidFill>
                <a:effectLst/>
                <a:uLnTx/>
                <a:uFillTx/>
                <a:latin typeface="Calibri"/>
                <a:ea typeface="+mn-ea"/>
                <a:cs typeface="+mn-cs"/>
              </a:rPr>
              <a:t>Процент пациентов</a:t>
            </a:r>
          </a:p>
        </p:txBody>
      </p:sp>
      <p:sp>
        <p:nvSpPr>
          <p:cNvPr id="111" name="TextBox 110">
            <a:extLst>
              <a:ext uri="{FF2B5EF4-FFF2-40B4-BE49-F238E27FC236}">
                <a16:creationId xmlns:a16="http://schemas.microsoft.com/office/drawing/2014/main" id="{EC677E7D-6831-D183-7195-AB95CE7E0B5A}"/>
              </a:ext>
            </a:extLst>
          </p:cNvPr>
          <p:cNvSpPr txBox="1"/>
          <p:nvPr/>
        </p:nvSpPr>
        <p:spPr>
          <a:xfrm>
            <a:off x="1952280" y="5325004"/>
            <a:ext cx="22911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ru-RU" sz="1800" b="0" i="0" u="none" strike="noStrike" kern="1200" cap="none" spc="0" normalizeH="0" baseline="0" noProof="0" dirty="0">
                <a:ln>
                  <a:noFill/>
                </a:ln>
                <a:solidFill>
                  <a:srgbClr val="3F4444"/>
                </a:solidFill>
                <a:effectLst/>
                <a:uLnTx/>
                <a:uFillTx/>
                <a:latin typeface="Calibri"/>
                <a:ea typeface="+mn-ea"/>
                <a:cs typeface="+mn-cs"/>
              </a:rPr>
              <a:t>Процент пациентов</a:t>
            </a:r>
            <a:endParaRPr kumimoji="0" lang="en-GB" sz="1800" b="0" i="0" u="none" strike="noStrike" kern="1200" cap="none" spc="0" normalizeH="0" baseline="0" noProof="0" dirty="0">
              <a:ln>
                <a:noFill/>
              </a:ln>
              <a:solidFill>
                <a:srgbClr val="3F4444"/>
              </a:solidFill>
              <a:effectLst/>
              <a:uLnTx/>
              <a:uFillTx/>
              <a:latin typeface="Calibri"/>
              <a:ea typeface="+mn-ea"/>
              <a:cs typeface="+mn-cs"/>
            </a:endParaRPr>
          </a:p>
        </p:txBody>
      </p:sp>
      <p:grpSp>
        <p:nvGrpSpPr>
          <p:cNvPr id="2" name="Group 1">
            <a:extLst>
              <a:ext uri="{FF2B5EF4-FFF2-40B4-BE49-F238E27FC236}">
                <a16:creationId xmlns:a16="http://schemas.microsoft.com/office/drawing/2014/main" id="{5DA3B196-EAE6-641F-A6B4-214F4C2D9117}"/>
              </a:ext>
            </a:extLst>
          </p:cNvPr>
          <p:cNvGrpSpPr/>
          <p:nvPr/>
        </p:nvGrpSpPr>
        <p:grpSpPr>
          <a:xfrm>
            <a:off x="40205" y="982532"/>
            <a:ext cx="12222508" cy="4370394"/>
            <a:chOff x="95697" y="1551511"/>
            <a:chExt cx="12222508" cy="4370394"/>
          </a:xfrm>
        </p:grpSpPr>
        <p:grpSp>
          <p:nvGrpSpPr>
            <p:cNvPr id="4" name="Group 3">
              <a:extLst>
                <a:ext uri="{FF2B5EF4-FFF2-40B4-BE49-F238E27FC236}">
                  <a16:creationId xmlns:a16="http://schemas.microsoft.com/office/drawing/2014/main" id="{CB00CC88-5E5B-C1F5-88EB-B0C405CCD34A}"/>
                </a:ext>
              </a:extLst>
            </p:cNvPr>
            <p:cNvGrpSpPr/>
            <p:nvPr/>
          </p:nvGrpSpPr>
          <p:grpSpPr>
            <a:xfrm>
              <a:off x="95697" y="1551511"/>
              <a:ext cx="12222508" cy="4370394"/>
              <a:chOff x="95697" y="1551511"/>
              <a:chExt cx="12222508" cy="4370394"/>
            </a:xfrm>
          </p:grpSpPr>
          <p:grpSp>
            <p:nvGrpSpPr>
              <p:cNvPr id="12" name="Group 11">
                <a:extLst>
                  <a:ext uri="{FF2B5EF4-FFF2-40B4-BE49-F238E27FC236}">
                    <a16:creationId xmlns:a16="http://schemas.microsoft.com/office/drawing/2014/main" id="{B458803E-BC41-82AF-9B4D-47CB6F1F15EA}"/>
                  </a:ext>
                </a:extLst>
              </p:cNvPr>
              <p:cNvGrpSpPr/>
              <p:nvPr/>
            </p:nvGrpSpPr>
            <p:grpSpPr>
              <a:xfrm>
                <a:off x="95697" y="1551511"/>
                <a:ext cx="12222508" cy="4370394"/>
                <a:chOff x="95697" y="1201312"/>
                <a:chExt cx="12222508" cy="4370394"/>
              </a:xfrm>
            </p:grpSpPr>
            <p:graphicFrame>
              <p:nvGraphicFramePr>
                <p:cNvPr id="14" name="Chart 13">
                  <a:extLst>
                    <a:ext uri="{FF2B5EF4-FFF2-40B4-BE49-F238E27FC236}">
                      <a16:creationId xmlns:a16="http://schemas.microsoft.com/office/drawing/2014/main" id="{1421DF92-F8F8-BAD9-131D-B6741CD4682C}"/>
                    </a:ext>
                  </a:extLst>
                </p:cNvPr>
                <p:cNvGraphicFramePr/>
                <p:nvPr/>
              </p:nvGraphicFramePr>
              <p:xfrm>
                <a:off x="6991680" y="1377001"/>
                <a:ext cx="5215603" cy="4169304"/>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4D7F9D9C-AA38-FE76-A999-DFD1DBB7D8A1}"/>
                    </a:ext>
                  </a:extLst>
                </p:cNvPr>
                <p:cNvSpPr txBox="1"/>
                <p:nvPr/>
              </p:nvSpPr>
              <p:spPr>
                <a:xfrm>
                  <a:off x="7827840" y="1383974"/>
                  <a:ext cx="403267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F0AB00"/>
                      </a:solidFill>
                      <a:effectLst/>
                      <a:uLnTx/>
                      <a:uFillTx/>
                      <a:latin typeface="Arial" panose="020B0604020202020204" pitchFamily="34" charset="0"/>
                      <a:ea typeface="+mn-ea"/>
                      <a:cs typeface="Arial" panose="020B0604020202020204" pitchFamily="34" charset="0"/>
                    </a:rPr>
                    <a:t>Плацебо</a:t>
                  </a:r>
                  <a:r>
                    <a:rPr kumimoji="0" lang="en-GB" sz="1200" b="1" i="0" u="none" strike="noStrike" kern="0" cap="none" spc="0" normalizeH="0" baseline="0" noProof="0" dirty="0">
                      <a:ln>
                        <a:noFill/>
                      </a:ln>
                      <a:solidFill>
                        <a:srgbClr val="F0AB00"/>
                      </a:solidFill>
                      <a:effectLst/>
                      <a:uLnTx/>
                      <a:uFillTx/>
                      <a:latin typeface="Arial" panose="020B0604020202020204" pitchFamily="34" charset="0"/>
                      <a:ea typeface="+mn-ea"/>
                      <a:cs typeface="Arial" panose="020B0604020202020204" pitchFamily="34" charset="0"/>
                    </a:rPr>
                    <a:t> + </a:t>
                  </a:r>
                  <a:r>
                    <a:rPr kumimoji="0" lang="ru-RU" sz="1200" b="1" i="0" u="none" strike="noStrike" kern="0" cap="none" spc="0" normalizeH="0" baseline="0" noProof="0" dirty="0" err="1">
                      <a:ln>
                        <a:noFill/>
                      </a:ln>
                      <a:solidFill>
                        <a:srgbClr val="F0AB00"/>
                      </a:solidFill>
                      <a:effectLst/>
                      <a:uLnTx/>
                      <a:uFillTx/>
                      <a:latin typeface="Arial" panose="020B0604020202020204" pitchFamily="34" charset="0"/>
                      <a:ea typeface="+mn-ea"/>
                      <a:cs typeface="Arial" panose="020B0604020202020204" pitchFamily="34" charset="0"/>
                    </a:rPr>
                    <a:t>абиратерон</a:t>
                  </a:r>
                  <a:r>
                    <a:rPr kumimoji="0" lang="en-GB" sz="1200" b="1" i="0" u="none" strike="noStrike" kern="0" cap="none" spc="0" normalizeH="0" baseline="0" noProof="0" dirty="0">
                      <a:ln>
                        <a:noFill/>
                      </a:ln>
                      <a:solidFill>
                        <a:srgbClr val="F0AB00"/>
                      </a:solidFill>
                      <a:effectLst/>
                      <a:uLnTx/>
                      <a:uFillTx/>
                      <a:latin typeface="Arial" panose="020B0604020202020204" pitchFamily="34" charset="0"/>
                      <a:ea typeface="+mn-ea"/>
                      <a:cs typeface="Arial" panose="020B0604020202020204" pitchFamily="34" charset="0"/>
                    </a:rPr>
                    <a:t> (n=396)</a:t>
                  </a:r>
                </a:p>
              </p:txBody>
            </p:sp>
            <p:graphicFrame>
              <p:nvGraphicFramePr>
                <p:cNvPr id="16" name="Chart 15">
                  <a:extLst>
                    <a:ext uri="{FF2B5EF4-FFF2-40B4-BE49-F238E27FC236}">
                      <a16:creationId xmlns:a16="http://schemas.microsoft.com/office/drawing/2014/main" id="{FBCA1158-CA3F-CA99-92F0-9F46D4E762AF}"/>
                    </a:ext>
                  </a:extLst>
                </p:cNvPr>
                <p:cNvGraphicFramePr/>
                <p:nvPr/>
              </p:nvGraphicFramePr>
              <p:xfrm>
                <a:off x="95697" y="1394993"/>
                <a:ext cx="5038348" cy="4176713"/>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Box 16">
                  <a:extLst>
                    <a:ext uri="{FF2B5EF4-FFF2-40B4-BE49-F238E27FC236}">
                      <a16:creationId xmlns:a16="http://schemas.microsoft.com/office/drawing/2014/main" id="{BD5737EF-751B-9429-3500-2EDBE800F901}"/>
                    </a:ext>
                  </a:extLst>
                </p:cNvPr>
                <p:cNvSpPr txBox="1"/>
                <p:nvPr/>
              </p:nvSpPr>
              <p:spPr>
                <a:xfrm>
                  <a:off x="429649" y="1373224"/>
                  <a:ext cx="4032677"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t>Олапариб</a:t>
                  </a:r>
                  <a:r>
                    <a:rPr kumimoji="0" lang="en-GB" sz="1200" b="1" i="0" u="none" strike="noStrike" kern="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t> + </a:t>
                  </a:r>
                  <a:r>
                    <a:rPr kumimoji="0" lang="ru-RU" sz="1200" b="1" i="0" u="none" strike="noStrike" kern="0" cap="none" spc="0" normalizeH="0" baseline="0" noProof="0" dirty="0" err="1">
                      <a:ln>
                        <a:noFill/>
                      </a:ln>
                      <a:solidFill>
                        <a:srgbClr val="830051"/>
                      </a:solidFill>
                      <a:effectLst/>
                      <a:uLnTx/>
                      <a:uFillTx/>
                      <a:latin typeface="Arial" panose="020B0604020202020204" pitchFamily="34" charset="0"/>
                      <a:ea typeface="+mn-ea"/>
                      <a:cs typeface="Arial" panose="020B0604020202020204" pitchFamily="34" charset="0"/>
                    </a:rPr>
                    <a:t>абиратерон</a:t>
                  </a:r>
                  <a:r>
                    <a:rPr kumimoji="0" lang="en-GB" sz="1200" b="1" i="0" u="none" strike="noStrike" kern="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t> (n=398)</a:t>
                  </a:r>
                </a:p>
              </p:txBody>
            </p:sp>
            <p:sp>
              <p:nvSpPr>
                <p:cNvPr id="18" name="Rectangle 17">
                  <a:extLst>
                    <a:ext uri="{FF2B5EF4-FFF2-40B4-BE49-F238E27FC236}">
                      <a16:creationId xmlns:a16="http://schemas.microsoft.com/office/drawing/2014/main" id="{02E79261-9C89-E1F9-E6F7-F4AC8BA82983}"/>
                    </a:ext>
                  </a:extLst>
                </p:cNvPr>
                <p:cNvSpPr/>
                <p:nvPr/>
              </p:nvSpPr>
              <p:spPr>
                <a:xfrm>
                  <a:off x="10415292" y="4239113"/>
                  <a:ext cx="189699" cy="183427"/>
                </a:xfrm>
                <a:prstGeom prst="rect">
                  <a:avLst/>
                </a:prstGeom>
                <a:solidFill>
                  <a:srgbClr val="F0AB00"/>
                </a:solidFill>
                <a:ln w="1905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srgbClr val="FFFFFF"/>
                    </a:solidFill>
                    <a:effectLst/>
                    <a:uLnTx/>
                    <a:uFillTx/>
                    <a:latin typeface="Calibri"/>
                    <a:ea typeface="+mn-ea"/>
                    <a:cs typeface="Calibri" panose="020F0502020204030204" pitchFamily="34" charset="0"/>
                  </a:endParaRPr>
                </a:p>
              </p:txBody>
            </p:sp>
            <p:sp>
              <p:nvSpPr>
                <p:cNvPr id="19" name="Rectangle 18">
                  <a:extLst>
                    <a:ext uri="{FF2B5EF4-FFF2-40B4-BE49-F238E27FC236}">
                      <a16:creationId xmlns:a16="http://schemas.microsoft.com/office/drawing/2014/main" id="{4D7A6D3D-93BA-30E8-CC8B-668F68256249}"/>
                    </a:ext>
                  </a:extLst>
                </p:cNvPr>
                <p:cNvSpPr/>
                <p:nvPr/>
              </p:nvSpPr>
              <p:spPr>
                <a:xfrm>
                  <a:off x="10415292" y="4428186"/>
                  <a:ext cx="189699" cy="183427"/>
                </a:xfrm>
                <a:prstGeom prst="rect">
                  <a:avLst/>
                </a:prstGeom>
                <a:solidFill>
                  <a:srgbClr val="F0AB00">
                    <a:lumMod val="20000"/>
                    <a:lumOff val="80000"/>
                  </a:srgbClr>
                </a:solidFill>
                <a:ln w="1905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srgbClr val="FFFFFF"/>
                    </a:solidFill>
                    <a:effectLst/>
                    <a:uLnTx/>
                    <a:uFillTx/>
                    <a:latin typeface="Calibri"/>
                    <a:ea typeface="+mn-ea"/>
                    <a:cs typeface="Calibri" panose="020F0502020204030204" pitchFamily="34" charset="0"/>
                  </a:endParaRPr>
                </a:p>
              </p:txBody>
            </p:sp>
            <p:sp>
              <p:nvSpPr>
                <p:cNvPr id="20" name="Rectangle 19">
                  <a:extLst>
                    <a:ext uri="{FF2B5EF4-FFF2-40B4-BE49-F238E27FC236}">
                      <a16:creationId xmlns:a16="http://schemas.microsoft.com/office/drawing/2014/main" id="{B6258FB1-976C-3422-E03D-F3E61A905D0B}"/>
                    </a:ext>
                  </a:extLst>
                </p:cNvPr>
                <p:cNvSpPr/>
                <p:nvPr/>
              </p:nvSpPr>
              <p:spPr>
                <a:xfrm>
                  <a:off x="10405021" y="3726288"/>
                  <a:ext cx="189699" cy="183427"/>
                </a:xfrm>
                <a:prstGeom prst="rect">
                  <a:avLst/>
                </a:prstGeom>
                <a:solidFill>
                  <a:srgbClr val="830051"/>
                </a:solidFill>
                <a:ln w="1905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srgbClr val="FFFFFF"/>
                    </a:solidFill>
                    <a:effectLst/>
                    <a:uLnTx/>
                    <a:uFillTx/>
                    <a:latin typeface="Calibri"/>
                    <a:ea typeface="+mn-ea"/>
                    <a:cs typeface="Calibri" panose="020F0502020204030204" pitchFamily="34" charset="0"/>
                  </a:endParaRPr>
                </a:p>
              </p:txBody>
            </p:sp>
            <p:sp>
              <p:nvSpPr>
                <p:cNvPr id="21" name="Rectangle 20">
                  <a:extLst>
                    <a:ext uri="{FF2B5EF4-FFF2-40B4-BE49-F238E27FC236}">
                      <a16:creationId xmlns:a16="http://schemas.microsoft.com/office/drawing/2014/main" id="{5C6E52DA-714E-2F50-D6D3-CB4F8792DF17}"/>
                    </a:ext>
                  </a:extLst>
                </p:cNvPr>
                <p:cNvSpPr/>
                <p:nvPr/>
              </p:nvSpPr>
              <p:spPr>
                <a:xfrm>
                  <a:off x="10405021" y="3904952"/>
                  <a:ext cx="189699" cy="183427"/>
                </a:xfrm>
                <a:prstGeom prst="rect">
                  <a:avLst/>
                </a:prstGeom>
                <a:solidFill>
                  <a:srgbClr val="830051">
                    <a:lumMod val="20000"/>
                    <a:lumOff val="80000"/>
                  </a:srgbClr>
                </a:solidFill>
                <a:ln w="1905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srgbClr val="FFFFFF"/>
                    </a:solidFill>
                    <a:effectLst/>
                    <a:uLnTx/>
                    <a:uFillTx/>
                    <a:latin typeface="Calibri"/>
                    <a:ea typeface="+mn-ea"/>
                    <a:cs typeface="Calibri" panose="020F0502020204030204" pitchFamily="34" charset="0"/>
                  </a:endParaRPr>
                </a:p>
              </p:txBody>
            </p:sp>
            <p:sp>
              <p:nvSpPr>
                <p:cNvPr id="22" name="TextBox 21">
                  <a:extLst>
                    <a:ext uri="{FF2B5EF4-FFF2-40B4-BE49-F238E27FC236}">
                      <a16:creationId xmlns:a16="http://schemas.microsoft.com/office/drawing/2014/main" id="{8932DAA5-C753-DCE8-C29F-77B445C0EEA6}"/>
                    </a:ext>
                  </a:extLst>
                </p:cNvPr>
                <p:cNvSpPr txBox="1"/>
                <p:nvPr/>
              </p:nvSpPr>
              <p:spPr>
                <a:xfrm>
                  <a:off x="10541421" y="4201422"/>
                  <a:ext cx="167434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0" cap="none" spc="0" normalizeH="0" baseline="0" noProof="0" dirty="0">
                      <a:ln>
                        <a:noFill/>
                      </a:ln>
                      <a:solidFill>
                        <a:srgbClr val="3F4444"/>
                      </a:solidFill>
                      <a:effectLst/>
                      <a:uLnTx/>
                      <a:uFillTx/>
                      <a:latin typeface="Calibri"/>
                      <a:ea typeface="+mn-ea"/>
                      <a:cs typeface="Calibri" panose="020F0502020204030204" pitchFamily="34" charset="0"/>
                    </a:rPr>
                    <a:t>≥3 Степени тяжести</a:t>
                  </a:r>
                </a:p>
              </p:txBody>
            </p:sp>
            <p:sp>
              <p:nvSpPr>
                <p:cNvPr id="23" name="TextBox 22">
                  <a:extLst>
                    <a:ext uri="{FF2B5EF4-FFF2-40B4-BE49-F238E27FC236}">
                      <a16:creationId xmlns:a16="http://schemas.microsoft.com/office/drawing/2014/main" id="{CC039445-3B6C-5F8C-777C-A13112A90E25}"/>
                    </a:ext>
                  </a:extLst>
                </p:cNvPr>
                <p:cNvSpPr txBox="1"/>
                <p:nvPr/>
              </p:nvSpPr>
              <p:spPr>
                <a:xfrm>
                  <a:off x="10531151" y="3683410"/>
                  <a:ext cx="167613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3F4444"/>
                      </a:solidFill>
                      <a:effectLst/>
                      <a:uLnTx/>
                      <a:uFillTx/>
                      <a:latin typeface="Calibri"/>
                      <a:ea typeface="+mn-ea"/>
                      <a:cs typeface="Calibri" panose="020F0502020204030204" pitchFamily="34" charset="0"/>
                    </a:rPr>
                    <a:t>≥3</a:t>
                  </a:r>
                  <a:r>
                    <a:rPr kumimoji="0" lang="ru-RU" sz="1400" b="0" i="0" u="none" strike="noStrike" kern="0" cap="none" spc="0" normalizeH="0" baseline="0" noProof="0" dirty="0">
                      <a:ln>
                        <a:noFill/>
                      </a:ln>
                      <a:solidFill>
                        <a:srgbClr val="3F4444"/>
                      </a:solidFill>
                      <a:effectLst/>
                      <a:uLnTx/>
                      <a:uFillTx/>
                      <a:latin typeface="Calibri"/>
                      <a:ea typeface="+mn-ea"/>
                      <a:cs typeface="Calibri" panose="020F0502020204030204" pitchFamily="34" charset="0"/>
                    </a:rPr>
                    <a:t> Степени тяжести</a:t>
                  </a:r>
                  <a:endParaRPr kumimoji="0" lang="en-GB" sz="1400" b="0" i="0" u="none" strike="noStrike" kern="0" cap="none" spc="0" normalizeH="0" baseline="0" noProof="0" dirty="0">
                    <a:ln>
                      <a:noFill/>
                    </a:ln>
                    <a:solidFill>
                      <a:srgbClr val="3F4444"/>
                    </a:solidFill>
                    <a:effectLst/>
                    <a:uLnTx/>
                    <a:uFillTx/>
                    <a:latin typeface="Calibri"/>
                    <a:ea typeface="+mn-ea"/>
                    <a:cs typeface="Calibri" panose="020F0502020204030204" pitchFamily="34" charset="0"/>
                  </a:endParaRPr>
                </a:p>
              </p:txBody>
            </p:sp>
            <p:sp>
              <p:nvSpPr>
                <p:cNvPr id="24" name="TextBox 23">
                  <a:extLst>
                    <a:ext uri="{FF2B5EF4-FFF2-40B4-BE49-F238E27FC236}">
                      <a16:creationId xmlns:a16="http://schemas.microsoft.com/office/drawing/2014/main" id="{AE0DA326-A1A4-C7AB-41D7-6A90101E8619}"/>
                    </a:ext>
                  </a:extLst>
                </p:cNvPr>
                <p:cNvSpPr txBox="1"/>
                <p:nvPr/>
              </p:nvSpPr>
              <p:spPr>
                <a:xfrm>
                  <a:off x="10541420" y="4384205"/>
                  <a:ext cx="177678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0" cap="none" spc="0" normalizeH="0" baseline="0" noProof="0" dirty="0">
                      <a:ln>
                        <a:noFill/>
                      </a:ln>
                      <a:solidFill>
                        <a:srgbClr val="3F4444"/>
                      </a:solidFill>
                      <a:effectLst/>
                      <a:uLnTx/>
                      <a:uFillTx/>
                      <a:latin typeface="Calibri"/>
                      <a:ea typeface="+mn-ea"/>
                      <a:cs typeface="Calibri" panose="020F0502020204030204" pitchFamily="34" charset="0"/>
                    </a:rPr>
                    <a:t>Все степени тяжести</a:t>
                  </a:r>
                </a:p>
              </p:txBody>
            </p:sp>
            <p:sp>
              <p:nvSpPr>
                <p:cNvPr id="25" name="TextBox 24">
                  <a:extLst>
                    <a:ext uri="{FF2B5EF4-FFF2-40B4-BE49-F238E27FC236}">
                      <a16:creationId xmlns:a16="http://schemas.microsoft.com/office/drawing/2014/main" id="{EBFE8D1D-7CAD-9466-5B70-2C286140CE46}"/>
                    </a:ext>
                  </a:extLst>
                </p:cNvPr>
                <p:cNvSpPr txBox="1"/>
                <p:nvPr/>
              </p:nvSpPr>
              <p:spPr>
                <a:xfrm>
                  <a:off x="10541421" y="3864787"/>
                  <a:ext cx="177678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0" cap="none" spc="0" normalizeH="0" baseline="0" noProof="0" dirty="0">
                      <a:ln>
                        <a:noFill/>
                      </a:ln>
                      <a:solidFill>
                        <a:srgbClr val="3F4444"/>
                      </a:solidFill>
                      <a:effectLst/>
                      <a:uLnTx/>
                      <a:uFillTx/>
                      <a:latin typeface="Calibri"/>
                      <a:ea typeface="+mn-ea"/>
                      <a:cs typeface="Calibri" panose="020F0502020204030204" pitchFamily="34" charset="0"/>
                    </a:rPr>
                    <a:t>Все степени тяжести</a:t>
                  </a:r>
                  <a:endParaRPr kumimoji="0" lang="en-GB" sz="1400" b="0" i="0" u="none" strike="noStrike" kern="0" cap="none" spc="0" normalizeH="0" baseline="0" noProof="0" dirty="0">
                    <a:ln>
                      <a:noFill/>
                    </a:ln>
                    <a:solidFill>
                      <a:srgbClr val="3F4444"/>
                    </a:solidFill>
                    <a:effectLst/>
                    <a:uLnTx/>
                    <a:uFillTx/>
                    <a:latin typeface="Calibri"/>
                    <a:ea typeface="+mn-ea"/>
                    <a:cs typeface="Calibri" panose="020F0502020204030204" pitchFamily="34" charset="0"/>
                  </a:endParaRPr>
                </a:p>
              </p:txBody>
            </p:sp>
            <p:sp>
              <p:nvSpPr>
                <p:cNvPr id="26" name="TextBox 25">
                  <a:extLst>
                    <a:ext uri="{FF2B5EF4-FFF2-40B4-BE49-F238E27FC236}">
                      <a16:creationId xmlns:a16="http://schemas.microsoft.com/office/drawing/2014/main" id="{F2D51313-2A08-5CE5-34E3-3B0F5378E380}"/>
                    </a:ext>
                  </a:extLst>
                </p:cNvPr>
                <p:cNvSpPr txBox="1"/>
                <p:nvPr/>
              </p:nvSpPr>
              <p:spPr>
                <a:xfrm>
                  <a:off x="5569825" y="1906411"/>
                  <a:ext cx="96421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3F4444"/>
                      </a:solidFill>
                      <a:effectLst/>
                      <a:uLnTx/>
                      <a:uFillTx/>
                      <a:latin typeface="Calibri"/>
                      <a:ea typeface="+mn-ea"/>
                      <a:cs typeface="+mn-cs"/>
                    </a:rPr>
                    <a:t>Анемия</a:t>
                  </a:r>
                  <a:r>
                    <a:rPr kumimoji="0" lang="en-GB" sz="1200" b="1" i="0" u="none" strike="noStrike" kern="0" cap="none" spc="0" normalizeH="0" baseline="0" noProof="0" dirty="0">
                      <a:ln>
                        <a:noFill/>
                      </a:ln>
                      <a:solidFill>
                        <a:srgbClr val="3F4444"/>
                      </a:solidFill>
                      <a:effectLst/>
                      <a:uLnTx/>
                      <a:uFillTx/>
                      <a:latin typeface="Calibri"/>
                      <a:ea typeface="+mn-ea"/>
                      <a:cs typeface="+mn-cs"/>
                    </a:rPr>
                    <a:t>*</a:t>
                  </a:r>
                </a:p>
              </p:txBody>
            </p:sp>
            <p:sp>
              <p:nvSpPr>
                <p:cNvPr id="27" name="TextBox 26">
                  <a:extLst>
                    <a:ext uri="{FF2B5EF4-FFF2-40B4-BE49-F238E27FC236}">
                      <a16:creationId xmlns:a16="http://schemas.microsoft.com/office/drawing/2014/main" id="{5CDBF541-B43A-A514-9122-514326C78DB7}"/>
                    </a:ext>
                  </a:extLst>
                </p:cNvPr>
                <p:cNvSpPr txBox="1"/>
                <p:nvPr/>
              </p:nvSpPr>
              <p:spPr>
                <a:xfrm>
                  <a:off x="5134046" y="2110231"/>
                  <a:ext cx="174671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3F4444"/>
                      </a:solidFill>
                      <a:effectLst/>
                      <a:uLnTx/>
                      <a:uFillTx/>
                      <a:latin typeface="Calibri"/>
                      <a:ea typeface="+mn-ea"/>
                      <a:cs typeface="+mn-cs"/>
                    </a:rPr>
                    <a:t>Утомляемость</a:t>
                  </a:r>
                  <a:r>
                    <a:rPr kumimoji="0" lang="en-GB" sz="1200" b="1" i="0" u="none" strike="noStrike" kern="0" cap="none" spc="0" normalizeH="0" baseline="0" noProof="0" dirty="0">
                      <a:ln>
                        <a:noFill/>
                      </a:ln>
                      <a:solidFill>
                        <a:srgbClr val="3F4444"/>
                      </a:solidFill>
                      <a:effectLst/>
                      <a:uLnTx/>
                      <a:uFillTx/>
                      <a:latin typeface="Calibri"/>
                      <a:ea typeface="+mn-ea"/>
                      <a:cs typeface="+mn-cs"/>
                    </a:rPr>
                    <a:t>/</a:t>
                  </a:r>
                  <a:r>
                    <a:rPr kumimoji="0" lang="ru-RU" sz="1200" b="1" i="0" u="none" strike="noStrike" kern="0" cap="none" spc="0" normalizeH="0" baseline="0" noProof="0" dirty="0">
                      <a:ln>
                        <a:noFill/>
                      </a:ln>
                      <a:solidFill>
                        <a:srgbClr val="3F4444"/>
                      </a:solidFill>
                      <a:effectLst/>
                      <a:uLnTx/>
                      <a:uFillTx/>
                      <a:latin typeface="Calibri"/>
                      <a:ea typeface="+mn-ea"/>
                      <a:cs typeface="+mn-cs"/>
                    </a:rPr>
                    <a:t>Астения</a:t>
                  </a:r>
                  <a:endParaRPr kumimoji="0" lang="en-GB" sz="1200" b="1" i="0" u="none" strike="noStrike" kern="0" cap="none" spc="0" normalizeH="0" baseline="0" noProof="0" dirty="0">
                    <a:ln>
                      <a:noFill/>
                    </a:ln>
                    <a:solidFill>
                      <a:srgbClr val="3F4444"/>
                    </a:solidFill>
                    <a:effectLst/>
                    <a:uLnTx/>
                    <a:uFillTx/>
                    <a:latin typeface="Calibri"/>
                    <a:ea typeface="+mn-ea"/>
                    <a:cs typeface="+mn-cs"/>
                  </a:endParaRPr>
                </a:p>
              </p:txBody>
            </p:sp>
            <p:sp>
              <p:nvSpPr>
                <p:cNvPr id="28" name="TextBox 27">
                  <a:extLst>
                    <a:ext uri="{FF2B5EF4-FFF2-40B4-BE49-F238E27FC236}">
                      <a16:creationId xmlns:a16="http://schemas.microsoft.com/office/drawing/2014/main" id="{C2DDA967-85CE-5B8E-CEFB-F71658285FEA}"/>
                    </a:ext>
                  </a:extLst>
                </p:cNvPr>
                <p:cNvSpPr txBox="1"/>
                <p:nvPr/>
              </p:nvSpPr>
              <p:spPr>
                <a:xfrm>
                  <a:off x="5223106" y="2314051"/>
                  <a:ext cx="16576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3F4444"/>
                      </a:solidFill>
                      <a:effectLst/>
                      <a:uLnTx/>
                      <a:uFillTx/>
                      <a:latin typeface="Calibri"/>
                      <a:ea typeface="+mn-ea"/>
                      <a:cs typeface="+mn-cs"/>
                    </a:rPr>
                    <a:t>Тошнота</a:t>
                  </a:r>
                  <a:endParaRPr kumimoji="0" lang="en-GB" sz="1200" b="1" i="0" u="none" strike="noStrike" kern="0" cap="none" spc="0" normalizeH="0" baseline="0" noProof="0" dirty="0">
                    <a:ln>
                      <a:noFill/>
                    </a:ln>
                    <a:solidFill>
                      <a:srgbClr val="3F4444"/>
                    </a:solidFill>
                    <a:effectLst/>
                    <a:uLnTx/>
                    <a:uFillTx/>
                    <a:latin typeface="Calibri"/>
                    <a:ea typeface="+mn-ea"/>
                    <a:cs typeface="+mn-cs"/>
                  </a:endParaRPr>
                </a:p>
              </p:txBody>
            </p:sp>
            <p:sp>
              <p:nvSpPr>
                <p:cNvPr id="29" name="TextBox 28">
                  <a:extLst>
                    <a:ext uri="{FF2B5EF4-FFF2-40B4-BE49-F238E27FC236}">
                      <a16:creationId xmlns:a16="http://schemas.microsoft.com/office/drawing/2014/main" id="{845EB01A-658F-AFDF-29F0-7904C8C0610A}"/>
                    </a:ext>
                  </a:extLst>
                </p:cNvPr>
                <p:cNvSpPr txBox="1"/>
                <p:nvPr/>
              </p:nvSpPr>
              <p:spPr>
                <a:xfrm>
                  <a:off x="5223106" y="3129331"/>
                  <a:ext cx="16576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3F4444"/>
                      </a:solidFill>
                      <a:effectLst/>
                      <a:uLnTx/>
                      <a:uFillTx/>
                      <a:latin typeface="Calibri"/>
                      <a:ea typeface="+mn-ea"/>
                      <a:cs typeface="+mn-cs"/>
                    </a:rPr>
                    <a:t>Снижение аппетита</a:t>
                  </a:r>
                  <a:endParaRPr kumimoji="0" lang="en-GB" sz="1200" b="1" i="0" u="none" strike="noStrike" kern="0" cap="none" spc="0" normalizeH="0" baseline="0" noProof="0" dirty="0">
                    <a:ln>
                      <a:noFill/>
                    </a:ln>
                    <a:solidFill>
                      <a:srgbClr val="3F4444"/>
                    </a:solidFill>
                    <a:effectLst/>
                    <a:uLnTx/>
                    <a:uFillTx/>
                    <a:latin typeface="Calibri"/>
                    <a:ea typeface="+mn-ea"/>
                    <a:cs typeface="+mn-cs"/>
                  </a:endParaRPr>
                </a:p>
              </p:txBody>
            </p:sp>
            <p:sp>
              <p:nvSpPr>
                <p:cNvPr id="30" name="TextBox 29">
                  <a:extLst>
                    <a:ext uri="{FF2B5EF4-FFF2-40B4-BE49-F238E27FC236}">
                      <a16:creationId xmlns:a16="http://schemas.microsoft.com/office/drawing/2014/main" id="{0F1AF978-AEE0-4E45-E0F9-E6089274FBA0}"/>
                    </a:ext>
                  </a:extLst>
                </p:cNvPr>
                <p:cNvSpPr txBox="1"/>
                <p:nvPr/>
              </p:nvSpPr>
              <p:spPr>
                <a:xfrm>
                  <a:off x="5053980" y="3333151"/>
                  <a:ext cx="199590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3F4444"/>
                      </a:solidFill>
                      <a:effectLst/>
                      <a:uLnTx/>
                      <a:uFillTx/>
                      <a:latin typeface="Calibri"/>
                      <a:ea typeface="+mn-ea"/>
                      <a:cs typeface="+mn-cs"/>
                    </a:rPr>
                    <a:t>Рвота</a:t>
                  </a:r>
                  <a:endParaRPr kumimoji="0" lang="en-GB" sz="1200" b="1" i="0" u="none" strike="noStrike" kern="0" cap="none" spc="0" normalizeH="0" baseline="0" noProof="0" dirty="0">
                    <a:ln>
                      <a:noFill/>
                    </a:ln>
                    <a:solidFill>
                      <a:srgbClr val="3F4444"/>
                    </a:solidFill>
                    <a:effectLst/>
                    <a:uLnTx/>
                    <a:uFillTx/>
                    <a:latin typeface="Calibri"/>
                    <a:ea typeface="+mn-ea"/>
                    <a:cs typeface="+mn-cs"/>
                  </a:endParaRPr>
                </a:p>
              </p:txBody>
            </p:sp>
            <p:sp>
              <p:nvSpPr>
                <p:cNvPr id="31" name="TextBox 30">
                  <a:extLst>
                    <a:ext uri="{FF2B5EF4-FFF2-40B4-BE49-F238E27FC236}">
                      <a16:creationId xmlns:a16="http://schemas.microsoft.com/office/drawing/2014/main" id="{EFD96ACC-DC3A-5580-527C-482E896D2B18}"/>
                    </a:ext>
                  </a:extLst>
                </p:cNvPr>
                <p:cNvSpPr txBox="1"/>
                <p:nvPr/>
              </p:nvSpPr>
              <p:spPr>
                <a:xfrm>
                  <a:off x="4975177" y="1201312"/>
                  <a:ext cx="215350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0" i="0" u="none" strike="noStrike" kern="0" cap="none" spc="0" normalizeH="0" baseline="0" noProof="0" dirty="0">
                      <a:ln>
                        <a:noFill/>
                      </a:ln>
                      <a:solidFill>
                        <a:srgbClr val="3F4444"/>
                      </a:solidFill>
                      <a:effectLst/>
                      <a:uLnTx/>
                      <a:uFillTx/>
                      <a:latin typeface="Calibri"/>
                      <a:ea typeface="+mn-ea"/>
                      <a:cs typeface="+mn-cs"/>
                    </a:rPr>
                    <a:t>Наиболее частые НЯ</a:t>
                  </a:r>
                  <a:r>
                    <a:rPr kumimoji="0" lang="en-GB" sz="1200" b="0" i="0" u="none" strike="noStrike" kern="0" cap="none" spc="0" normalizeH="0" baseline="0" noProof="0" dirty="0">
                      <a:ln>
                        <a:noFill/>
                      </a:ln>
                      <a:solidFill>
                        <a:srgbClr val="3F4444"/>
                      </a:solidFill>
                      <a:effectLst/>
                      <a:uLnTx/>
                      <a:uFillTx/>
                      <a:latin typeface="Calibri"/>
                      <a:ea typeface="+mn-ea"/>
                      <a:cs typeface="+mn-cs"/>
                    </a:rPr>
                    <a:t> </a:t>
                  </a:r>
                  <a:br>
                    <a:rPr kumimoji="0" lang="en-GB" sz="1200" b="0" i="0" u="none" strike="noStrike" kern="0" cap="none" spc="0" normalizeH="0" baseline="0" noProof="0" dirty="0">
                      <a:ln>
                        <a:noFill/>
                      </a:ln>
                      <a:solidFill>
                        <a:srgbClr val="3F4444"/>
                      </a:solidFill>
                      <a:effectLst/>
                      <a:uLnTx/>
                      <a:uFillTx/>
                      <a:latin typeface="Calibri"/>
                      <a:ea typeface="+mn-ea"/>
                      <a:cs typeface="+mn-cs"/>
                    </a:rPr>
                  </a:br>
                  <a:r>
                    <a:rPr kumimoji="0" lang="en-GB" sz="1200" b="0" i="0" u="none" strike="noStrike" kern="0" cap="none" spc="0" normalizeH="0" baseline="0" noProof="0" dirty="0">
                      <a:ln>
                        <a:noFill/>
                      </a:ln>
                      <a:solidFill>
                        <a:srgbClr val="3F4444"/>
                      </a:solidFill>
                      <a:effectLst/>
                      <a:uLnTx/>
                      <a:uFillTx/>
                      <a:latin typeface="Calibri"/>
                      <a:ea typeface="+mn-ea"/>
                      <a:cs typeface="+mn-cs"/>
                    </a:rPr>
                    <a:t>(</a:t>
                  </a:r>
                  <a:r>
                    <a:rPr kumimoji="0" lang="ru-RU" sz="1200" b="0" i="0" u="none" strike="noStrike" kern="0" cap="none" spc="0" normalizeH="0" baseline="0" noProof="0" dirty="0">
                      <a:ln>
                        <a:noFill/>
                      </a:ln>
                      <a:solidFill>
                        <a:srgbClr val="3F4444"/>
                      </a:solidFill>
                      <a:effectLst/>
                      <a:uLnTx/>
                      <a:uFillTx/>
                      <a:latin typeface="Calibri"/>
                      <a:ea typeface="+mn-ea"/>
                      <a:cs typeface="+mn-cs"/>
                    </a:rPr>
                    <a:t>у</a:t>
                  </a:r>
                  <a:r>
                    <a:rPr kumimoji="0" lang="en-GB" sz="1200" b="0" i="0" u="none" strike="noStrike" kern="0" cap="none" spc="0" normalizeH="0" baseline="0" noProof="0" dirty="0">
                      <a:ln>
                        <a:noFill/>
                      </a:ln>
                      <a:solidFill>
                        <a:srgbClr val="3F4444"/>
                      </a:solidFill>
                      <a:effectLst/>
                      <a:uLnTx/>
                      <a:uFillTx/>
                      <a:latin typeface="Calibri"/>
                      <a:ea typeface="+mn-ea"/>
                      <a:cs typeface="+mn-cs"/>
                    </a:rPr>
                    <a:t> ≥10% </a:t>
                  </a:r>
                  <a:r>
                    <a:rPr kumimoji="0" lang="ru-RU" sz="1200" b="0" i="0" u="none" strike="noStrike" kern="0" cap="none" spc="0" normalizeH="0" baseline="0" noProof="0" dirty="0">
                      <a:ln>
                        <a:noFill/>
                      </a:ln>
                      <a:solidFill>
                        <a:srgbClr val="3F4444"/>
                      </a:solidFill>
                      <a:effectLst/>
                      <a:uLnTx/>
                      <a:uFillTx/>
                      <a:latin typeface="Calibri"/>
                      <a:ea typeface="+mn-ea"/>
                      <a:cs typeface="+mn-cs"/>
                    </a:rPr>
                    <a:t>пациентов</a:t>
                  </a:r>
                  <a:r>
                    <a:rPr kumimoji="0" lang="en-GB" sz="1200" b="0" i="0" u="none" strike="noStrike" kern="0" cap="none" spc="0" normalizeH="0" baseline="0" noProof="0" dirty="0">
                      <a:ln>
                        <a:noFill/>
                      </a:ln>
                      <a:solidFill>
                        <a:srgbClr val="3F4444"/>
                      </a:solidFill>
                      <a:effectLst/>
                      <a:uLnTx/>
                      <a:uFillTx/>
                      <a:latin typeface="Calibri"/>
                      <a:ea typeface="+mn-ea"/>
                      <a:cs typeface="+mn-cs"/>
                    </a:rPr>
                    <a:t>)</a:t>
                  </a:r>
                </a:p>
              </p:txBody>
            </p:sp>
            <p:sp>
              <p:nvSpPr>
                <p:cNvPr id="32" name="TextBox 31">
                  <a:extLst>
                    <a:ext uri="{FF2B5EF4-FFF2-40B4-BE49-F238E27FC236}">
                      <a16:creationId xmlns:a16="http://schemas.microsoft.com/office/drawing/2014/main" id="{BA760E34-AA9E-1591-54A7-BEA9D8C00E66}"/>
                    </a:ext>
                  </a:extLst>
                </p:cNvPr>
                <p:cNvSpPr txBox="1"/>
                <p:nvPr/>
              </p:nvSpPr>
              <p:spPr>
                <a:xfrm>
                  <a:off x="5223106" y="1702591"/>
                  <a:ext cx="16576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3F4444"/>
                      </a:solidFill>
                      <a:effectLst/>
                      <a:uLnTx/>
                      <a:uFillTx/>
                      <a:latin typeface="Calibri"/>
                      <a:ea typeface="+mn-ea"/>
                      <a:cs typeface="+mn-cs"/>
                    </a:rPr>
                    <a:t>Любое</a:t>
                  </a:r>
                  <a:endParaRPr kumimoji="0" lang="en-GB" sz="1200" b="1" i="0" u="none" strike="noStrike" kern="0" cap="none" spc="0" normalizeH="0" baseline="0" noProof="0" dirty="0">
                    <a:ln>
                      <a:noFill/>
                    </a:ln>
                    <a:solidFill>
                      <a:srgbClr val="3F4444"/>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B672C33F-F860-5B67-6719-2C2A638DC3D3}"/>
                    </a:ext>
                  </a:extLst>
                </p:cNvPr>
                <p:cNvSpPr txBox="1"/>
                <p:nvPr/>
              </p:nvSpPr>
              <p:spPr>
                <a:xfrm>
                  <a:off x="5223106" y="2517871"/>
                  <a:ext cx="16576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3F4444"/>
                      </a:solidFill>
                      <a:effectLst/>
                      <a:uLnTx/>
                      <a:uFillTx/>
                      <a:latin typeface="Calibri"/>
                      <a:ea typeface="+mn-ea"/>
                      <a:cs typeface="+mn-cs"/>
                    </a:rPr>
                    <a:t>Боль в спине</a:t>
                  </a:r>
                  <a:endParaRPr kumimoji="0" lang="en-GB" sz="1200" b="1" i="0" u="none" strike="noStrike" kern="0" cap="none" spc="0" normalizeH="0" baseline="0" noProof="0" dirty="0">
                    <a:ln>
                      <a:noFill/>
                    </a:ln>
                    <a:solidFill>
                      <a:srgbClr val="3F4444"/>
                    </a:solidFill>
                    <a:effectLst/>
                    <a:uLnTx/>
                    <a:uFillTx/>
                    <a:latin typeface="Calibri"/>
                    <a:ea typeface="+mn-ea"/>
                    <a:cs typeface="+mn-cs"/>
                  </a:endParaRPr>
                </a:p>
              </p:txBody>
            </p:sp>
            <p:sp>
              <p:nvSpPr>
                <p:cNvPr id="34" name="TextBox 33">
                  <a:extLst>
                    <a:ext uri="{FF2B5EF4-FFF2-40B4-BE49-F238E27FC236}">
                      <a16:creationId xmlns:a16="http://schemas.microsoft.com/office/drawing/2014/main" id="{0234B7A3-7CAE-00F8-3163-E5FFC5A4ACFD}"/>
                    </a:ext>
                  </a:extLst>
                </p:cNvPr>
                <p:cNvSpPr txBox="1"/>
                <p:nvPr/>
              </p:nvSpPr>
              <p:spPr>
                <a:xfrm>
                  <a:off x="5223106" y="2721691"/>
                  <a:ext cx="16576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3F4444"/>
                      </a:solidFill>
                      <a:effectLst/>
                      <a:uLnTx/>
                      <a:uFillTx/>
                      <a:latin typeface="Calibri"/>
                      <a:ea typeface="+mn-ea"/>
                      <a:cs typeface="+mn-cs"/>
                    </a:rPr>
                    <a:t>Диарея</a:t>
                  </a:r>
                  <a:endParaRPr kumimoji="0" lang="en-GB" sz="1200" b="1" i="0" u="none" strike="noStrike" kern="0" cap="none" spc="0" normalizeH="0" baseline="0" noProof="0" dirty="0">
                    <a:ln>
                      <a:noFill/>
                    </a:ln>
                    <a:solidFill>
                      <a:srgbClr val="3F4444"/>
                    </a:solidFill>
                    <a:effectLst/>
                    <a:uLnTx/>
                    <a:uFillTx/>
                    <a:latin typeface="Calibri"/>
                    <a:ea typeface="+mn-ea"/>
                    <a:cs typeface="+mn-cs"/>
                  </a:endParaRPr>
                </a:p>
              </p:txBody>
            </p:sp>
            <p:sp>
              <p:nvSpPr>
                <p:cNvPr id="35" name="TextBox 34">
                  <a:extLst>
                    <a:ext uri="{FF2B5EF4-FFF2-40B4-BE49-F238E27FC236}">
                      <a16:creationId xmlns:a16="http://schemas.microsoft.com/office/drawing/2014/main" id="{85E21E0F-E914-D405-0C40-C07C1DDF7D80}"/>
                    </a:ext>
                  </a:extLst>
                </p:cNvPr>
                <p:cNvSpPr txBox="1"/>
                <p:nvPr/>
              </p:nvSpPr>
              <p:spPr>
                <a:xfrm>
                  <a:off x="5223106" y="2925511"/>
                  <a:ext cx="16576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3F4444"/>
                      </a:solidFill>
                      <a:effectLst/>
                      <a:uLnTx/>
                      <a:uFillTx/>
                      <a:latin typeface="Calibri"/>
                      <a:ea typeface="+mn-ea"/>
                      <a:cs typeface="+mn-cs"/>
                    </a:rPr>
                    <a:t>Запор</a:t>
                  </a:r>
                  <a:r>
                    <a:rPr kumimoji="0" lang="en-GB" sz="1200" b="1" i="0" u="none" strike="noStrike" kern="0" cap="none" spc="0" normalizeH="0" baseline="0" noProof="0" dirty="0">
                      <a:ln>
                        <a:noFill/>
                      </a:ln>
                      <a:solidFill>
                        <a:srgbClr val="3F4444"/>
                      </a:solidFill>
                      <a:effectLst/>
                      <a:uLnTx/>
                      <a:uFillTx/>
                      <a:latin typeface="Calibri"/>
                      <a:ea typeface="+mn-ea"/>
                      <a:cs typeface="+mn-cs"/>
                    </a:rPr>
                    <a:t> </a:t>
                  </a:r>
                </a:p>
              </p:txBody>
            </p:sp>
            <p:sp>
              <p:nvSpPr>
                <p:cNvPr id="36" name="TextBox 35">
                  <a:extLst>
                    <a:ext uri="{FF2B5EF4-FFF2-40B4-BE49-F238E27FC236}">
                      <a16:creationId xmlns:a16="http://schemas.microsoft.com/office/drawing/2014/main" id="{1DD79674-296E-742E-E124-17B96BF9F1C1}"/>
                    </a:ext>
                  </a:extLst>
                </p:cNvPr>
                <p:cNvSpPr txBox="1"/>
                <p:nvPr/>
              </p:nvSpPr>
              <p:spPr>
                <a:xfrm>
                  <a:off x="5223106" y="3536971"/>
                  <a:ext cx="16576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3F4444"/>
                      </a:solidFill>
                      <a:effectLst/>
                      <a:uLnTx/>
                      <a:uFillTx/>
                      <a:latin typeface="Calibri"/>
                      <a:ea typeface="+mn-ea"/>
                      <a:cs typeface="+mn-cs"/>
                    </a:rPr>
                    <a:t>Гипертензия</a:t>
                  </a:r>
                  <a:endParaRPr kumimoji="0" lang="en-GB" sz="1200" b="1" i="0" u="none" strike="noStrike" kern="0" cap="none" spc="0" normalizeH="0" baseline="0" noProof="0" dirty="0">
                    <a:ln>
                      <a:noFill/>
                    </a:ln>
                    <a:solidFill>
                      <a:srgbClr val="3F4444"/>
                    </a:solidFill>
                    <a:effectLst/>
                    <a:uLnTx/>
                    <a:uFillTx/>
                    <a:latin typeface="Calibri"/>
                    <a:ea typeface="+mn-ea"/>
                    <a:cs typeface="+mn-cs"/>
                  </a:endParaRPr>
                </a:p>
              </p:txBody>
            </p:sp>
            <p:sp>
              <p:nvSpPr>
                <p:cNvPr id="37" name="TextBox 36">
                  <a:extLst>
                    <a:ext uri="{FF2B5EF4-FFF2-40B4-BE49-F238E27FC236}">
                      <a16:creationId xmlns:a16="http://schemas.microsoft.com/office/drawing/2014/main" id="{A70B3DC0-9B79-098D-CB33-D68C1991DF67}"/>
                    </a:ext>
                  </a:extLst>
                </p:cNvPr>
                <p:cNvSpPr txBox="1"/>
                <p:nvPr/>
              </p:nvSpPr>
              <p:spPr>
                <a:xfrm>
                  <a:off x="4975177" y="4963706"/>
                  <a:ext cx="215350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3F4444"/>
                      </a:solidFill>
                      <a:effectLst/>
                      <a:uLnTx/>
                      <a:uFillTx/>
                      <a:latin typeface="Calibri"/>
                      <a:ea typeface="+mn-ea"/>
                      <a:cs typeface="+mn-cs"/>
                    </a:rPr>
                    <a:t>Приливы</a:t>
                  </a:r>
                  <a:endParaRPr kumimoji="0" lang="en-GB" sz="1200" b="1" i="0" u="none" strike="noStrike" kern="0" cap="none" spc="0" normalizeH="0" baseline="0" noProof="0" dirty="0">
                    <a:ln>
                      <a:noFill/>
                    </a:ln>
                    <a:solidFill>
                      <a:srgbClr val="3F4444"/>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FFED8657-0333-BFEB-F2C4-D20DC6665C1A}"/>
                    </a:ext>
                  </a:extLst>
                </p:cNvPr>
                <p:cNvSpPr txBox="1"/>
                <p:nvPr/>
              </p:nvSpPr>
              <p:spPr>
                <a:xfrm>
                  <a:off x="5223106" y="3740791"/>
                  <a:ext cx="16576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3F4444"/>
                      </a:solidFill>
                      <a:effectLst/>
                      <a:uLnTx/>
                      <a:uFillTx/>
                      <a:latin typeface="Calibri"/>
                      <a:ea typeface="+mn-ea"/>
                      <a:cs typeface="+mn-cs"/>
                    </a:rPr>
                    <a:t>Артралгия</a:t>
                  </a:r>
                  <a:endParaRPr kumimoji="0" lang="en-GB" sz="1200" b="1" i="0" u="none" strike="noStrike" kern="0" cap="none" spc="0" normalizeH="0" baseline="0" noProof="0" dirty="0">
                    <a:ln>
                      <a:noFill/>
                    </a:ln>
                    <a:solidFill>
                      <a:srgbClr val="3F4444"/>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0E9F36BC-A308-12E5-7FC3-CD0996E0E212}"/>
                    </a:ext>
                  </a:extLst>
                </p:cNvPr>
                <p:cNvSpPr txBox="1"/>
                <p:nvPr/>
              </p:nvSpPr>
              <p:spPr>
                <a:xfrm>
                  <a:off x="5223106" y="3944611"/>
                  <a:ext cx="16576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0" cap="none" spc="0" normalizeH="0" baseline="0" noProof="0" dirty="0">
                      <a:ln>
                        <a:noFill/>
                      </a:ln>
                      <a:solidFill>
                        <a:srgbClr val="3F4444"/>
                      </a:solidFill>
                      <a:effectLst/>
                      <a:uLnTx/>
                      <a:uFillTx/>
                      <a:latin typeface="Calibri"/>
                      <a:ea typeface="+mn-ea"/>
                      <a:cs typeface="+mn-cs"/>
                    </a:rPr>
                    <a:t>COVID-19</a:t>
                  </a:r>
                </a:p>
              </p:txBody>
            </p:sp>
            <p:sp>
              <p:nvSpPr>
                <p:cNvPr id="40" name="TextBox 39">
                  <a:extLst>
                    <a:ext uri="{FF2B5EF4-FFF2-40B4-BE49-F238E27FC236}">
                      <a16:creationId xmlns:a16="http://schemas.microsoft.com/office/drawing/2014/main" id="{E36445E2-64B0-B3BA-9251-97312AEE4791}"/>
                    </a:ext>
                  </a:extLst>
                </p:cNvPr>
                <p:cNvSpPr txBox="1"/>
                <p:nvPr/>
              </p:nvSpPr>
              <p:spPr>
                <a:xfrm>
                  <a:off x="5114798" y="4148431"/>
                  <a:ext cx="176595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3F4444"/>
                      </a:solidFill>
                      <a:effectLst/>
                      <a:uLnTx/>
                      <a:uFillTx/>
                      <a:latin typeface="Calibri"/>
                      <a:ea typeface="+mn-ea"/>
                      <a:cs typeface="+mn-cs"/>
                    </a:rPr>
                    <a:t>Периферические отеки</a:t>
                  </a:r>
                  <a:endParaRPr kumimoji="0" lang="en-GB" sz="1200" b="1" i="0" u="none" strike="noStrike" kern="0" cap="none" spc="0" normalizeH="0" baseline="0" noProof="0" dirty="0">
                    <a:ln>
                      <a:noFill/>
                    </a:ln>
                    <a:solidFill>
                      <a:srgbClr val="3F4444"/>
                    </a:solidFill>
                    <a:effectLst/>
                    <a:uLnTx/>
                    <a:uFillTx/>
                    <a:latin typeface="Calibri"/>
                    <a:ea typeface="+mn-ea"/>
                    <a:cs typeface="+mn-cs"/>
                  </a:endParaRPr>
                </a:p>
              </p:txBody>
            </p:sp>
            <p:sp>
              <p:nvSpPr>
                <p:cNvPr id="72" name="TextBox 71">
                  <a:extLst>
                    <a:ext uri="{FF2B5EF4-FFF2-40B4-BE49-F238E27FC236}">
                      <a16:creationId xmlns:a16="http://schemas.microsoft.com/office/drawing/2014/main" id="{07E04BDC-EF79-6023-5A09-24D7FAE68C9E}"/>
                    </a:ext>
                  </a:extLst>
                </p:cNvPr>
                <p:cNvSpPr txBox="1"/>
                <p:nvPr/>
              </p:nvSpPr>
              <p:spPr>
                <a:xfrm>
                  <a:off x="5223106" y="4352251"/>
                  <a:ext cx="16576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3F4444"/>
                      </a:solidFill>
                      <a:effectLst/>
                      <a:uLnTx/>
                      <a:uFillTx/>
                      <a:latin typeface="Calibri"/>
                      <a:ea typeface="+mn-ea"/>
                      <a:cs typeface="+mn-cs"/>
                    </a:rPr>
                    <a:t>Головокружение</a:t>
                  </a:r>
                  <a:endParaRPr kumimoji="0" lang="en-GB" sz="1200" b="1" i="0" u="none" strike="noStrike" kern="0" cap="none" spc="0" normalizeH="0" baseline="0" noProof="0" dirty="0">
                    <a:ln>
                      <a:noFill/>
                    </a:ln>
                    <a:solidFill>
                      <a:srgbClr val="3F4444"/>
                    </a:solidFill>
                    <a:effectLst/>
                    <a:uLnTx/>
                    <a:uFillTx/>
                    <a:latin typeface="Calibri"/>
                    <a:ea typeface="+mn-ea"/>
                    <a:cs typeface="+mn-cs"/>
                  </a:endParaRPr>
                </a:p>
              </p:txBody>
            </p:sp>
            <p:sp>
              <p:nvSpPr>
                <p:cNvPr id="73" name="TextBox 72">
                  <a:extLst>
                    <a:ext uri="{FF2B5EF4-FFF2-40B4-BE49-F238E27FC236}">
                      <a16:creationId xmlns:a16="http://schemas.microsoft.com/office/drawing/2014/main" id="{E1A25949-2A6D-E6A9-A899-94D481C2D2A7}"/>
                    </a:ext>
                  </a:extLst>
                </p:cNvPr>
                <p:cNvSpPr txBox="1"/>
                <p:nvPr/>
              </p:nvSpPr>
              <p:spPr>
                <a:xfrm>
                  <a:off x="5223106" y="4759891"/>
                  <a:ext cx="16576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3F4444"/>
                      </a:solidFill>
                      <a:effectLst/>
                      <a:uLnTx/>
                      <a:uFillTx/>
                      <a:latin typeface="Calibri"/>
                      <a:ea typeface="+mn-ea"/>
                      <a:cs typeface="+mn-cs"/>
                    </a:rPr>
                    <a:t>Кашель</a:t>
                  </a:r>
                  <a:endParaRPr kumimoji="0" lang="en-GB" sz="1200" b="1" i="0" u="none" strike="noStrike" kern="0" cap="none" spc="0" normalizeH="0" baseline="0" noProof="0" dirty="0">
                    <a:ln>
                      <a:noFill/>
                    </a:ln>
                    <a:solidFill>
                      <a:srgbClr val="3F4444"/>
                    </a:solidFill>
                    <a:effectLst/>
                    <a:uLnTx/>
                    <a:uFillTx/>
                    <a:latin typeface="Calibri"/>
                    <a:ea typeface="+mn-ea"/>
                    <a:cs typeface="+mn-cs"/>
                  </a:endParaRPr>
                </a:p>
              </p:txBody>
            </p:sp>
          </p:grpSp>
          <p:sp>
            <p:nvSpPr>
              <p:cNvPr id="13" name="TextBox 12">
                <a:extLst>
                  <a:ext uri="{FF2B5EF4-FFF2-40B4-BE49-F238E27FC236}">
                    <a16:creationId xmlns:a16="http://schemas.microsoft.com/office/drawing/2014/main" id="{D56D9D7D-563E-089C-9A22-A0C36CE05E17}"/>
                  </a:ext>
                </a:extLst>
              </p:cNvPr>
              <p:cNvSpPr txBox="1"/>
              <p:nvPr/>
            </p:nvSpPr>
            <p:spPr>
              <a:xfrm>
                <a:off x="4975177" y="4906270"/>
                <a:ext cx="222148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200" b="1" i="0" u="none" strike="noStrike" kern="0" cap="none" spc="0" normalizeH="0" baseline="0" noProof="0" dirty="0">
                    <a:ln>
                      <a:noFill/>
                    </a:ln>
                    <a:solidFill>
                      <a:srgbClr val="3F4444"/>
                    </a:solidFill>
                    <a:effectLst/>
                    <a:uLnTx/>
                    <a:uFillTx/>
                    <a:latin typeface="Calibri"/>
                    <a:ea typeface="+mn-ea"/>
                    <a:cs typeface="+mn-cs"/>
                  </a:rPr>
                  <a:t>Инфекция МВП</a:t>
                </a:r>
                <a:endParaRPr kumimoji="0" lang="en-GB" sz="1200" b="1" i="0" u="none" strike="noStrike" kern="0" cap="none" spc="0" normalizeH="0" baseline="0" noProof="0" dirty="0">
                  <a:ln>
                    <a:noFill/>
                  </a:ln>
                  <a:solidFill>
                    <a:srgbClr val="3F4444"/>
                  </a:solidFill>
                  <a:effectLst/>
                  <a:uLnTx/>
                  <a:uFillTx/>
                  <a:latin typeface="Calibri"/>
                  <a:ea typeface="+mn-ea"/>
                  <a:cs typeface="+mn-cs"/>
                </a:endParaRPr>
              </a:p>
            </p:txBody>
          </p:sp>
        </p:grpSp>
        <p:sp>
          <p:nvSpPr>
            <p:cNvPr id="5" name="TextBox 4">
              <a:extLst>
                <a:ext uri="{FF2B5EF4-FFF2-40B4-BE49-F238E27FC236}">
                  <a16:creationId xmlns:a16="http://schemas.microsoft.com/office/drawing/2014/main" id="{4D5BEC4E-BE6F-57A3-30DF-9F3CCE706A27}"/>
                </a:ext>
              </a:extLst>
            </p:cNvPr>
            <p:cNvSpPr txBox="1"/>
            <p:nvPr/>
          </p:nvSpPr>
          <p:spPr>
            <a:xfrm>
              <a:off x="7196666" y="4910666"/>
              <a:ext cx="47413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0AB00"/>
                  </a:solidFill>
                  <a:effectLst/>
                  <a:uLnTx/>
                  <a:uFillTx/>
                  <a:latin typeface="Calibri"/>
                  <a:ea typeface="+mn-ea"/>
                  <a:cs typeface="+mn-cs"/>
                </a:rPr>
                <a:t>1.0</a:t>
              </a:r>
              <a:endParaRPr kumimoji="0" lang="en-GB" sz="1200" b="1" i="0" u="none" strike="noStrike" kern="1200" cap="none" spc="0" normalizeH="0" baseline="0" noProof="0" dirty="0">
                <a:ln>
                  <a:noFill/>
                </a:ln>
                <a:solidFill>
                  <a:srgbClr val="F0AB00"/>
                </a:solidFill>
                <a:effectLst/>
                <a:uLnTx/>
                <a:uFillTx/>
                <a:latin typeface="Calibri"/>
                <a:ea typeface="+mn-ea"/>
                <a:cs typeface="+mn-cs"/>
              </a:endParaRPr>
            </a:p>
          </p:txBody>
        </p:sp>
        <p:sp>
          <p:nvSpPr>
            <p:cNvPr id="6" name="TextBox 5">
              <a:extLst>
                <a:ext uri="{FF2B5EF4-FFF2-40B4-BE49-F238E27FC236}">
                  <a16:creationId xmlns:a16="http://schemas.microsoft.com/office/drawing/2014/main" id="{2209CD33-EB86-EE13-E865-09B3C2FB83D2}"/>
                </a:ext>
              </a:extLst>
            </p:cNvPr>
            <p:cNvSpPr txBox="1"/>
            <p:nvPr/>
          </p:nvSpPr>
          <p:spPr>
            <a:xfrm>
              <a:off x="4504265" y="4902199"/>
              <a:ext cx="47413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A8086C"/>
                  </a:solidFill>
                  <a:effectLst/>
                  <a:uLnTx/>
                  <a:uFillTx/>
                  <a:latin typeface="Calibri"/>
                  <a:ea typeface="+mn-ea"/>
                  <a:cs typeface="+mn-cs"/>
                </a:rPr>
                <a:t>2.5</a:t>
              </a:r>
              <a:endParaRPr kumimoji="0" lang="en-GB" sz="1200" b="1" i="0" u="none" strike="noStrike" kern="1200" cap="none" spc="0" normalizeH="0" baseline="0" noProof="0" dirty="0">
                <a:ln>
                  <a:noFill/>
                </a:ln>
                <a:solidFill>
                  <a:srgbClr val="A8086C"/>
                </a:solidFill>
                <a:effectLst/>
                <a:uLnTx/>
                <a:uFillTx/>
                <a:latin typeface="Calibri"/>
                <a:ea typeface="+mn-ea"/>
                <a:cs typeface="+mn-cs"/>
              </a:endParaRPr>
            </a:p>
          </p:txBody>
        </p:sp>
        <p:sp>
          <p:nvSpPr>
            <p:cNvPr id="7" name="TextBox 6">
              <a:extLst>
                <a:ext uri="{FF2B5EF4-FFF2-40B4-BE49-F238E27FC236}">
                  <a16:creationId xmlns:a16="http://schemas.microsoft.com/office/drawing/2014/main" id="{65570DD4-2412-EAFB-2C67-0740A793873F}"/>
                </a:ext>
              </a:extLst>
            </p:cNvPr>
            <p:cNvSpPr txBox="1"/>
            <p:nvPr/>
          </p:nvSpPr>
          <p:spPr>
            <a:xfrm>
              <a:off x="4436531" y="4301066"/>
              <a:ext cx="47413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A8086C"/>
                  </a:solidFill>
                  <a:effectLst/>
                  <a:uLnTx/>
                  <a:uFillTx/>
                  <a:latin typeface="Calibri"/>
                  <a:ea typeface="+mn-ea"/>
                  <a:cs typeface="+mn-cs"/>
                </a:rPr>
                <a:t>3.8</a:t>
              </a:r>
              <a:endParaRPr kumimoji="0" lang="en-GB" sz="1200" b="1" i="0" u="none" strike="noStrike" kern="1200" cap="none" spc="0" normalizeH="0" baseline="0" noProof="0" dirty="0">
                <a:ln>
                  <a:noFill/>
                </a:ln>
                <a:solidFill>
                  <a:srgbClr val="A8086C"/>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6BB0F979-5340-EE0C-B214-48D55F57690E}"/>
                </a:ext>
              </a:extLst>
            </p:cNvPr>
            <p:cNvSpPr txBox="1"/>
            <p:nvPr/>
          </p:nvSpPr>
          <p:spPr>
            <a:xfrm>
              <a:off x="4444997" y="3894665"/>
              <a:ext cx="47413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A8086C"/>
                  </a:solidFill>
                  <a:effectLst/>
                  <a:uLnTx/>
                  <a:uFillTx/>
                  <a:latin typeface="Calibri"/>
                  <a:ea typeface="+mn-ea"/>
                  <a:cs typeface="+mn-cs"/>
                </a:rPr>
                <a:t>3.8</a:t>
              </a:r>
              <a:endParaRPr kumimoji="0" lang="en-GB" sz="1200" b="1" i="0" u="none" strike="noStrike" kern="1200" cap="none" spc="0" normalizeH="0" baseline="0" noProof="0" dirty="0">
                <a:ln>
                  <a:noFill/>
                </a:ln>
                <a:solidFill>
                  <a:srgbClr val="A8086C"/>
                </a:solidFill>
                <a:effectLst/>
                <a:uLnTx/>
                <a:uFillTx/>
                <a:latin typeface="Calibri"/>
                <a:ea typeface="+mn-ea"/>
                <a:cs typeface="+mn-cs"/>
              </a:endParaRPr>
            </a:p>
          </p:txBody>
        </p:sp>
      </p:grpSp>
      <p:sp>
        <p:nvSpPr>
          <p:cNvPr id="3" name="Title 7">
            <a:extLst>
              <a:ext uri="{FF2B5EF4-FFF2-40B4-BE49-F238E27FC236}">
                <a16:creationId xmlns:a16="http://schemas.microsoft.com/office/drawing/2014/main" id="{A6479D7A-F0AD-949B-0EFB-71A1716FF0CC}"/>
              </a:ext>
            </a:extLst>
          </p:cNvPr>
          <p:cNvSpPr txBox="1">
            <a:spLocks/>
          </p:cNvSpPr>
          <p:nvPr/>
        </p:nvSpPr>
        <p:spPr>
          <a:xfrm>
            <a:off x="263087" y="118015"/>
            <a:ext cx="11665825" cy="864655"/>
          </a:xfrm>
        </p:spPr>
        <p:txBody>
          <a:bodyPr rtlCol="0">
            <a:noAutofit/>
          </a:bodyPr>
          <a:lstStyle>
            <a:lvl1pPr algn="l" defTabSz="914377" rtl="0" eaLnBrk="1" latinLnBrk="0" hangingPunct="1">
              <a:lnSpc>
                <a:spcPct val="90000"/>
              </a:lnSpc>
              <a:spcBef>
                <a:spcPct val="0"/>
              </a:spcBef>
              <a:buNone/>
              <a:defRPr sz="2400" kern="1200">
                <a:solidFill>
                  <a:schemeClr val="tx1"/>
                </a:solidFill>
                <a:latin typeface="+mj-lt"/>
                <a:ea typeface="+mj-ea"/>
                <a:cs typeface="+mj-cs"/>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ru-RU" sz="2000" b="1" i="1" u="none" strike="noStrike" kern="1200" cap="none" spc="0" normalizeH="0" baseline="0" noProof="0" dirty="0">
                <a:ln>
                  <a:noFill/>
                </a:ln>
                <a:solidFill>
                  <a:srgbClr val="004D74"/>
                </a:solidFill>
                <a:effectLst/>
                <a:uLnTx/>
                <a:uFillTx/>
                <a:latin typeface="Arial" panose="020B0604020202020204"/>
                <a:ea typeface="+mj-ea"/>
                <a:cs typeface="+mj-cs"/>
              </a:rPr>
              <a:t>Обновленные результаты по безопасности (третий срез данных) в исследовании </a:t>
            </a:r>
            <a:r>
              <a:rPr kumimoji="0" lang="ru-RU" sz="2000" b="1" i="1" u="none" strike="noStrike" kern="1200" cap="none" spc="0" normalizeH="0" baseline="0" noProof="0" dirty="0" err="1">
                <a:ln>
                  <a:noFill/>
                </a:ln>
                <a:solidFill>
                  <a:srgbClr val="004D74"/>
                </a:solidFill>
                <a:effectLst/>
                <a:uLnTx/>
                <a:uFillTx/>
                <a:latin typeface="Arial" panose="020B0604020202020204"/>
                <a:ea typeface="+mj-ea"/>
                <a:cs typeface="+mj-cs"/>
              </a:rPr>
              <a:t>PROpel</a:t>
            </a:r>
            <a:r>
              <a:rPr kumimoji="0" lang="ru-RU" sz="2000" b="1" i="1" u="none" strike="noStrike" kern="1200" cap="none" spc="0" normalizeH="0" baseline="0" noProof="0" dirty="0">
                <a:ln>
                  <a:noFill/>
                </a:ln>
                <a:solidFill>
                  <a:srgbClr val="004D74"/>
                </a:solidFill>
                <a:effectLst/>
                <a:uLnTx/>
                <a:uFillTx/>
                <a:latin typeface="Arial" panose="020B0604020202020204"/>
                <a:ea typeface="+mj-ea"/>
                <a:cs typeface="+mj-cs"/>
              </a:rPr>
              <a:t> продолжают соответствовать известным профилями токсичности отдельных препаратов и результатам первичного анализа</a:t>
            </a:r>
            <a:r>
              <a:rPr kumimoji="0" lang="ru-RU" sz="2000" b="0" i="0" u="none" strike="noStrike" kern="1200" cap="none" spc="0" normalizeH="0" baseline="0" noProof="0" dirty="0">
                <a:ln>
                  <a:noFill/>
                </a:ln>
                <a:solidFill>
                  <a:srgbClr val="004D74"/>
                </a:solidFill>
                <a:effectLst/>
                <a:uLnTx/>
                <a:uFillTx/>
                <a:latin typeface="Arial" panose="020B0604020202020204"/>
                <a:ea typeface="+mj-ea"/>
                <a:cs typeface="+mj-cs"/>
              </a:rPr>
              <a:t> </a:t>
            </a:r>
            <a:br>
              <a:rPr kumimoji="0" lang="en-GB" sz="2000" b="0" i="0" u="none" strike="noStrike" kern="1200" cap="none" spc="0" normalizeH="0" baseline="0" noProof="0" dirty="0">
                <a:ln>
                  <a:noFill/>
                </a:ln>
                <a:solidFill>
                  <a:srgbClr val="004D74"/>
                </a:solidFill>
                <a:effectLst/>
                <a:uLnTx/>
                <a:uFillTx/>
                <a:latin typeface="Arial" panose="020B0604020202020204"/>
                <a:ea typeface="+mj-ea"/>
                <a:cs typeface="+mj-cs"/>
              </a:rPr>
            </a:br>
            <a:endParaRPr kumimoji="0" lang="en-GB" sz="2000" b="0" i="0" u="none" strike="noStrike" kern="1200" cap="none" spc="0" normalizeH="0" baseline="0" noProof="0" dirty="0">
              <a:ln>
                <a:noFill/>
              </a:ln>
              <a:solidFill>
                <a:srgbClr val="004D74"/>
              </a:solidFill>
              <a:effectLst/>
              <a:uLnTx/>
              <a:uFillTx/>
              <a:latin typeface="Arial" panose="020B0604020202020204"/>
              <a:ea typeface="+mj-ea"/>
              <a:cs typeface="+mj-cs"/>
            </a:endParaRPr>
          </a:p>
        </p:txBody>
      </p:sp>
    </p:spTree>
    <p:extLst>
      <p:ext uri="{BB962C8B-B14F-4D97-AF65-F5344CB8AC3E}">
        <p14:creationId xmlns:p14="http://schemas.microsoft.com/office/powerpoint/2010/main" val="2738860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99A3C04-6B6A-1C48-8C9D-395ABD787350}"/>
              </a:ext>
            </a:extLst>
          </p:cNvPr>
          <p:cNvSpPr>
            <a:spLocks noGrp="1"/>
          </p:cNvSpPr>
          <p:nvPr>
            <p:ph type="title"/>
          </p:nvPr>
        </p:nvSpPr>
        <p:spPr>
          <a:xfrm>
            <a:off x="1" y="0"/>
            <a:ext cx="6095999" cy="6858000"/>
          </a:xfrm>
          <a:solidFill>
            <a:schemeClr val="tx2"/>
          </a:solidFill>
        </p:spPr>
        <p:txBody>
          <a:bodyPr bIns="2124000" rtlCol="0">
            <a:noAutofit/>
          </a:bodyPr>
          <a:lstStyle/>
          <a:p>
            <a:pPr rtl="0"/>
            <a:br>
              <a:rPr lang="ru-RU" sz="4400" dirty="0"/>
            </a:br>
            <a:br>
              <a:rPr lang="ru-RU" sz="4400" dirty="0"/>
            </a:br>
            <a:br>
              <a:rPr lang="ru-RU" sz="4400" dirty="0"/>
            </a:br>
            <a:br>
              <a:rPr lang="ru-RU" sz="4400" dirty="0"/>
            </a:br>
            <a:r>
              <a:rPr lang="ru-RU" sz="4400" dirty="0" err="1"/>
              <a:t>Линпарза</a:t>
            </a:r>
            <a:r>
              <a:rPr lang="ru-RU" sz="4400" dirty="0"/>
              <a:t>® в лечении </a:t>
            </a:r>
            <a:r>
              <a:rPr lang="ru-RU" sz="4400" dirty="0" err="1"/>
              <a:t>мКРРПЖ</a:t>
            </a:r>
            <a:r>
              <a:rPr lang="ru-RU" sz="4400" dirty="0"/>
              <a:t>: один препарат - два варианта терапии</a:t>
            </a:r>
            <a:br>
              <a:rPr lang="en-GB" sz="4400" dirty="0"/>
            </a:br>
            <a:endParaRPr lang="en-US" sz="4400" dirty="0"/>
          </a:p>
        </p:txBody>
      </p:sp>
    </p:spTree>
    <p:extLst>
      <p:ext uri="{BB962C8B-B14F-4D97-AF65-F5344CB8AC3E}">
        <p14:creationId xmlns:p14="http://schemas.microsoft.com/office/powerpoint/2010/main" val="28152560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Straight Arrow Connector 34">
            <a:extLst>
              <a:ext uri="{FF2B5EF4-FFF2-40B4-BE49-F238E27FC236}">
                <a16:creationId xmlns:a16="http://schemas.microsoft.com/office/drawing/2014/main" id="{766B2EFB-2429-48FC-9C7A-A0F996A8FA2C}"/>
              </a:ext>
            </a:extLst>
          </p:cNvPr>
          <p:cNvCxnSpPr>
            <a:cxnSpLocks/>
            <a:stCxn id="16" idx="3"/>
            <a:endCxn id="9" idx="2"/>
          </p:cNvCxnSpPr>
          <p:nvPr/>
        </p:nvCxnSpPr>
        <p:spPr>
          <a:xfrm>
            <a:off x="6110990" y="2331421"/>
            <a:ext cx="253899"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C78F7BE-EA0D-4AEC-A656-F5AFAB8A5390}"/>
              </a:ext>
            </a:extLst>
          </p:cNvPr>
          <p:cNvSpPr>
            <a:spLocks noGrp="1"/>
          </p:cNvSpPr>
          <p:nvPr>
            <p:ph type="title"/>
          </p:nvPr>
        </p:nvSpPr>
        <p:spPr>
          <a:xfrm>
            <a:off x="-170120" y="171270"/>
            <a:ext cx="12489712" cy="1007427"/>
          </a:xfrm>
        </p:spPr>
        <p:txBody>
          <a:bodyPr rtlCol="0">
            <a:noAutofit/>
          </a:bodyPr>
          <a:lstStyle/>
          <a:p>
            <a:pPr algn="ctr" rtl="0"/>
            <a:r>
              <a:rPr lang="ru" sz="2400" b="1" i="1" dirty="0">
                <a:latin typeface="+mn-lt"/>
                <a:ea typeface="+mn-ea"/>
                <a:cs typeface="+mn-cs"/>
              </a:rPr>
              <a:t>Исследование PROpel расширяет возможности применения </a:t>
            </a:r>
            <a:br>
              <a:rPr lang="ru" sz="2400" b="1" i="1" dirty="0">
                <a:latin typeface="+mn-lt"/>
                <a:ea typeface="+mn-ea"/>
                <a:cs typeface="+mn-cs"/>
              </a:rPr>
            </a:br>
            <a:r>
              <a:rPr lang="ru" sz="2400" b="1" i="1" dirty="0">
                <a:latin typeface="+mn-lt"/>
                <a:ea typeface="+mn-ea"/>
                <a:cs typeface="+mn-cs"/>
              </a:rPr>
              <a:t>препарата </a:t>
            </a:r>
            <a:r>
              <a:rPr lang="ru-RU" sz="2400" b="1" i="1" dirty="0" err="1">
                <a:latin typeface="+mn-lt"/>
                <a:ea typeface="+mn-ea"/>
                <a:cs typeface="+mn-cs"/>
              </a:rPr>
              <a:t>Линпарза</a:t>
            </a:r>
            <a:r>
              <a:rPr lang="ru-RU" sz="2400" b="1" i="1" baseline="30000" dirty="0">
                <a:latin typeface="+mn-lt"/>
                <a:ea typeface="+mn-ea"/>
                <a:cs typeface="+mn-cs"/>
              </a:rPr>
              <a:t>®</a:t>
            </a:r>
            <a:r>
              <a:rPr lang="ru-RU" sz="2400" dirty="0"/>
              <a:t> </a:t>
            </a:r>
            <a:r>
              <a:rPr lang="ru" sz="2400" b="1" i="1" dirty="0">
                <a:latin typeface="+mn-lt"/>
                <a:ea typeface="+mn-ea"/>
                <a:cs typeface="+mn-cs"/>
              </a:rPr>
              <a:t>при мКРРПЖ в более широкой популяции пациентов, чем в исследовании PROfound</a:t>
            </a:r>
          </a:p>
        </p:txBody>
      </p:sp>
      <p:sp>
        <p:nvSpPr>
          <p:cNvPr id="4" name="Text Placeholder 3">
            <a:extLst>
              <a:ext uri="{FF2B5EF4-FFF2-40B4-BE49-F238E27FC236}">
                <a16:creationId xmlns:a16="http://schemas.microsoft.com/office/drawing/2014/main" id="{A6B7D4DF-9290-4FF0-B967-09DDB954F466}"/>
              </a:ext>
            </a:extLst>
          </p:cNvPr>
          <p:cNvSpPr>
            <a:spLocks noGrp="1"/>
          </p:cNvSpPr>
          <p:nvPr>
            <p:ph type="body" sz="quarter" idx="111"/>
          </p:nvPr>
        </p:nvSpPr>
        <p:spPr>
          <a:xfrm>
            <a:off x="407988" y="6200774"/>
            <a:ext cx="10754772" cy="657225"/>
          </a:xfrm>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ru" sz="800" b="0" i="0" u="none" strike="noStrike" kern="1200" cap="none" spc="0" normalizeH="0" noProof="0" dirty="0">
                <a:ln>
                  <a:noFill/>
                </a:ln>
                <a:effectLst/>
                <a:uLnTx/>
                <a:uFillTx/>
                <a:latin typeface="Calibri" panose="020F0502020204030204" pitchFamily="34" charset="0"/>
                <a:cs typeface="Calibri" panose="020F0502020204030204" pitchFamily="34" charset="0"/>
              </a:rPr>
              <a:t>HRR </a:t>
            </a:r>
            <a:r>
              <a:rPr lang="ru" dirty="0">
                <a:latin typeface="Calibri" panose="020F0502020204030204" pitchFamily="34" charset="0"/>
                <a:cs typeface="Calibri" panose="020F0502020204030204" pitchFamily="34" charset="0"/>
              </a:rPr>
              <a:t>—</a:t>
            </a:r>
            <a:r>
              <a:rPr lang="ru" sz="800" b="0" i="0" u="none" strike="noStrike" kern="1200" cap="none" spc="0" normalizeH="0" noProof="0" dirty="0">
                <a:ln>
                  <a:noFill/>
                </a:ln>
                <a:effectLst/>
                <a:uLnTx/>
                <a:uFillTx/>
                <a:latin typeface="Calibri" panose="020F0502020204030204" pitchFamily="34" charset="0"/>
                <a:cs typeface="Calibri" panose="020F0502020204030204" pitchFamily="34" charset="0"/>
              </a:rPr>
              <a:t> гены репарации</a:t>
            </a:r>
            <a:r>
              <a:rPr lang="en-US" sz="800" b="0" i="0" u="none" strike="noStrike" kern="1200" cap="none" spc="0" normalizeH="0" noProof="0" dirty="0">
                <a:ln>
                  <a:noFill/>
                </a:ln>
                <a:effectLst/>
                <a:uLnTx/>
                <a:uFillTx/>
                <a:latin typeface="Calibri" panose="020F0502020204030204" pitchFamily="34" charset="0"/>
                <a:cs typeface="Calibri" panose="020F0502020204030204" pitchFamily="34" charset="0"/>
              </a:rPr>
              <a:t> </a:t>
            </a:r>
            <a:r>
              <a:rPr lang="ru-RU" sz="800" b="0" i="0" u="none" strike="noStrike" kern="1200" cap="none" spc="0" normalizeH="0" noProof="0" dirty="0">
                <a:ln>
                  <a:noFill/>
                </a:ln>
                <a:effectLst/>
                <a:uLnTx/>
                <a:uFillTx/>
                <a:latin typeface="Calibri" panose="020F0502020204030204" pitchFamily="34" charset="0"/>
                <a:cs typeface="Calibri" panose="020F0502020204030204" pitchFamily="34" charset="0"/>
              </a:rPr>
              <a:t>посредством</a:t>
            </a:r>
            <a:r>
              <a:rPr lang="ru" sz="800" b="0" i="0" u="none" strike="noStrike" kern="1200" cap="none" spc="0" normalizeH="0" noProof="0" dirty="0">
                <a:ln>
                  <a:noFill/>
                </a:ln>
                <a:effectLst/>
                <a:uLnTx/>
                <a:uFillTx/>
                <a:latin typeface="Calibri" panose="020F0502020204030204" pitchFamily="34" charset="0"/>
                <a:cs typeface="Calibri" panose="020F0502020204030204" pitchFamily="34" charset="0"/>
              </a:rPr>
              <a:t> гомологичной рекомбинации; мКРРПЖ </a:t>
            </a:r>
            <a:r>
              <a:rPr lang="ru" dirty="0">
                <a:latin typeface="Calibri" panose="020F0502020204030204" pitchFamily="34" charset="0"/>
                <a:cs typeface="Calibri" panose="020F0502020204030204" pitchFamily="34" charset="0"/>
              </a:rPr>
              <a:t>—</a:t>
            </a:r>
            <a:r>
              <a:rPr lang="ru" sz="800" b="0" i="0" u="none" strike="noStrike" kern="1200" cap="none" spc="0" normalizeH="0" noProof="0" dirty="0">
                <a:ln>
                  <a:noFill/>
                </a:ln>
                <a:effectLst/>
                <a:uLnTx/>
                <a:uFillTx/>
                <a:latin typeface="Calibri" panose="020F0502020204030204" pitchFamily="34" charset="0"/>
                <a:cs typeface="Calibri" panose="020F0502020204030204" pitchFamily="34" charset="0"/>
              </a:rPr>
              <a:t> метастатический кастрационно-резистентный рак предстательной железы; мГЧРПЖ </a:t>
            </a:r>
            <a:r>
              <a:rPr lang="ru" dirty="0">
                <a:latin typeface="Calibri" panose="020F0502020204030204" pitchFamily="34" charset="0"/>
                <a:cs typeface="Calibri" panose="020F0502020204030204" pitchFamily="34" charset="0"/>
              </a:rPr>
              <a:t>—</a:t>
            </a:r>
            <a:r>
              <a:rPr lang="ru" sz="800" b="0" i="0" u="none" strike="noStrike" kern="1200" cap="none" spc="0" normalizeH="0" noProof="0" dirty="0">
                <a:ln>
                  <a:noFill/>
                </a:ln>
                <a:effectLst/>
                <a:uLnTx/>
                <a:uFillTx/>
                <a:latin typeface="Calibri" panose="020F0502020204030204" pitchFamily="34" charset="0"/>
                <a:cs typeface="Calibri" panose="020F0502020204030204" pitchFamily="34" charset="0"/>
              </a:rPr>
              <a:t> метастатический гормоночувствительный рак предстательной железы; НГП </a:t>
            </a:r>
            <a:r>
              <a:rPr lang="ru" dirty="0">
                <a:latin typeface="Calibri" panose="020F0502020204030204" pitchFamily="34" charset="0"/>
                <a:cs typeface="Calibri" panose="020F0502020204030204" pitchFamily="34" charset="0"/>
              </a:rPr>
              <a:t>—</a:t>
            </a:r>
            <a:r>
              <a:rPr lang="ru" sz="800" b="0" i="0" u="none" strike="noStrike" kern="1200" cap="none" spc="0" normalizeH="0" noProof="0" dirty="0">
                <a:ln>
                  <a:noFill/>
                </a:ln>
                <a:effectLst/>
                <a:uLnTx/>
                <a:uFillTx/>
                <a:latin typeface="Calibri" panose="020F0502020204030204" pitchFamily="34" charset="0"/>
                <a:cs typeface="Calibri" panose="020F0502020204030204" pitchFamily="34" charset="0"/>
              </a:rPr>
              <a:t> новый гормональный препарат; нмКРРПЖ — </a:t>
            </a:r>
            <a:r>
              <a:rPr lang="ru" dirty="0">
                <a:latin typeface="Calibri" panose="020F0502020204030204" pitchFamily="34" charset="0"/>
                <a:cs typeface="Calibri" panose="020F0502020204030204" pitchFamily="34" charset="0"/>
              </a:rPr>
              <a:t>не</a:t>
            </a:r>
            <a:r>
              <a:rPr lang="ru" sz="800" b="0" i="0" u="none" strike="noStrike" kern="1200" cap="none" spc="0" normalizeH="0" noProof="0" dirty="0">
                <a:ln>
                  <a:noFill/>
                </a:ln>
                <a:effectLst/>
                <a:uLnTx/>
                <a:uFillTx/>
                <a:latin typeface="Calibri" panose="020F0502020204030204" pitchFamily="34" charset="0"/>
                <a:cs typeface="Calibri" panose="020F0502020204030204" pitchFamily="34" charset="0"/>
              </a:rPr>
              <a:t>метастатический кастрационно-резистентный рак предстательной железы. </a:t>
            </a:r>
          </a:p>
          <a:p>
            <a:pPr marL="0" marR="0" lvl="0" indent="0" algn="l" defTabSz="914400" rtl="0" eaLnBrk="1" fontAlgn="auto" latinLnBrk="0" hangingPunct="1">
              <a:lnSpc>
                <a:spcPct val="100000"/>
              </a:lnSpc>
              <a:spcBef>
                <a:spcPts val="0"/>
              </a:spcBef>
              <a:spcAft>
                <a:spcPts val="0"/>
              </a:spcAft>
              <a:buClrTx/>
              <a:buSzTx/>
              <a:buFontTx/>
              <a:buNone/>
              <a:tabLst/>
              <a:defRPr/>
            </a:pPr>
            <a:r>
              <a:rPr lang="ru" sz="800" b="0" i="0" u="none" strike="noStrike" kern="0" cap="none" spc="0" normalizeH="0" noProof="0" dirty="0">
                <a:ln>
                  <a:noFill/>
                </a:ln>
                <a:effectLst/>
                <a:uLnTx/>
                <a:uFillTx/>
                <a:ea typeface="+mn-ea"/>
                <a:cs typeface="Arial" panose="020B0604020202020204" pitchFamily="34" charset="0"/>
              </a:rPr>
              <a:t> </a:t>
            </a:r>
            <a:r>
              <a:rPr lang="ru" dirty="0"/>
              <a:t>Saad F, et al. Представлено на конгрессе ASCO GU 2022, 17–19 февраля, Сан-Франциско, Калифорния. Устный доклад 1</a:t>
            </a:r>
            <a:r>
              <a:rPr lang="ru" sz="800" b="0" i="0" u="none" strike="noStrike" kern="1200" cap="none" spc="0" normalizeH="0" noProof="0" dirty="0">
                <a:ln>
                  <a:noFill/>
                </a:ln>
                <a:effectLst/>
                <a:uLnTx/>
                <a:uFillTx/>
                <a:latin typeface="Calibri" panose="020F0502020204030204" pitchFamily="34" charset="0"/>
                <a:cs typeface="Calibri" panose="020F0502020204030204" pitchFamily="34" charset="0"/>
              </a:rPr>
              <a:t>; </a:t>
            </a:r>
            <a:r>
              <a:rPr lang="ru" dirty="0"/>
              <a:t>de Bono J, et al. N Engl J Med. 2020;28;382(22):2091-2102.</a:t>
            </a:r>
          </a:p>
        </p:txBody>
      </p:sp>
      <p:grpSp>
        <p:nvGrpSpPr>
          <p:cNvPr id="28" name="Group 27">
            <a:extLst>
              <a:ext uri="{FF2B5EF4-FFF2-40B4-BE49-F238E27FC236}">
                <a16:creationId xmlns:a16="http://schemas.microsoft.com/office/drawing/2014/main" id="{8D519257-18DC-4BFA-8082-700DFD4DA517}"/>
              </a:ext>
            </a:extLst>
          </p:cNvPr>
          <p:cNvGrpSpPr/>
          <p:nvPr/>
        </p:nvGrpSpPr>
        <p:grpSpPr>
          <a:xfrm>
            <a:off x="560537" y="1447615"/>
            <a:ext cx="11073790" cy="4563787"/>
            <a:chOff x="1267364" y="1638359"/>
            <a:chExt cx="9791174" cy="4035188"/>
          </a:xfrm>
        </p:grpSpPr>
        <p:grpSp>
          <p:nvGrpSpPr>
            <p:cNvPr id="5" name="Group 4">
              <a:extLst>
                <a:ext uri="{FF2B5EF4-FFF2-40B4-BE49-F238E27FC236}">
                  <a16:creationId xmlns:a16="http://schemas.microsoft.com/office/drawing/2014/main" id="{AF4EDCE5-404C-4925-B72E-814ECB856510}"/>
                </a:ext>
              </a:extLst>
            </p:cNvPr>
            <p:cNvGrpSpPr/>
            <p:nvPr/>
          </p:nvGrpSpPr>
          <p:grpSpPr>
            <a:xfrm>
              <a:off x="1267364" y="1638359"/>
              <a:ext cx="9791174" cy="4035188"/>
              <a:chOff x="2238678" y="1633547"/>
              <a:chExt cx="7343380" cy="4507421"/>
            </a:xfrm>
          </p:grpSpPr>
          <p:cxnSp>
            <p:nvCxnSpPr>
              <p:cNvPr id="6" name="Straight Connector 5">
                <a:extLst>
                  <a:ext uri="{FF2B5EF4-FFF2-40B4-BE49-F238E27FC236}">
                    <a16:creationId xmlns:a16="http://schemas.microsoft.com/office/drawing/2014/main" id="{CAD0C163-88A6-4C83-A780-5A5FA0F922CB}"/>
                  </a:ext>
                </a:extLst>
              </p:cNvPr>
              <p:cNvCxnSpPr>
                <a:cxnSpLocks/>
              </p:cNvCxnSpPr>
              <p:nvPr/>
            </p:nvCxnSpPr>
            <p:spPr>
              <a:xfrm>
                <a:off x="4690095" y="2068135"/>
                <a:ext cx="0" cy="4038321"/>
              </a:xfrm>
              <a:prstGeom prst="line">
                <a:avLst/>
              </a:prstGeom>
              <a:ln w="57150">
                <a:solidFill>
                  <a:schemeClr val="accent1"/>
                </a:solidFill>
                <a:prstDash val="sysDash"/>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5FF8B79-516D-4A9B-9AD0-E3976D8EB93A}"/>
                  </a:ext>
                </a:extLst>
              </p:cNvPr>
              <p:cNvSpPr txBox="1"/>
              <p:nvPr/>
            </p:nvSpPr>
            <p:spPr>
              <a:xfrm>
                <a:off x="2238678" y="2591047"/>
                <a:ext cx="2034070" cy="605357"/>
              </a:xfrm>
              <a:prstGeom prst="round2Diag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0800000" scaled="1"/>
                <a:tileRect/>
              </a:gradFill>
              <a:ln>
                <a:solidFill>
                  <a:schemeClr val="accent1"/>
                </a:solidFill>
              </a:ln>
            </p:spPr>
            <p:txBody>
              <a:bodyPr wrap="square" lIns="121915" tIns="60957" rIns="121915" bIns="60957" rtlCol="0">
                <a:spAutoFit/>
              </a:bodyPr>
              <a:lstStyle/>
              <a:p>
                <a:pPr marL="0" marR="0" lvl="0" indent="0" algn="ctr" defTabSz="609507" rtl="0" eaLnBrk="1" fontAlgn="auto" latinLnBrk="0" hangingPunct="1">
                  <a:lnSpc>
                    <a:spcPct val="100000"/>
                  </a:lnSpc>
                  <a:spcBef>
                    <a:spcPts val="0"/>
                  </a:spcBef>
                  <a:spcAft>
                    <a:spcPts val="0"/>
                  </a:spcAft>
                  <a:buClrTx/>
                  <a:buSzTx/>
                  <a:buFontTx/>
                  <a:buNone/>
                  <a:tabLst/>
                  <a:defRPr/>
                </a:pPr>
                <a:r>
                  <a:rPr lang="ru" sz="1400" b="0" i="0" u="none" strike="noStrike" kern="1200" cap="none" spc="0" normalizeH="0" noProof="0" dirty="0">
                    <a:ln>
                      <a:noFill/>
                    </a:ln>
                    <a:solidFill>
                      <a:srgbClr val="000000"/>
                    </a:solidFill>
                    <a:effectLst/>
                    <a:uLnTx/>
                    <a:uFillTx/>
                    <a:latin typeface="Calibri"/>
                    <a:ea typeface="+mn-ea"/>
                    <a:cs typeface="+mn-cs"/>
                  </a:rPr>
                  <a:t>Прогрессирование </a:t>
                </a:r>
                <a:r>
                  <a:rPr lang="ru" sz="1400" b="1" i="0" u="none" strike="noStrike" kern="1200" cap="none" spc="0" normalizeH="0" noProof="0" dirty="0">
                    <a:ln>
                      <a:noFill/>
                    </a:ln>
                    <a:solidFill>
                      <a:srgbClr val="000000"/>
                    </a:solidFill>
                    <a:effectLst/>
                    <a:uLnTx/>
                    <a:uFillTx/>
                    <a:latin typeface="Calibri"/>
                    <a:ea typeface="+mn-ea"/>
                    <a:cs typeface="+mn-cs"/>
                  </a:rPr>
                  <a:t>на фоне терапии НГП</a:t>
                </a:r>
              </a:p>
            </p:txBody>
          </p:sp>
          <p:sp>
            <p:nvSpPr>
              <p:cNvPr id="9" name="TextBox 8">
                <a:extLst>
                  <a:ext uri="{FF2B5EF4-FFF2-40B4-BE49-F238E27FC236}">
                    <a16:creationId xmlns:a16="http://schemas.microsoft.com/office/drawing/2014/main" id="{9402B370-F551-45A7-BBAC-10136880BFC4}"/>
                  </a:ext>
                </a:extLst>
              </p:cNvPr>
              <p:cNvSpPr txBox="1"/>
              <p:nvPr/>
            </p:nvSpPr>
            <p:spPr>
              <a:xfrm>
                <a:off x="6087727" y="2232862"/>
                <a:ext cx="1711218" cy="547150"/>
              </a:xfrm>
              <a:prstGeom prst="round2DiagRect">
                <a:avLst/>
              </a:prstGeom>
              <a:solidFill>
                <a:schemeClr val="tx2"/>
              </a:solidFill>
              <a:ln w="28575">
                <a:solidFill>
                  <a:schemeClr val="accent1"/>
                </a:solidFill>
              </a:ln>
            </p:spPr>
            <p:txBody>
              <a:bodyPr wrap="square" lIns="121915" tIns="60957" rIns="121915" bIns="60957" rtlCol="0" anchor="ctr">
                <a:noAutofit/>
              </a:bodyPr>
              <a:lstStyle>
                <a:defPPr>
                  <a:defRPr lang="en-US"/>
                </a:defPPr>
                <a:lvl1pPr marR="0" lvl="0" indent="0" algn="ctr" defTabSz="609555" fontAlgn="auto">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LnTx/>
                    <a:uFillTx/>
                    <a:latin typeface="Arial"/>
                  </a:defRPr>
                </a:lvl1pPr>
              </a:lstStyle>
              <a:p>
                <a:pPr marL="0" marR="0" lvl="0" indent="0" algn="ctr" defTabSz="609507" rtl="0" eaLnBrk="1" fontAlgn="auto" latinLnBrk="0" hangingPunct="1">
                  <a:lnSpc>
                    <a:spcPct val="100000"/>
                  </a:lnSpc>
                  <a:spcBef>
                    <a:spcPts val="0"/>
                  </a:spcBef>
                  <a:spcAft>
                    <a:spcPts val="0"/>
                  </a:spcAft>
                  <a:buClrTx/>
                  <a:buSzTx/>
                  <a:buFontTx/>
                  <a:buNone/>
                  <a:tabLst/>
                  <a:defRPr/>
                </a:pPr>
                <a:r>
                  <a:rPr lang="ru" sz="1400" b="1" i="0" u="none" strike="noStrike" kern="1200" cap="none" spc="0" normalizeH="0" noProof="0" dirty="0">
                    <a:ln>
                      <a:noFill/>
                    </a:ln>
                    <a:solidFill>
                      <a:srgbClr val="FFFFFF"/>
                    </a:solidFill>
                    <a:effectLst/>
                    <a:uLnTx/>
                    <a:uFillTx/>
                    <a:latin typeface="Calibri"/>
                    <a:ea typeface="+mn-ea"/>
                    <a:cs typeface="+mn-cs"/>
                  </a:rPr>
                  <a:t>Монотерапия </a:t>
                </a:r>
                <a:r>
                  <a:rPr lang="ru-RU" sz="1400" b="1" dirty="0" err="1">
                    <a:solidFill>
                      <a:schemeClr val="bg1"/>
                    </a:solidFill>
                  </a:rPr>
                  <a:t>Линпарза</a:t>
                </a:r>
                <a:r>
                  <a:rPr lang="ru-RU" sz="1400" b="1" baseline="30000" dirty="0">
                    <a:solidFill>
                      <a:schemeClr val="bg1"/>
                    </a:solidFill>
                  </a:rPr>
                  <a:t>®</a:t>
                </a:r>
                <a:endParaRPr lang="ru" sz="1400" b="1" i="0" u="none" strike="noStrike" kern="1200" cap="none" spc="0" normalizeH="0" baseline="30000" noProof="0" dirty="0">
                  <a:ln>
                    <a:noFill/>
                  </a:ln>
                  <a:solidFill>
                    <a:schemeClr val="bg1"/>
                  </a:solidFill>
                  <a:effectLst/>
                  <a:uLnTx/>
                  <a:uFillTx/>
                  <a:latin typeface="Calibri"/>
                  <a:ea typeface="+mn-ea"/>
                  <a:cs typeface="+mn-cs"/>
                </a:endParaRPr>
              </a:p>
            </p:txBody>
          </p:sp>
          <p:sp>
            <p:nvSpPr>
              <p:cNvPr id="10" name="TextBox 9">
                <a:extLst>
                  <a:ext uri="{FF2B5EF4-FFF2-40B4-BE49-F238E27FC236}">
                    <a16:creationId xmlns:a16="http://schemas.microsoft.com/office/drawing/2014/main" id="{E4E9D5F1-25B4-4165-8F15-3144C7C6FAF3}"/>
                  </a:ext>
                </a:extLst>
              </p:cNvPr>
              <p:cNvSpPr txBox="1"/>
              <p:nvPr/>
            </p:nvSpPr>
            <p:spPr>
              <a:xfrm>
                <a:off x="6092488" y="3024418"/>
                <a:ext cx="1707251" cy="605357"/>
              </a:xfrm>
              <a:prstGeom prst="round2DiagRect">
                <a:avLst/>
              </a:prstGeom>
              <a:solidFill>
                <a:schemeClr val="bg2">
                  <a:lumMod val="20000"/>
                  <a:lumOff val="80000"/>
                </a:schemeClr>
              </a:solidFill>
              <a:ln>
                <a:solidFill>
                  <a:schemeClr val="accent1"/>
                </a:solidFill>
              </a:ln>
            </p:spPr>
            <p:txBody>
              <a:bodyPr wrap="square" lIns="121915" tIns="60957" rIns="121915" bIns="60957" rtlCol="0">
                <a:spAutoFit/>
              </a:bodyPr>
              <a:lstStyle/>
              <a:p>
                <a:pPr marL="0" marR="0" lvl="0" indent="0" algn="ctr" defTabSz="609507" rtl="0" eaLnBrk="1" fontAlgn="auto" latinLnBrk="0" hangingPunct="1">
                  <a:lnSpc>
                    <a:spcPct val="100000"/>
                  </a:lnSpc>
                  <a:spcBef>
                    <a:spcPts val="0"/>
                  </a:spcBef>
                  <a:spcAft>
                    <a:spcPts val="0"/>
                  </a:spcAft>
                  <a:buClrTx/>
                  <a:buSzTx/>
                  <a:buFontTx/>
                  <a:buNone/>
                  <a:tabLst/>
                  <a:defRPr/>
                </a:pPr>
                <a:r>
                  <a:rPr lang="ru" sz="1400" dirty="0">
                    <a:solidFill>
                      <a:srgbClr val="000000"/>
                    </a:solidFill>
                    <a:latin typeface="Calibri"/>
                  </a:rPr>
                  <a:t>д</a:t>
                </a:r>
                <a:r>
                  <a:rPr lang="ru" sz="1400" b="0" i="0" u="none" strike="noStrike" kern="1200" cap="none" spc="0" normalizeH="0" noProof="0" dirty="0">
                    <a:ln>
                      <a:noFill/>
                    </a:ln>
                    <a:solidFill>
                      <a:srgbClr val="000000"/>
                    </a:solidFill>
                    <a:effectLst/>
                    <a:uLnTx/>
                    <a:uFillTx/>
                    <a:latin typeface="Calibri"/>
                    <a:ea typeface="+mn-ea"/>
                    <a:cs typeface="+mn-cs"/>
                  </a:rPr>
                  <a:t>оцетаксел / прочие препараты</a:t>
                </a:r>
              </a:p>
            </p:txBody>
          </p:sp>
          <p:sp>
            <p:nvSpPr>
              <p:cNvPr id="11" name="TextBox 10">
                <a:extLst>
                  <a:ext uri="{FF2B5EF4-FFF2-40B4-BE49-F238E27FC236}">
                    <a16:creationId xmlns:a16="http://schemas.microsoft.com/office/drawing/2014/main" id="{C2A6FFAD-7013-421C-AE68-89876484EDA8}"/>
                  </a:ext>
                </a:extLst>
              </p:cNvPr>
              <p:cNvSpPr txBox="1"/>
              <p:nvPr/>
            </p:nvSpPr>
            <p:spPr>
              <a:xfrm>
                <a:off x="2270371" y="4768338"/>
                <a:ext cx="2034070" cy="605357"/>
              </a:xfrm>
              <a:prstGeom prst="round2DiagRect">
                <a:avLst/>
              </a:prstGeom>
              <a:solidFill>
                <a:schemeClr val="accent3"/>
              </a:solidFill>
              <a:ln>
                <a:solidFill>
                  <a:schemeClr val="accent3"/>
                </a:solidFill>
              </a:ln>
            </p:spPr>
            <p:txBody>
              <a:bodyPr wrap="square" lIns="121915" tIns="60957" rIns="121915" bIns="60957" rtlCol="0">
                <a:spAutoFit/>
              </a:bodyPr>
              <a:lstStyle/>
              <a:p>
                <a:pPr marL="0" marR="0" lvl="0" indent="0" algn="ctr" defTabSz="609507" rtl="0" eaLnBrk="1" fontAlgn="auto" latinLnBrk="0" hangingPunct="1">
                  <a:lnSpc>
                    <a:spcPct val="100000"/>
                  </a:lnSpc>
                  <a:spcBef>
                    <a:spcPts val="0"/>
                  </a:spcBef>
                  <a:spcAft>
                    <a:spcPts val="0"/>
                  </a:spcAft>
                  <a:buClrTx/>
                  <a:buSzTx/>
                  <a:buFontTx/>
                  <a:buNone/>
                  <a:tabLst/>
                  <a:defRPr/>
                </a:pPr>
                <a:r>
                  <a:rPr lang="ru" sz="1400" b="0" i="0" u="none" strike="noStrike" kern="1200" cap="none" spc="0" normalizeH="0" noProof="0" dirty="0">
                    <a:ln>
                      <a:noFill/>
                    </a:ln>
                    <a:solidFill>
                      <a:srgbClr val="000000"/>
                    </a:solidFill>
                    <a:effectLst/>
                    <a:uLnTx/>
                    <a:uFillTx/>
                    <a:latin typeface="Calibri"/>
                    <a:ea typeface="+mn-ea"/>
                    <a:cs typeface="+mn-cs"/>
                  </a:rPr>
                  <a:t>Прогрессирование </a:t>
                </a:r>
                <a:r>
                  <a:rPr lang="ru" sz="1400" b="1" i="0" u="none" strike="noStrike" kern="1200" cap="none" spc="0" normalizeH="0" noProof="0" dirty="0">
                    <a:ln>
                      <a:noFill/>
                    </a:ln>
                    <a:solidFill>
                      <a:srgbClr val="000000"/>
                    </a:solidFill>
                    <a:effectLst/>
                    <a:uLnTx/>
                    <a:uFillTx/>
                    <a:latin typeface="Calibri"/>
                    <a:ea typeface="+mn-ea"/>
                    <a:cs typeface="+mn-cs"/>
                  </a:rPr>
                  <a:t>без</a:t>
                </a:r>
                <a:r>
                  <a:rPr lang="ru" sz="1400" b="0" i="0" u="none" strike="noStrike" kern="1200" cap="none" spc="0" normalizeH="0" noProof="0" dirty="0">
                    <a:ln>
                      <a:noFill/>
                    </a:ln>
                    <a:solidFill>
                      <a:srgbClr val="000000"/>
                    </a:solidFill>
                    <a:effectLst/>
                    <a:uLnTx/>
                    <a:uFillTx/>
                    <a:latin typeface="Calibri"/>
                    <a:ea typeface="+mn-ea"/>
                    <a:cs typeface="+mn-cs"/>
                  </a:rPr>
                  <a:t> предшествующей </a:t>
                </a:r>
                <a:r>
                  <a:rPr lang="ru" sz="1400" b="1" i="0" u="none" strike="noStrike" kern="1200" cap="none" spc="0" normalizeH="0" noProof="0" dirty="0">
                    <a:ln>
                      <a:noFill/>
                    </a:ln>
                    <a:solidFill>
                      <a:srgbClr val="000000"/>
                    </a:solidFill>
                    <a:effectLst/>
                    <a:uLnTx/>
                    <a:uFillTx/>
                    <a:latin typeface="Calibri"/>
                    <a:ea typeface="+mn-ea"/>
                    <a:cs typeface="+mn-cs"/>
                  </a:rPr>
                  <a:t>терапии НГП</a:t>
                </a:r>
              </a:p>
            </p:txBody>
          </p:sp>
          <p:sp>
            <p:nvSpPr>
              <p:cNvPr id="12" name="TextBox 11">
                <a:extLst>
                  <a:ext uri="{FF2B5EF4-FFF2-40B4-BE49-F238E27FC236}">
                    <a16:creationId xmlns:a16="http://schemas.microsoft.com/office/drawing/2014/main" id="{811822F9-7D6E-414B-9F39-C0BEF65BBA64}"/>
                  </a:ext>
                </a:extLst>
              </p:cNvPr>
              <p:cNvSpPr txBox="1"/>
              <p:nvPr/>
            </p:nvSpPr>
            <p:spPr>
              <a:xfrm>
                <a:off x="6087727" y="4763647"/>
                <a:ext cx="1700844" cy="605357"/>
              </a:xfrm>
              <a:prstGeom prst="round2DiagRect">
                <a:avLst/>
              </a:prstGeom>
              <a:solidFill>
                <a:schemeClr val="bg2">
                  <a:lumMod val="20000"/>
                  <a:lumOff val="80000"/>
                </a:schemeClr>
              </a:solidFill>
              <a:ln>
                <a:solidFill>
                  <a:schemeClr val="accent1"/>
                </a:solidFill>
              </a:ln>
            </p:spPr>
            <p:txBody>
              <a:bodyPr wrap="square" lIns="121915" tIns="60957" rIns="121915" bIns="60957" rtlCol="0">
                <a:spAutoFit/>
              </a:bodyPr>
              <a:lstStyle>
                <a:defPPr>
                  <a:defRPr lang="en-US"/>
                </a:defPPr>
                <a:lvl1pPr algn="ctr" defTabSz="609555">
                  <a:defRPr sz="1200">
                    <a:solidFill>
                      <a:srgbClr val="000000"/>
                    </a:solidFill>
                    <a:latin typeface="Arial"/>
                  </a:defRPr>
                </a:lvl1pPr>
              </a:lstStyle>
              <a:p>
                <a:pPr marL="0" marR="0" lvl="0" indent="0" algn="l" defTabSz="609507" rtl="0" eaLnBrk="1" fontAlgn="auto" latinLnBrk="0" hangingPunct="1">
                  <a:lnSpc>
                    <a:spcPct val="100000"/>
                  </a:lnSpc>
                  <a:spcBef>
                    <a:spcPts val="0"/>
                  </a:spcBef>
                  <a:spcAft>
                    <a:spcPts val="0"/>
                  </a:spcAft>
                  <a:buClrTx/>
                  <a:buSzTx/>
                  <a:buFontTx/>
                  <a:buNone/>
                  <a:tabLst/>
                  <a:defRPr/>
                </a:pPr>
                <a:r>
                  <a:rPr lang="ru" sz="1400" dirty="0">
                    <a:latin typeface="Calibri"/>
                  </a:rPr>
                  <a:t>НГП / д</a:t>
                </a:r>
                <a:r>
                  <a:rPr lang="ru" sz="1400" b="0" i="0" u="none" strike="noStrike" kern="1200" cap="none" spc="0" normalizeH="0" noProof="0" dirty="0">
                    <a:ln>
                      <a:noFill/>
                    </a:ln>
                    <a:solidFill>
                      <a:srgbClr val="000000"/>
                    </a:solidFill>
                    <a:effectLst/>
                    <a:uLnTx/>
                    <a:uFillTx/>
                    <a:latin typeface="Calibri"/>
                    <a:ea typeface="+mn-ea"/>
                    <a:cs typeface="+mn-cs"/>
                  </a:rPr>
                  <a:t>оцетаксел </a:t>
                </a:r>
              </a:p>
              <a:p>
                <a:pPr marL="0" marR="0" lvl="0" indent="0" algn="l" defTabSz="609507" rtl="0" eaLnBrk="1" fontAlgn="auto" latinLnBrk="0" hangingPunct="1">
                  <a:lnSpc>
                    <a:spcPct val="100000"/>
                  </a:lnSpc>
                  <a:spcBef>
                    <a:spcPts val="0"/>
                  </a:spcBef>
                  <a:spcAft>
                    <a:spcPts val="0"/>
                  </a:spcAft>
                  <a:buClrTx/>
                  <a:buSzTx/>
                  <a:buFontTx/>
                  <a:buNone/>
                  <a:tabLst/>
                  <a:defRPr/>
                </a:pPr>
                <a:r>
                  <a:rPr lang="ru" sz="1400" b="0" i="0" u="none" strike="noStrike" kern="1200" cap="none" spc="0" normalizeH="0" noProof="0" dirty="0">
                    <a:ln>
                      <a:noFill/>
                    </a:ln>
                    <a:solidFill>
                      <a:srgbClr val="000000"/>
                    </a:solidFill>
                    <a:effectLst/>
                    <a:uLnTx/>
                    <a:uFillTx/>
                    <a:latin typeface="Calibri"/>
                    <a:ea typeface="+mn-ea"/>
                    <a:cs typeface="+mn-cs"/>
                  </a:rPr>
                  <a:t>/ прочие препараты</a:t>
                </a:r>
              </a:p>
            </p:txBody>
          </p:sp>
          <p:sp>
            <p:nvSpPr>
              <p:cNvPr id="13" name="TextBox 12">
                <a:extLst>
                  <a:ext uri="{FF2B5EF4-FFF2-40B4-BE49-F238E27FC236}">
                    <a16:creationId xmlns:a16="http://schemas.microsoft.com/office/drawing/2014/main" id="{EDFC7250-FCBA-4CA1-8604-695C07A28066}"/>
                  </a:ext>
                </a:extLst>
              </p:cNvPr>
              <p:cNvSpPr txBox="1"/>
              <p:nvPr/>
            </p:nvSpPr>
            <p:spPr>
              <a:xfrm>
                <a:off x="6086936" y="5535611"/>
                <a:ext cx="1712802" cy="605357"/>
              </a:xfrm>
              <a:prstGeom prst="round2DiagRect">
                <a:avLst/>
              </a:prstGeom>
              <a:gradFill flip="none" rotWithShape="1">
                <a:gsLst>
                  <a:gs pos="0">
                    <a:srgbClr val="FBB40F">
                      <a:tint val="66000"/>
                      <a:satMod val="160000"/>
                    </a:srgbClr>
                  </a:gs>
                  <a:gs pos="50000">
                    <a:srgbClr val="FBB40F">
                      <a:tint val="44500"/>
                      <a:satMod val="160000"/>
                    </a:srgbClr>
                  </a:gs>
                  <a:gs pos="100000">
                    <a:srgbClr val="FBB40F">
                      <a:tint val="23500"/>
                      <a:satMod val="160000"/>
                    </a:srgbClr>
                  </a:gs>
                </a:gsLst>
                <a:lin ang="10800000" scaled="1"/>
                <a:tileRect/>
              </a:gradFill>
              <a:ln>
                <a:solidFill>
                  <a:schemeClr val="accent1"/>
                </a:solidFill>
              </a:ln>
            </p:spPr>
            <p:txBody>
              <a:bodyPr wrap="square" lIns="121915" tIns="60957" rIns="121915" bIns="60957" rtlCol="0" anchor="ctr">
                <a:spAutoFit/>
              </a:bodyPr>
              <a:lstStyle/>
              <a:p>
                <a:pPr marL="0" marR="0" lvl="0" indent="0" algn="ctr" defTabSz="609507" rtl="0" eaLnBrk="1" fontAlgn="auto" latinLnBrk="0" hangingPunct="1">
                  <a:lnSpc>
                    <a:spcPct val="100000"/>
                  </a:lnSpc>
                  <a:spcBef>
                    <a:spcPts val="0"/>
                  </a:spcBef>
                  <a:spcAft>
                    <a:spcPts val="0"/>
                  </a:spcAft>
                  <a:buClrTx/>
                  <a:buSzTx/>
                  <a:buFontTx/>
                  <a:buNone/>
                  <a:tabLst/>
                  <a:defRPr/>
                </a:pPr>
                <a:r>
                  <a:rPr lang="ru" sz="1400" b="0" i="0" u="none" strike="noStrike" kern="1200" cap="none" spc="0" normalizeH="0" noProof="0" dirty="0">
                    <a:ln>
                      <a:noFill/>
                    </a:ln>
                    <a:solidFill>
                      <a:srgbClr val="000000"/>
                    </a:solidFill>
                    <a:effectLst/>
                    <a:uLnTx/>
                    <a:uFillTx/>
                    <a:latin typeface="Calibri"/>
                    <a:ea typeface="+mn-ea"/>
                    <a:cs typeface="+mn-cs"/>
                  </a:rPr>
                  <a:t>Прогрессирование </a:t>
                </a:r>
                <a:r>
                  <a:rPr lang="ru" sz="1400" b="1" i="0" u="none" strike="noStrike" kern="1200" cap="none" spc="0" normalizeH="0" noProof="0" dirty="0">
                    <a:ln>
                      <a:noFill/>
                    </a:ln>
                    <a:solidFill>
                      <a:srgbClr val="000000"/>
                    </a:solidFill>
                    <a:effectLst/>
                    <a:uLnTx/>
                    <a:uFillTx/>
                    <a:latin typeface="Calibri"/>
                    <a:ea typeface="+mn-ea"/>
                    <a:cs typeface="+mn-cs"/>
                  </a:rPr>
                  <a:t>на фоне </a:t>
                </a:r>
              </a:p>
              <a:p>
                <a:pPr marL="0" marR="0" lvl="0" indent="0" algn="ctr" defTabSz="609507" rtl="0" eaLnBrk="1" fontAlgn="auto" latinLnBrk="0" hangingPunct="1">
                  <a:lnSpc>
                    <a:spcPct val="100000"/>
                  </a:lnSpc>
                  <a:spcBef>
                    <a:spcPts val="0"/>
                  </a:spcBef>
                  <a:spcAft>
                    <a:spcPts val="0"/>
                  </a:spcAft>
                  <a:buClrTx/>
                  <a:buSzTx/>
                  <a:buFontTx/>
                  <a:buNone/>
                  <a:tabLst/>
                  <a:defRPr/>
                </a:pPr>
                <a:r>
                  <a:rPr lang="ru" sz="1400" b="1" i="0" u="none" strike="noStrike" kern="1200" cap="none" spc="0" normalizeH="0" noProof="0" dirty="0">
                    <a:ln>
                      <a:noFill/>
                    </a:ln>
                    <a:solidFill>
                      <a:srgbClr val="000000"/>
                    </a:solidFill>
                    <a:effectLst/>
                    <a:uLnTx/>
                    <a:uFillTx/>
                    <a:latin typeface="Calibri"/>
                    <a:ea typeface="+mn-ea"/>
                    <a:cs typeface="+mn-cs"/>
                  </a:rPr>
                  <a:t>терапии НГП</a:t>
                </a:r>
                <a:endParaRPr kumimoji="0" lang="en-GB" sz="1400" b="1" i="0" u="none" strike="noStrike" kern="1200" cap="none" spc="0" normalizeH="0" baseline="30000" noProof="0" dirty="0">
                  <a:ln>
                    <a:noFill/>
                  </a:ln>
                  <a:solidFill>
                    <a:srgbClr val="000000"/>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56FA90D2-0101-4BA8-9D7C-A33CE4A0E3EF}"/>
                  </a:ext>
                </a:extLst>
              </p:cNvPr>
              <p:cNvSpPr txBox="1"/>
              <p:nvPr/>
            </p:nvSpPr>
            <p:spPr>
              <a:xfrm>
                <a:off x="6090902" y="3846366"/>
                <a:ext cx="1712804" cy="605357"/>
              </a:xfrm>
              <a:prstGeom prst="round2DiagRect">
                <a:avLst/>
              </a:prstGeom>
              <a:solidFill>
                <a:schemeClr val="accent3"/>
              </a:solidFill>
              <a:ln w="28575">
                <a:solidFill>
                  <a:schemeClr val="accent1"/>
                </a:solidFill>
              </a:ln>
            </p:spPr>
            <p:txBody>
              <a:bodyPr wrap="square" lIns="121915" tIns="60957" rIns="121915" bIns="60957" rtlCol="0" anchor="ctr">
                <a:spAutoFit/>
              </a:bodyPr>
              <a:lstStyle>
                <a:defPPr>
                  <a:defRPr lang="en-US"/>
                </a:defPPr>
                <a:lvl1pPr marR="0" lvl="0" indent="0" algn="ctr" defTabSz="609555" fontAlgn="auto">
                  <a:lnSpc>
                    <a:spcPct val="100000"/>
                  </a:lnSpc>
                  <a:spcBef>
                    <a:spcPts val="0"/>
                  </a:spcBef>
                  <a:spcAft>
                    <a:spcPts val="0"/>
                  </a:spcAft>
                  <a:buClrTx/>
                  <a:buSzTx/>
                  <a:buFontTx/>
                  <a:buNone/>
                  <a:tabLst/>
                  <a:defRPr kumimoji="0" sz="1200" b="0" i="0" u="none" strike="noStrike" cap="none" spc="0" normalizeH="0" baseline="0">
                    <a:ln>
                      <a:noFill/>
                    </a:ln>
                    <a:solidFill>
                      <a:schemeClr val="bg1"/>
                    </a:solidFill>
                    <a:effectLst/>
                    <a:uLnTx/>
                    <a:uFillTx/>
                    <a:latin typeface="Arial"/>
                  </a:defRPr>
                </a:lvl1pPr>
              </a:lstStyle>
              <a:p>
                <a:pPr marL="0" marR="0" lvl="0" indent="0" algn="ctr" defTabSz="609507" rtl="0" eaLnBrk="1" fontAlgn="auto" latinLnBrk="0" hangingPunct="1">
                  <a:lnSpc>
                    <a:spcPct val="100000"/>
                  </a:lnSpc>
                  <a:spcBef>
                    <a:spcPts val="0"/>
                  </a:spcBef>
                  <a:spcAft>
                    <a:spcPts val="0"/>
                  </a:spcAft>
                  <a:buClrTx/>
                  <a:buSzTx/>
                  <a:buFontTx/>
                  <a:buNone/>
                  <a:tabLst/>
                  <a:defRPr/>
                </a:pPr>
                <a:r>
                  <a:rPr lang="ru-RU" sz="1400" b="1" dirty="0" err="1">
                    <a:solidFill>
                      <a:schemeClr val="tx2"/>
                    </a:solidFill>
                  </a:rPr>
                  <a:t>Линпарза</a:t>
                </a:r>
                <a:r>
                  <a:rPr lang="ru-RU" sz="1400" b="1" baseline="30000" dirty="0">
                    <a:solidFill>
                      <a:schemeClr val="tx2"/>
                    </a:solidFill>
                  </a:rPr>
                  <a:t>®</a:t>
                </a:r>
                <a:r>
                  <a:rPr lang="ru" sz="1400" b="1" i="0" u="none" strike="noStrike" kern="1200" cap="none" spc="0" normalizeH="0" noProof="0" dirty="0">
                    <a:ln>
                      <a:noFill/>
                    </a:ln>
                    <a:solidFill>
                      <a:schemeClr val="tx2"/>
                    </a:solidFill>
                    <a:effectLst/>
                    <a:uLnTx/>
                    <a:uFillTx/>
                    <a:latin typeface="Calibri"/>
                    <a:ea typeface="+mn-ea"/>
                    <a:cs typeface="+mn-cs"/>
                  </a:rPr>
                  <a:t> в комбинации с абиратероном</a:t>
                </a:r>
              </a:p>
            </p:txBody>
          </p:sp>
          <p:sp>
            <p:nvSpPr>
              <p:cNvPr id="16" name="TextBox 15">
                <a:extLst>
                  <a:ext uri="{FF2B5EF4-FFF2-40B4-BE49-F238E27FC236}">
                    <a16:creationId xmlns:a16="http://schemas.microsoft.com/office/drawing/2014/main" id="{BF88A233-9C1D-434E-8518-D50ABF341A05}"/>
                  </a:ext>
                </a:extLst>
              </p:cNvPr>
              <p:cNvSpPr txBox="1"/>
              <p:nvPr/>
            </p:nvSpPr>
            <p:spPr>
              <a:xfrm>
                <a:off x="4802508" y="2232862"/>
                <a:ext cx="1116851" cy="547150"/>
              </a:xfrm>
              <a:prstGeom prst="rect">
                <a:avLst/>
              </a:prstGeom>
              <a:noFill/>
              <a:ln w="28575">
                <a:solidFill>
                  <a:schemeClr val="accent1"/>
                </a:solidFill>
              </a:ln>
            </p:spPr>
            <p:txBody>
              <a:bodyPr wrap="square" lIns="121915" tIns="60957" rIns="121915" bIns="60957" rtlCol="0">
                <a:spAutoFit/>
              </a:bodyPr>
              <a:lstStyle/>
              <a:p>
                <a:pPr marL="0" marR="0" lvl="0" indent="0" algn="ctr" defTabSz="609507" rtl="0" eaLnBrk="1" fontAlgn="auto" latinLnBrk="0" hangingPunct="1">
                  <a:lnSpc>
                    <a:spcPct val="100000"/>
                  </a:lnSpc>
                  <a:spcBef>
                    <a:spcPts val="0"/>
                  </a:spcBef>
                  <a:spcAft>
                    <a:spcPts val="0"/>
                  </a:spcAft>
                  <a:buClrTx/>
                  <a:buSzTx/>
                  <a:buFontTx/>
                  <a:buNone/>
                  <a:tabLst/>
                  <a:defRPr/>
                </a:pPr>
                <a:r>
                  <a:rPr lang="ru" sz="1400" b="0" i="0" u="none" strike="noStrike" kern="1200" cap="none" spc="0" normalizeH="0" noProof="0" dirty="0">
                    <a:ln>
                      <a:noFill/>
                    </a:ln>
                    <a:solidFill>
                      <a:srgbClr val="000000"/>
                    </a:solidFill>
                    <a:effectLst/>
                    <a:uLnTx/>
                    <a:uFillTx/>
                    <a:latin typeface="Calibri"/>
                    <a:ea typeface="+mn-ea"/>
                    <a:cs typeface="+mn-cs"/>
                  </a:rPr>
                  <a:t>Мутации в генах HRR</a:t>
                </a:r>
              </a:p>
            </p:txBody>
          </p:sp>
          <p:sp>
            <p:nvSpPr>
              <p:cNvPr id="17" name="TextBox 16">
                <a:extLst>
                  <a:ext uri="{FF2B5EF4-FFF2-40B4-BE49-F238E27FC236}">
                    <a16:creationId xmlns:a16="http://schemas.microsoft.com/office/drawing/2014/main" id="{7D11A595-303A-4C7B-B9E4-99F89CDC1B27}"/>
                  </a:ext>
                </a:extLst>
              </p:cNvPr>
              <p:cNvSpPr txBox="1"/>
              <p:nvPr/>
            </p:nvSpPr>
            <p:spPr>
              <a:xfrm>
                <a:off x="4785289" y="2978608"/>
                <a:ext cx="1131326" cy="547150"/>
              </a:xfrm>
              <a:prstGeom prst="rect">
                <a:avLst/>
              </a:prstGeom>
              <a:noFill/>
              <a:ln w="28575">
                <a:solidFill>
                  <a:schemeClr val="accent1"/>
                </a:solidFill>
              </a:ln>
            </p:spPr>
            <p:txBody>
              <a:bodyPr wrap="square" lIns="121915" tIns="60957" rIns="121915" bIns="60957" rtlCol="0">
                <a:spAutoFit/>
              </a:bodyPr>
              <a:lstStyle/>
              <a:p>
                <a:pPr marL="0" marR="0" lvl="0" indent="0" algn="ctr" defTabSz="609507" rtl="0" eaLnBrk="1" fontAlgn="auto" latinLnBrk="0" hangingPunct="1">
                  <a:lnSpc>
                    <a:spcPct val="100000"/>
                  </a:lnSpc>
                  <a:spcBef>
                    <a:spcPts val="0"/>
                  </a:spcBef>
                  <a:spcAft>
                    <a:spcPts val="0"/>
                  </a:spcAft>
                  <a:buClrTx/>
                  <a:buSzTx/>
                  <a:buFontTx/>
                  <a:buNone/>
                  <a:tabLst/>
                  <a:defRPr/>
                </a:pPr>
                <a:r>
                  <a:rPr lang="ru" sz="1400" b="1" i="0" u="none" strike="noStrike" kern="1200" cap="none" spc="0" normalizeH="0" noProof="0" dirty="0">
                    <a:ln>
                      <a:noFill/>
                    </a:ln>
                    <a:solidFill>
                      <a:srgbClr val="000000"/>
                    </a:solidFill>
                    <a:effectLst/>
                    <a:uLnTx/>
                    <a:uFillTx/>
                    <a:latin typeface="Calibri"/>
                    <a:ea typeface="+mn-ea"/>
                    <a:cs typeface="+mn-cs"/>
                  </a:rPr>
                  <a:t>Нет </a:t>
                </a:r>
                <a:r>
                  <a:rPr lang="ru" sz="1400" b="0" i="0" u="none" strike="noStrike" kern="1200" cap="none" spc="0" normalizeH="0" noProof="0" dirty="0">
                    <a:ln>
                      <a:noFill/>
                    </a:ln>
                    <a:solidFill>
                      <a:srgbClr val="000000"/>
                    </a:solidFill>
                    <a:effectLst/>
                    <a:uLnTx/>
                    <a:uFillTx/>
                    <a:latin typeface="Calibri"/>
                    <a:ea typeface="+mn-ea"/>
                    <a:cs typeface="+mn-cs"/>
                  </a:rPr>
                  <a:t>мутаций в генах HRR </a:t>
                </a:r>
                <a:endParaRPr kumimoji="0" lang="en-GB" sz="1400" b="0" i="0" u="none" strike="noStrike" kern="1200" cap="none" spc="0" normalizeH="0" baseline="0" noProof="0" dirty="0">
                  <a:ln>
                    <a:noFill/>
                  </a:ln>
                  <a:solidFill>
                    <a:srgbClr val="000000"/>
                  </a:solidFill>
                  <a:effectLst/>
                  <a:uLnTx/>
                  <a:uFillTx/>
                  <a:latin typeface="Calibri"/>
                  <a:ea typeface="+mn-ea"/>
                  <a:cs typeface="+mn-cs"/>
                </a:endParaRPr>
              </a:p>
            </p:txBody>
          </p:sp>
          <p:cxnSp>
            <p:nvCxnSpPr>
              <p:cNvPr id="18" name="Straight Arrow Connector 17">
                <a:extLst>
                  <a:ext uri="{FF2B5EF4-FFF2-40B4-BE49-F238E27FC236}">
                    <a16:creationId xmlns:a16="http://schemas.microsoft.com/office/drawing/2014/main" id="{B0323E4D-1C14-49EE-8FC0-D59500ABF0A4}"/>
                  </a:ext>
                </a:extLst>
              </p:cNvPr>
              <p:cNvCxnSpPr>
                <a:cxnSpLocks/>
                <a:stCxn id="13" idx="0"/>
                <a:endCxn id="33" idx="2"/>
              </p:cNvCxnSpPr>
              <p:nvPr/>
            </p:nvCxnSpPr>
            <p:spPr>
              <a:xfrm>
                <a:off x="7799738" y="5838290"/>
                <a:ext cx="935189" cy="1803"/>
              </a:xfrm>
              <a:prstGeom prst="straightConnector1">
                <a:avLst/>
              </a:prstGeom>
              <a:ln w="28575">
                <a:solidFill>
                  <a:schemeClr val="accent1"/>
                </a:solidFill>
                <a:prstDash val="sysDot"/>
                <a:tailEnd type="triangle"/>
              </a:ln>
              <a:effectLst/>
            </p:spPr>
            <p:style>
              <a:lnRef idx="2">
                <a:schemeClr val="accent1"/>
              </a:lnRef>
              <a:fillRef idx="0">
                <a:schemeClr val="accent1"/>
              </a:fillRef>
              <a:effectRef idx="1">
                <a:schemeClr val="accent1"/>
              </a:effectRef>
              <a:fontRef idx="minor">
                <a:schemeClr val="tx1"/>
              </a:fontRef>
            </p:style>
          </p:cxnSp>
          <p:sp>
            <p:nvSpPr>
              <p:cNvPr id="21" name="Rectangle: Diagonal Corners Rounded 20">
                <a:extLst>
                  <a:ext uri="{FF2B5EF4-FFF2-40B4-BE49-F238E27FC236}">
                    <a16:creationId xmlns:a16="http://schemas.microsoft.com/office/drawing/2014/main" id="{3C0096E8-7F62-4372-AFB5-ACD96F9C7FC7}"/>
                  </a:ext>
                </a:extLst>
              </p:cNvPr>
              <p:cNvSpPr/>
              <p:nvPr/>
            </p:nvSpPr>
            <p:spPr bwMode="auto">
              <a:xfrm>
                <a:off x="2251179" y="1633547"/>
                <a:ext cx="2356425" cy="434588"/>
              </a:xfrm>
              <a:prstGeom prst="round2DiagRect">
                <a:avLst/>
              </a:prstGeom>
              <a:solidFill>
                <a:schemeClr val="accent1">
                  <a:lumMod val="60000"/>
                  <a:lumOff val="40000"/>
                </a:schemeClr>
              </a:solidFill>
              <a:ln w="9525" cap="flat" cmpd="sng" algn="ctr">
                <a:solidFill>
                  <a:schemeClr val="accent1"/>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609507" rtl="0" eaLnBrk="1" fontAlgn="auto" latinLnBrk="0" hangingPunct="1">
                  <a:lnSpc>
                    <a:spcPct val="100000"/>
                  </a:lnSpc>
                  <a:spcBef>
                    <a:spcPts val="0"/>
                  </a:spcBef>
                  <a:spcAft>
                    <a:spcPts val="0"/>
                  </a:spcAft>
                  <a:buClrTx/>
                  <a:buSzTx/>
                  <a:buFontTx/>
                  <a:buNone/>
                  <a:tabLst/>
                  <a:defRPr/>
                </a:pPr>
                <a:r>
                  <a:rPr lang="ru" sz="1400" b="1" i="1" u="none" strike="noStrike" kern="1200" cap="none" spc="0" normalizeH="0" noProof="0" dirty="0">
                    <a:ln>
                      <a:noFill/>
                    </a:ln>
                    <a:solidFill>
                      <a:srgbClr val="FFFFFF"/>
                    </a:solidFill>
                    <a:effectLst/>
                    <a:uLnTx/>
                    <a:uFillTx/>
                    <a:latin typeface="Calibri"/>
                    <a:ea typeface="+mn-ea"/>
                    <a:cs typeface="+mn-cs"/>
                  </a:rPr>
                  <a:t>мГЧРПЖ и нмКРРПЖ</a:t>
                </a:r>
              </a:p>
            </p:txBody>
          </p:sp>
          <p:cxnSp>
            <p:nvCxnSpPr>
              <p:cNvPr id="22" name="Straight Connector 21">
                <a:extLst>
                  <a:ext uri="{FF2B5EF4-FFF2-40B4-BE49-F238E27FC236}">
                    <a16:creationId xmlns:a16="http://schemas.microsoft.com/office/drawing/2014/main" id="{696A7891-8559-413B-A757-2B1742E8EB5A}"/>
                  </a:ext>
                </a:extLst>
              </p:cNvPr>
              <p:cNvCxnSpPr>
                <a:cxnSpLocks/>
              </p:cNvCxnSpPr>
              <p:nvPr/>
            </p:nvCxnSpPr>
            <p:spPr>
              <a:xfrm>
                <a:off x="7885006" y="2068135"/>
                <a:ext cx="0" cy="4038321"/>
              </a:xfrm>
              <a:prstGeom prst="line">
                <a:avLst/>
              </a:prstGeom>
              <a:ln w="57150">
                <a:solidFill>
                  <a:schemeClr val="accent1"/>
                </a:solidFill>
                <a:prstDash val="sysDash"/>
              </a:ln>
              <a:effectLst/>
            </p:spPr>
            <p:style>
              <a:lnRef idx="2">
                <a:schemeClr val="accent1"/>
              </a:lnRef>
              <a:fillRef idx="0">
                <a:schemeClr val="accent1"/>
              </a:fillRef>
              <a:effectRef idx="1">
                <a:schemeClr val="accent1"/>
              </a:effectRef>
              <a:fontRef idx="minor">
                <a:schemeClr val="tx1"/>
              </a:fontRef>
            </p:style>
          </p:cxnSp>
          <p:sp>
            <p:nvSpPr>
              <p:cNvPr id="23" name="Rectangle: Diagonal Corners Rounded 22">
                <a:extLst>
                  <a:ext uri="{FF2B5EF4-FFF2-40B4-BE49-F238E27FC236}">
                    <a16:creationId xmlns:a16="http://schemas.microsoft.com/office/drawing/2014/main" id="{51A53AAE-F260-4D88-BEDA-537701979586}"/>
                  </a:ext>
                </a:extLst>
              </p:cNvPr>
              <p:cNvSpPr/>
              <p:nvPr/>
            </p:nvSpPr>
            <p:spPr bwMode="auto">
              <a:xfrm>
                <a:off x="4758553" y="1633547"/>
                <a:ext cx="4823505" cy="434588"/>
              </a:xfrm>
              <a:prstGeom prst="round2DiagRect">
                <a:avLst/>
              </a:prstGeom>
              <a:solidFill>
                <a:schemeClr val="accent1">
                  <a:lumMod val="60000"/>
                  <a:lumOff val="40000"/>
                </a:schemeClr>
              </a:solidFill>
              <a:ln w="9525" cap="flat" cmpd="sng" algn="ctr">
                <a:solidFill>
                  <a:schemeClr val="accent1"/>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609507" rtl="0" eaLnBrk="1" fontAlgn="auto" latinLnBrk="0" hangingPunct="1">
                  <a:lnSpc>
                    <a:spcPct val="100000"/>
                  </a:lnSpc>
                  <a:spcBef>
                    <a:spcPts val="0"/>
                  </a:spcBef>
                  <a:spcAft>
                    <a:spcPts val="0"/>
                  </a:spcAft>
                  <a:buClrTx/>
                  <a:buSzTx/>
                  <a:buFontTx/>
                  <a:buNone/>
                  <a:tabLst/>
                  <a:defRPr/>
                </a:pPr>
                <a:r>
                  <a:rPr lang="ru" sz="1400" b="1" i="1" u="none" strike="noStrike" kern="1200" cap="none" spc="0" normalizeH="0" noProof="0">
                    <a:ln>
                      <a:noFill/>
                    </a:ln>
                    <a:solidFill>
                      <a:srgbClr val="FFFFFF"/>
                    </a:solidFill>
                    <a:effectLst/>
                    <a:uLnTx/>
                    <a:uFillTx/>
                    <a:latin typeface="Calibri"/>
                    <a:ea typeface="+mn-ea"/>
                    <a:cs typeface="+mn-cs"/>
                  </a:rPr>
                  <a:t>мКРРПЖ</a:t>
                </a:r>
              </a:p>
            </p:txBody>
          </p:sp>
        </p:grpSp>
        <p:cxnSp>
          <p:nvCxnSpPr>
            <p:cNvPr id="24" name="Elbow Connector 5">
              <a:extLst>
                <a:ext uri="{FF2B5EF4-FFF2-40B4-BE49-F238E27FC236}">
                  <a16:creationId xmlns:a16="http://schemas.microsoft.com/office/drawing/2014/main" id="{4BB8AEB4-F22A-4D17-9DD2-130240FD35F5}"/>
                </a:ext>
              </a:extLst>
            </p:cNvPr>
            <p:cNvCxnSpPr>
              <a:cxnSpLocks/>
              <a:stCxn id="15" idx="2"/>
              <a:endCxn id="13" idx="2"/>
            </p:cNvCxnSpPr>
            <p:nvPr/>
          </p:nvCxnSpPr>
          <p:spPr>
            <a:xfrm rot="10800000" flipV="1">
              <a:off x="6398376" y="3890313"/>
              <a:ext cx="5288" cy="1512266"/>
            </a:xfrm>
            <a:prstGeom prst="bentConnector3">
              <a:avLst>
                <a:gd name="adj1" fmla="val 3922103"/>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7A1AF77E-6F96-4A27-B22E-E2076D241C57}"/>
                </a:ext>
              </a:extLst>
            </p:cNvPr>
            <p:cNvCxnSpPr>
              <a:cxnSpLocks/>
              <a:stCxn id="11" idx="0"/>
              <a:endCxn id="12" idx="2"/>
            </p:cNvCxnSpPr>
            <p:nvPr/>
          </p:nvCxnSpPr>
          <p:spPr>
            <a:xfrm flipV="1">
              <a:off x="4021715" y="4711493"/>
              <a:ext cx="2377715" cy="42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16">
              <a:extLst>
                <a:ext uri="{FF2B5EF4-FFF2-40B4-BE49-F238E27FC236}">
                  <a16:creationId xmlns:a16="http://schemas.microsoft.com/office/drawing/2014/main" id="{1C178424-4316-4BCC-8E5E-DD3AF986EB85}"/>
                </a:ext>
              </a:extLst>
            </p:cNvPr>
            <p:cNvCxnSpPr>
              <a:cxnSpLocks/>
            </p:cNvCxnSpPr>
            <p:nvPr/>
          </p:nvCxnSpPr>
          <p:spPr>
            <a:xfrm rot="10800000" flipV="1">
              <a:off x="4658296" y="2485794"/>
              <a:ext cx="2" cy="602890"/>
            </a:xfrm>
            <a:prstGeom prst="bentConnector3">
              <a:avLst>
                <a:gd name="adj1" fmla="val 11430100000"/>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F38CF5B-3C6A-465E-BF85-8A6960B621FA}"/>
                </a:ext>
              </a:extLst>
            </p:cNvPr>
            <p:cNvCxnSpPr>
              <a:cxnSpLocks/>
              <a:stCxn id="7" idx="0"/>
            </p:cNvCxnSpPr>
            <p:nvPr/>
          </p:nvCxnSpPr>
          <p:spPr>
            <a:xfrm flipV="1">
              <a:off x="3979457" y="2759170"/>
              <a:ext cx="448520" cy="734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847829C6-7F9B-4936-88BA-E7A81E084F0C}"/>
              </a:ext>
            </a:extLst>
          </p:cNvPr>
          <p:cNvSpPr txBox="1"/>
          <p:nvPr/>
        </p:nvSpPr>
        <p:spPr>
          <a:xfrm>
            <a:off x="10356857" y="5398991"/>
            <a:ext cx="1484650" cy="615547"/>
          </a:xfrm>
          <a:prstGeom prst="round2DiagRect">
            <a:avLst/>
          </a:prstGeom>
          <a:solidFill>
            <a:schemeClr val="tx2"/>
          </a:solidFill>
          <a:ln w="28575">
            <a:noFill/>
          </a:ln>
        </p:spPr>
        <p:txBody>
          <a:bodyPr wrap="square" lIns="121915" tIns="60957" rIns="121915" bIns="60957" rtlCol="0" anchor="ctr">
            <a:noAutofit/>
          </a:bodyPr>
          <a:lstStyle>
            <a:defPPr>
              <a:defRPr lang="en-US"/>
            </a:defPPr>
            <a:lvl1pPr marR="0" lvl="0" indent="0" algn="ctr" defTabSz="609555" fontAlgn="auto">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LnTx/>
                <a:uFillTx/>
                <a:latin typeface="Arial"/>
              </a:defRPr>
            </a:lvl1pPr>
          </a:lstStyle>
          <a:p>
            <a:pPr defTabSz="609507">
              <a:defRPr/>
            </a:pPr>
            <a:r>
              <a:rPr lang="ru" sz="1400" b="1" dirty="0">
                <a:solidFill>
                  <a:srgbClr val="FFFFFF"/>
                </a:solidFill>
                <a:latin typeface="Calibri"/>
              </a:rPr>
              <a:t>Монотерапия </a:t>
            </a:r>
            <a:r>
              <a:rPr lang="ru-RU" sz="1400" b="1" dirty="0" err="1">
                <a:solidFill>
                  <a:schemeClr val="bg1"/>
                </a:solidFill>
              </a:rPr>
              <a:t>Линпарза</a:t>
            </a:r>
            <a:r>
              <a:rPr lang="ru-RU" sz="1400" b="1" baseline="30000" dirty="0">
                <a:solidFill>
                  <a:schemeClr val="bg1"/>
                </a:solidFill>
              </a:rPr>
              <a:t>®</a:t>
            </a:r>
            <a:endParaRPr lang="ru" sz="1400" b="1" dirty="0">
              <a:solidFill>
                <a:srgbClr val="FFFFFF"/>
              </a:solidFill>
              <a:latin typeface="Calibri"/>
            </a:endParaRPr>
          </a:p>
        </p:txBody>
      </p:sp>
      <p:sp>
        <p:nvSpPr>
          <p:cNvPr id="29" name="TextBox 28">
            <a:extLst>
              <a:ext uri="{FF2B5EF4-FFF2-40B4-BE49-F238E27FC236}">
                <a16:creationId xmlns:a16="http://schemas.microsoft.com/office/drawing/2014/main" id="{7C91ADC2-77FA-471A-A0D8-231BC5359F27}"/>
              </a:ext>
            </a:extLst>
          </p:cNvPr>
          <p:cNvSpPr txBox="1"/>
          <p:nvPr/>
        </p:nvSpPr>
        <p:spPr>
          <a:xfrm>
            <a:off x="9135907" y="5422467"/>
            <a:ext cx="1075586" cy="553992"/>
          </a:xfrm>
          <a:prstGeom prst="rect">
            <a:avLst/>
          </a:prstGeom>
          <a:solidFill>
            <a:schemeClr val="bg1"/>
          </a:solidFill>
          <a:ln w="28575">
            <a:solidFill>
              <a:schemeClr val="accent1"/>
            </a:solidFill>
          </a:ln>
        </p:spPr>
        <p:txBody>
          <a:bodyPr wrap="square" lIns="121915" tIns="60957" rIns="121915" bIns="60957" rtlCol="0">
            <a:spAutoFit/>
          </a:bodyPr>
          <a:lstStyle/>
          <a:p>
            <a:pPr marL="0" marR="0" lvl="0" indent="0" algn="ctr" defTabSz="609507" rtl="0" eaLnBrk="1" fontAlgn="auto" latinLnBrk="0" hangingPunct="1">
              <a:lnSpc>
                <a:spcPct val="100000"/>
              </a:lnSpc>
              <a:spcBef>
                <a:spcPts val="0"/>
              </a:spcBef>
              <a:spcAft>
                <a:spcPts val="0"/>
              </a:spcAft>
              <a:buClrTx/>
              <a:buSzTx/>
              <a:buFontTx/>
              <a:buNone/>
              <a:tabLst/>
              <a:defRPr/>
            </a:pPr>
            <a:r>
              <a:rPr lang="ru" sz="1400" b="0" i="0" u="none" strike="noStrike" kern="1200" cap="none" spc="0" normalizeH="0" noProof="0" dirty="0">
                <a:ln>
                  <a:noFill/>
                </a:ln>
                <a:solidFill>
                  <a:srgbClr val="000000"/>
                </a:solidFill>
                <a:effectLst/>
                <a:uLnTx/>
                <a:uFillTx/>
                <a:latin typeface="Calibri"/>
                <a:ea typeface="+mn-ea"/>
                <a:cs typeface="+mn-cs"/>
              </a:rPr>
              <a:t>Мутации в генах HRR</a:t>
            </a:r>
          </a:p>
        </p:txBody>
      </p:sp>
      <p:cxnSp>
        <p:nvCxnSpPr>
          <p:cNvPr id="40" name="Straight Arrow Connector 39">
            <a:extLst>
              <a:ext uri="{FF2B5EF4-FFF2-40B4-BE49-F238E27FC236}">
                <a16:creationId xmlns:a16="http://schemas.microsoft.com/office/drawing/2014/main" id="{968E13E9-9FAF-46CA-BBE9-97603BEC0D64}"/>
              </a:ext>
            </a:extLst>
          </p:cNvPr>
          <p:cNvCxnSpPr>
            <a:cxnSpLocks/>
          </p:cNvCxnSpPr>
          <p:nvPr/>
        </p:nvCxnSpPr>
        <p:spPr>
          <a:xfrm flipV="1">
            <a:off x="6085018" y="3049215"/>
            <a:ext cx="261080" cy="17929"/>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757E79EA-F7FA-4901-B103-411D6B65DF19}"/>
              </a:ext>
            </a:extLst>
          </p:cNvPr>
          <p:cNvSpPr txBox="1"/>
          <p:nvPr/>
        </p:nvSpPr>
        <p:spPr>
          <a:xfrm>
            <a:off x="9199575" y="3650039"/>
            <a:ext cx="2576919" cy="612927"/>
          </a:xfrm>
          <a:prstGeom prst="round2DiagRect">
            <a:avLst/>
          </a:prstGeom>
          <a:solidFill>
            <a:schemeClr val="bg2">
              <a:lumMod val="20000"/>
              <a:lumOff val="80000"/>
            </a:schemeClr>
          </a:solidFill>
          <a:ln>
            <a:noFill/>
          </a:ln>
        </p:spPr>
        <p:txBody>
          <a:bodyPr wrap="square" lIns="121915" tIns="60957" rIns="121915" bIns="60957" rtlCol="0">
            <a:spAutoFit/>
          </a:bodyPr>
          <a:lstStyle>
            <a:defPPr>
              <a:defRPr lang="en-US"/>
            </a:defPPr>
            <a:lvl1pPr algn="ctr" defTabSz="609555">
              <a:defRPr sz="1200">
                <a:solidFill>
                  <a:srgbClr val="000000"/>
                </a:solidFill>
                <a:latin typeface="Arial"/>
              </a:defRPr>
            </a:lvl1pPr>
          </a:lstStyle>
          <a:p>
            <a:pPr marL="0" marR="0" lvl="0" indent="0" algn="ctr" defTabSz="609507" rtl="0" eaLnBrk="1" fontAlgn="auto" latinLnBrk="0" hangingPunct="1">
              <a:lnSpc>
                <a:spcPct val="100000"/>
              </a:lnSpc>
              <a:spcBef>
                <a:spcPts val="0"/>
              </a:spcBef>
              <a:spcAft>
                <a:spcPts val="0"/>
              </a:spcAft>
              <a:buClrTx/>
              <a:buSzTx/>
              <a:buFontTx/>
              <a:buNone/>
              <a:tabLst/>
              <a:defRPr/>
            </a:pPr>
            <a:r>
              <a:rPr lang="ru" sz="1400" dirty="0">
                <a:latin typeface="Calibri"/>
              </a:rPr>
              <a:t>НГП/д</a:t>
            </a:r>
            <a:r>
              <a:rPr lang="ru" sz="1400" b="0" i="0" u="none" strike="noStrike" kern="1200" cap="none" spc="0" normalizeH="0" noProof="0" dirty="0">
                <a:ln>
                  <a:noFill/>
                </a:ln>
                <a:solidFill>
                  <a:srgbClr val="000000"/>
                </a:solidFill>
                <a:effectLst/>
                <a:uLnTx/>
                <a:uFillTx/>
                <a:latin typeface="Calibri"/>
                <a:ea typeface="+mn-ea"/>
                <a:cs typeface="+mn-cs"/>
              </a:rPr>
              <a:t>оцетаксел / прочие препараты</a:t>
            </a:r>
          </a:p>
        </p:txBody>
      </p:sp>
      <p:sp>
        <p:nvSpPr>
          <p:cNvPr id="43" name="TextBox 42">
            <a:extLst>
              <a:ext uri="{FF2B5EF4-FFF2-40B4-BE49-F238E27FC236}">
                <a16:creationId xmlns:a16="http://schemas.microsoft.com/office/drawing/2014/main" id="{5CB79CBF-7AFE-4607-BE88-51C825E5F9D9}"/>
              </a:ext>
            </a:extLst>
          </p:cNvPr>
          <p:cNvSpPr txBox="1"/>
          <p:nvPr/>
        </p:nvSpPr>
        <p:spPr>
          <a:xfrm>
            <a:off x="9179439" y="2013083"/>
            <a:ext cx="2576919" cy="612927"/>
          </a:xfrm>
          <a:prstGeom prst="round2DiagRect">
            <a:avLst/>
          </a:prstGeom>
          <a:solidFill>
            <a:schemeClr val="bg2">
              <a:lumMod val="20000"/>
              <a:lumOff val="80000"/>
            </a:schemeClr>
          </a:solidFill>
          <a:ln>
            <a:noFill/>
          </a:ln>
        </p:spPr>
        <p:txBody>
          <a:bodyPr wrap="square" lIns="121915" tIns="60957" rIns="121915" bIns="60957" rtlCol="0">
            <a:spAutoFit/>
          </a:bodyPr>
          <a:lstStyle>
            <a:defPPr>
              <a:defRPr lang="en-US"/>
            </a:defPPr>
            <a:lvl1pPr algn="ctr" defTabSz="609555">
              <a:defRPr sz="1200">
                <a:solidFill>
                  <a:srgbClr val="000000"/>
                </a:solidFill>
                <a:latin typeface="Arial"/>
              </a:defRPr>
            </a:lvl1pPr>
          </a:lstStyle>
          <a:p>
            <a:pPr marL="0" marR="0" lvl="0" indent="0" algn="ctr" defTabSz="609507" rtl="0" eaLnBrk="1" fontAlgn="auto" latinLnBrk="0" hangingPunct="1">
              <a:lnSpc>
                <a:spcPct val="100000"/>
              </a:lnSpc>
              <a:spcBef>
                <a:spcPts val="0"/>
              </a:spcBef>
              <a:spcAft>
                <a:spcPts val="0"/>
              </a:spcAft>
              <a:buClrTx/>
              <a:buSzTx/>
              <a:buFontTx/>
              <a:buNone/>
              <a:tabLst/>
              <a:defRPr/>
            </a:pPr>
            <a:r>
              <a:rPr lang="ru" sz="1400" dirty="0">
                <a:latin typeface="Calibri"/>
              </a:rPr>
              <a:t>д</a:t>
            </a:r>
            <a:r>
              <a:rPr lang="ru" sz="1400" b="0" i="0" u="none" strike="noStrike" kern="1200" cap="none" spc="0" normalizeH="0" noProof="0" dirty="0">
                <a:ln>
                  <a:noFill/>
                </a:ln>
                <a:solidFill>
                  <a:srgbClr val="000000"/>
                </a:solidFill>
                <a:effectLst/>
                <a:uLnTx/>
                <a:uFillTx/>
                <a:latin typeface="Calibri"/>
                <a:ea typeface="+mn-ea"/>
                <a:cs typeface="+mn-cs"/>
              </a:rPr>
              <a:t>оцетаксел / прочие препараты</a:t>
            </a:r>
          </a:p>
        </p:txBody>
      </p:sp>
      <p:cxnSp>
        <p:nvCxnSpPr>
          <p:cNvPr id="44" name="Straight Arrow Connector 43">
            <a:extLst>
              <a:ext uri="{FF2B5EF4-FFF2-40B4-BE49-F238E27FC236}">
                <a16:creationId xmlns:a16="http://schemas.microsoft.com/office/drawing/2014/main" id="{461680B1-75B0-43A3-B2D3-D3F6A8D8BCD6}"/>
              </a:ext>
            </a:extLst>
          </p:cNvPr>
          <p:cNvCxnSpPr>
            <a:cxnSpLocks/>
          </p:cNvCxnSpPr>
          <p:nvPr/>
        </p:nvCxnSpPr>
        <p:spPr>
          <a:xfrm flipV="1">
            <a:off x="8935738" y="2310583"/>
            <a:ext cx="261080" cy="17929"/>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4CEA54C3-45F8-4161-881D-F13DD268FA8E}"/>
              </a:ext>
            </a:extLst>
          </p:cNvPr>
          <p:cNvCxnSpPr>
            <a:cxnSpLocks/>
          </p:cNvCxnSpPr>
          <p:nvPr/>
        </p:nvCxnSpPr>
        <p:spPr>
          <a:xfrm flipV="1">
            <a:off x="8983241" y="3975067"/>
            <a:ext cx="261080" cy="17929"/>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12187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99A3C04-6B6A-1C48-8C9D-395ABD787350}"/>
              </a:ext>
            </a:extLst>
          </p:cNvPr>
          <p:cNvSpPr>
            <a:spLocks noGrp="1"/>
          </p:cNvSpPr>
          <p:nvPr>
            <p:ph type="title"/>
          </p:nvPr>
        </p:nvSpPr>
        <p:spPr>
          <a:solidFill>
            <a:schemeClr val="tx2"/>
          </a:solidFill>
        </p:spPr>
        <p:txBody>
          <a:bodyPr bIns="2124000" rtlCol="0">
            <a:noAutofit/>
          </a:bodyPr>
          <a:lstStyle/>
          <a:p>
            <a:pPr rtl="0"/>
            <a:r>
              <a:rPr lang="ru" sz="4400" dirty="0"/>
              <a:t>Дополнительные слайды</a:t>
            </a:r>
            <a:br>
              <a:rPr lang="en-GB" sz="4400" dirty="0"/>
            </a:br>
            <a:endParaRPr lang="en-US" sz="4400" dirty="0"/>
          </a:p>
        </p:txBody>
      </p:sp>
    </p:spTree>
    <p:extLst>
      <p:ext uri="{BB962C8B-B14F-4D97-AF65-F5344CB8AC3E}">
        <p14:creationId xmlns:p14="http://schemas.microsoft.com/office/powerpoint/2010/main" val="29814348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13ADE-0706-F217-3A05-A7BB5F6B6492}"/>
              </a:ext>
            </a:extLst>
          </p:cNvPr>
          <p:cNvSpPr>
            <a:spLocks noGrp="1"/>
          </p:cNvSpPr>
          <p:nvPr>
            <p:ph type="title"/>
          </p:nvPr>
        </p:nvSpPr>
        <p:spPr>
          <a:xfrm>
            <a:off x="407985" y="268184"/>
            <a:ext cx="11376025" cy="864655"/>
          </a:xfrm>
        </p:spPr>
        <p:txBody>
          <a:bodyPr rtlCol="0"/>
          <a:lstStyle/>
          <a:p>
            <a:pPr rtl="0"/>
            <a:r>
              <a:rPr lang="ru-RU" dirty="0"/>
              <a:t>Пандемия COVID-19 не оказала существенного влияния на исследование PROpel, включая интерпретацию результатов</a:t>
            </a:r>
            <a:r>
              <a:rPr lang="ru-RU" baseline="30000" dirty="0"/>
              <a:t>1*</a:t>
            </a:r>
            <a:endParaRPr lang="en-GB" dirty="0"/>
          </a:p>
        </p:txBody>
      </p:sp>
      <p:sp>
        <p:nvSpPr>
          <p:cNvPr id="4" name="Text Placeholder 3">
            <a:extLst>
              <a:ext uri="{FF2B5EF4-FFF2-40B4-BE49-F238E27FC236}">
                <a16:creationId xmlns:a16="http://schemas.microsoft.com/office/drawing/2014/main" id="{C0E6A7C8-581F-9187-ED08-8BF044A8FACF}"/>
              </a:ext>
            </a:extLst>
          </p:cNvPr>
          <p:cNvSpPr>
            <a:spLocks noGrp="1"/>
          </p:cNvSpPr>
          <p:nvPr>
            <p:ph type="body" sz="quarter" idx="111"/>
          </p:nvPr>
        </p:nvSpPr>
        <p:spPr/>
        <p:txBody>
          <a:bodyPr rtlCol="0"/>
          <a:lstStyle/>
          <a:p>
            <a:pPr rtl="0">
              <a:lnSpc>
                <a:spcPct val="100000"/>
              </a:lnSpc>
              <a:spcBef>
                <a:spcPts val="600"/>
              </a:spcBef>
              <a:spcAft>
                <a:spcPts val="0"/>
              </a:spcAft>
            </a:pPr>
            <a:r>
              <a:rPr lang="ru-RU" sz="800" dirty="0"/>
              <a:t>*Учитывались факторы снижения риска заражения Covid-19, связанные с проведением исследований и ведением пациентов</a:t>
            </a:r>
            <a:r>
              <a:rPr lang="ru-RU" sz="800" baseline="30000" dirty="0"/>
              <a:t>2</a:t>
            </a:r>
            <a:br>
              <a:rPr lang="en-GB" dirty="0"/>
            </a:br>
            <a:r>
              <a:rPr lang="ru-RU" dirty="0"/>
              <a:t>**Процент пациентов с инфекцией COVID-19</a:t>
            </a:r>
          </a:p>
          <a:p>
            <a:pPr rtl="0">
              <a:lnSpc>
                <a:spcPct val="100000"/>
              </a:lnSpc>
              <a:spcBef>
                <a:spcPts val="600"/>
              </a:spcBef>
              <a:spcAft>
                <a:spcPts val="0"/>
              </a:spcAft>
            </a:pPr>
            <a:r>
              <a:rPr lang="ru-RU" dirty="0"/>
              <a:t>1. </a:t>
            </a:r>
            <a:r>
              <a:rPr lang="ru-RU" dirty="0" err="1"/>
              <a:t>Thiery</a:t>
            </a:r>
            <a:r>
              <a:rPr lang="ru-RU" dirty="0"/>
              <a:t>–</a:t>
            </a:r>
            <a:r>
              <a:rPr lang="ru-RU" dirty="0" err="1"/>
              <a:t>Vuillemin</a:t>
            </a:r>
            <a:r>
              <a:rPr lang="ru-RU" dirty="0"/>
              <a:t> A, </a:t>
            </a:r>
            <a:r>
              <a:rPr lang="ru-RU" dirty="0" err="1"/>
              <a:t>et</a:t>
            </a:r>
            <a:r>
              <a:rPr lang="ru-RU" dirty="0"/>
              <a:t> </a:t>
            </a:r>
            <a:r>
              <a:rPr lang="ru-RU" dirty="0" err="1"/>
              <a:t>al</a:t>
            </a:r>
            <a:r>
              <a:rPr lang="ru-RU" dirty="0"/>
              <a:t>. </a:t>
            </a:r>
            <a:r>
              <a:rPr lang="ru-RU" dirty="0">
                <a:latin typeface="Calibri" panose="020F0502020204030204" pitchFamily="34" charset="0"/>
                <a:cs typeface="Calibri" panose="020F0502020204030204" pitchFamily="34" charset="0"/>
              </a:rPr>
              <a:t>Представлено на ASCO 3–7 июня 2022 года, Чикаго, штат Иллинойс  </a:t>
            </a:r>
            <a:r>
              <a:rPr lang="ru-RU" dirty="0" err="1">
                <a:latin typeface="Calibri" panose="020F0502020204030204" pitchFamily="34" charset="0"/>
                <a:cs typeface="Calibri" panose="020F0502020204030204" pitchFamily="34" charset="0"/>
              </a:rPr>
              <a:t>Abstract</a:t>
            </a:r>
            <a:r>
              <a:rPr lang="ru-RU" dirty="0">
                <a:latin typeface="Calibri" panose="020F0502020204030204" pitchFamily="34" charset="0"/>
                <a:cs typeface="Calibri" panose="020F0502020204030204" pitchFamily="34" charset="0"/>
              </a:rPr>
              <a:t> 5019; 2. </a:t>
            </a:r>
            <a:r>
              <a:rPr lang="ru-RU" kern="0" dirty="0" err="1">
                <a:cs typeface="Arial" panose="020B0604020202020204" pitchFamily="34" charset="0"/>
              </a:rPr>
              <a:t>Clarke</a:t>
            </a:r>
            <a:r>
              <a:rPr lang="ru-RU" kern="0" dirty="0">
                <a:cs typeface="Arial" panose="020B0604020202020204" pitchFamily="34" charset="0"/>
              </a:rPr>
              <a:t> N, </a:t>
            </a:r>
            <a:r>
              <a:rPr lang="ru-RU" kern="0" dirty="0" err="1">
                <a:cs typeface="Arial" panose="020B0604020202020204" pitchFamily="34" charset="0"/>
              </a:rPr>
              <a:t>et</a:t>
            </a:r>
            <a:r>
              <a:rPr lang="ru-RU" kern="0" dirty="0">
                <a:cs typeface="Arial" panose="020B0604020202020204" pitchFamily="34" charset="0"/>
              </a:rPr>
              <a:t> </a:t>
            </a:r>
            <a:r>
              <a:rPr lang="ru-RU" kern="0" dirty="0" err="1">
                <a:cs typeface="Arial" panose="020B0604020202020204" pitchFamily="34" charset="0"/>
              </a:rPr>
              <a:t>al</a:t>
            </a:r>
            <a:r>
              <a:rPr lang="ru-RU" kern="0" dirty="0">
                <a:cs typeface="Arial" panose="020B0604020202020204" pitchFamily="34" charset="0"/>
              </a:rPr>
              <a:t>.</a:t>
            </a:r>
            <a:r>
              <a:rPr lang="ru-RU" dirty="0"/>
              <a:t> </a:t>
            </a:r>
            <a:r>
              <a:rPr lang="ru-RU" i="1" dirty="0" err="1"/>
              <a:t>New</a:t>
            </a:r>
            <a:r>
              <a:rPr lang="ru-RU" i="1" dirty="0"/>
              <a:t> </a:t>
            </a:r>
            <a:r>
              <a:rPr lang="ru-RU" i="1" dirty="0" err="1"/>
              <a:t>Engl</a:t>
            </a:r>
            <a:r>
              <a:rPr lang="ru-RU" i="1" dirty="0"/>
              <a:t> J </a:t>
            </a:r>
            <a:r>
              <a:rPr lang="ru-RU" i="1" dirty="0" err="1"/>
              <a:t>Med</a:t>
            </a:r>
            <a:r>
              <a:rPr lang="ru-RU" i="1" dirty="0"/>
              <a:t> </a:t>
            </a:r>
            <a:r>
              <a:rPr lang="ru-RU" i="1" dirty="0" err="1"/>
              <a:t>Evid</a:t>
            </a:r>
            <a:r>
              <a:rPr lang="ru-RU" i="1" dirty="0"/>
              <a:t> </a:t>
            </a:r>
            <a:r>
              <a:rPr lang="ru-RU" dirty="0"/>
              <a:t>2022. </a:t>
            </a:r>
            <a:r>
              <a:rPr lang="ru-RU" dirty="0" err="1"/>
              <a:t>doi:https</a:t>
            </a:r>
            <a:r>
              <a:rPr lang="ru-RU" dirty="0"/>
              <a:t>://doi.org/10.1056/EVIDoa2200043</a:t>
            </a:r>
          </a:p>
        </p:txBody>
      </p:sp>
      <p:grpSp>
        <p:nvGrpSpPr>
          <p:cNvPr id="8" name="Group 7">
            <a:extLst>
              <a:ext uri="{FF2B5EF4-FFF2-40B4-BE49-F238E27FC236}">
                <a16:creationId xmlns:a16="http://schemas.microsoft.com/office/drawing/2014/main" id="{EBD9BAEF-BAFF-F0AC-1F70-711C786F284B}"/>
              </a:ext>
            </a:extLst>
          </p:cNvPr>
          <p:cNvGrpSpPr/>
          <p:nvPr/>
        </p:nvGrpSpPr>
        <p:grpSpPr>
          <a:xfrm>
            <a:off x="5186732" y="1910557"/>
            <a:ext cx="6936521" cy="3735050"/>
            <a:chOff x="4378959" y="1679135"/>
            <a:chExt cx="7590353" cy="4087113"/>
          </a:xfrm>
        </p:grpSpPr>
        <p:pic>
          <p:nvPicPr>
            <p:cNvPr id="9" name="Picture 8" descr="A map of the world&#10;&#10;Description automatically generated with low confidence">
              <a:extLst>
                <a:ext uri="{FF2B5EF4-FFF2-40B4-BE49-F238E27FC236}">
                  <a16:creationId xmlns:a16="http://schemas.microsoft.com/office/drawing/2014/main" id="{672E650B-EC45-3DEE-EA7C-8C0FEFA2E1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78959" y="1679135"/>
              <a:ext cx="7590353" cy="4087113"/>
            </a:xfrm>
            <a:prstGeom prst="rect">
              <a:avLst/>
            </a:prstGeom>
          </p:spPr>
        </p:pic>
        <p:sp>
          <p:nvSpPr>
            <p:cNvPr id="10" name="TextBox 9">
              <a:extLst>
                <a:ext uri="{FF2B5EF4-FFF2-40B4-BE49-F238E27FC236}">
                  <a16:creationId xmlns:a16="http://schemas.microsoft.com/office/drawing/2014/main" id="{6061B1ED-188C-A317-DD32-108BCAC406D9}"/>
                </a:ext>
              </a:extLst>
            </p:cNvPr>
            <p:cNvSpPr txBox="1"/>
            <p:nvPr/>
          </p:nvSpPr>
          <p:spPr>
            <a:xfrm>
              <a:off x="4586166" y="2905929"/>
              <a:ext cx="640080" cy="4378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a:ln>
                    <a:noFill/>
                  </a:ln>
                  <a:solidFill>
                    <a:srgbClr val="3F4444"/>
                  </a:solidFill>
                  <a:effectLst/>
                  <a:uLnTx/>
                  <a:uFillTx/>
                  <a:latin typeface="Calibri"/>
                  <a:ea typeface="+mn-ea"/>
                  <a:cs typeface="+mn-cs"/>
                </a:rPr>
                <a:t>Канада</a:t>
              </a:r>
              <a:br>
                <a:rPr kumimoji="0" lang="en-GB" sz="1000" b="1" i="0" u="none" strike="noStrike" kern="1200" cap="none" spc="0" normalizeH="0" baseline="0" noProof="0">
                  <a:ln>
                    <a:noFill/>
                  </a:ln>
                  <a:solidFill>
                    <a:srgbClr val="3F4444"/>
                  </a:solidFill>
                  <a:effectLst/>
                  <a:uLnTx/>
                  <a:uFillTx/>
                  <a:latin typeface="Calibri"/>
                  <a:ea typeface="+mn-ea"/>
                  <a:cs typeface="+mn-cs"/>
                </a:rPr>
              </a:br>
              <a:r>
                <a:rPr kumimoji="0" lang="ru-RU" sz="1000" b="1" i="0" u="none" strike="noStrike" kern="1200" cap="none" spc="0" normalizeH="0" baseline="0" noProof="0">
                  <a:ln>
                    <a:noFill/>
                  </a:ln>
                  <a:solidFill>
                    <a:srgbClr val="830051"/>
                  </a:solidFill>
                  <a:effectLst/>
                  <a:uLnTx/>
                  <a:uFillTx/>
                  <a:latin typeface="Calibri"/>
                  <a:ea typeface="+mn-ea"/>
                  <a:cs typeface="+mn-cs"/>
                </a:rPr>
                <a:t>1</a:t>
              </a:r>
              <a:r>
                <a:rPr kumimoji="0" lang="ru-RU" sz="1000" b="1" i="0" u="none" strike="noStrike" kern="1200" cap="none" spc="0" normalizeH="0" baseline="0" noProof="0">
                  <a:ln>
                    <a:noFill/>
                  </a:ln>
                  <a:solidFill>
                    <a:srgbClr val="3F4444"/>
                  </a:solidFill>
                  <a:effectLst/>
                  <a:uLnTx/>
                  <a:uFillTx/>
                  <a:latin typeface="Calibri"/>
                  <a:ea typeface="+mn-ea"/>
                  <a:cs typeface="+mn-cs"/>
                </a:rPr>
                <a:t>, </a:t>
              </a:r>
              <a:r>
                <a:rPr kumimoji="0" lang="ru-RU" sz="1000" b="1" i="0" u="none" strike="noStrike" kern="1200" cap="none" spc="0" normalizeH="0" baseline="0" noProof="0">
                  <a:ln>
                    <a:noFill/>
                  </a:ln>
                  <a:solidFill>
                    <a:srgbClr val="F0AB00"/>
                  </a:solidFill>
                  <a:effectLst/>
                  <a:uLnTx/>
                  <a:uFillTx/>
                  <a:latin typeface="Calibri"/>
                  <a:ea typeface="+mn-ea"/>
                  <a:cs typeface="+mn-cs"/>
                </a:rPr>
                <a:t>2</a:t>
              </a:r>
            </a:p>
          </p:txBody>
        </p:sp>
        <p:sp>
          <p:nvSpPr>
            <p:cNvPr id="11" name="TextBox 10">
              <a:extLst>
                <a:ext uri="{FF2B5EF4-FFF2-40B4-BE49-F238E27FC236}">
                  <a16:creationId xmlns:a16="http://schemas.microsoft.com/office/drawing/2014/main" id="{AD3F3F7A-8694-A240-E65B-FEBA421525F1}"/>
                </a:ext>
              </a:extLst>
            </p:cNvPr>
            <p:cNvSpPr txBox="1"/>
            <p:nvPr/>
          </p:nvSpPr>
          <p:spPr>
            <a:xfrm>
              <a:off x="4804344" y="3429000"/>
              <a:ext cx="640080" cy="4378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a:ln>
                    <a:noFill/>
                  </a:ln>
                  <a:solidFill>
                    <a:srgbClr val="3F4444"/>
                  </a:solidFill>
                  <a:effectLst/>
                  <a:uLnTx/>
                  <a:uFillTx/>
                  <a:latin typeface="Calibri"/>
                  <a:ea typeface="+mn-ea"/>
                  <a:cs typeface="+mn-cs"/>
                </a:rPr>
                <a:t>США</a:t>
              </a:r>
              <a:br>
                <a:rPr kumimoji="0" lang="en-GB" sz="1000" b="1" i="0" u="none" strike="noStrike" kern="1200" cap="none" spc="0" normalizeH="0" baseline="0" noProof="0">
                  <a:ln>
                    <a:noFill/>
                  </a:ln>
                  <a:solidFill>
                    <a:srgbClr val="3F4444"/>
                  </a:solidFill>
                  <a:effectLst/>
                  <a:uLnTx/>
                  <a:uFillTx/>
                  <a:latin typeface="Calibri"/>
                  <a:ea typeface="+mn-ea"/>
                  <a:cs typeface="+mn-cs"/>
                </a:rPr>
              </a:br>
              <a:r>
                <a:rPr kumimoji="0" lang="ru-RU" sz="1000" b="1" i="0" u="none" strike="noStrike" kern="1200" cap="none" spc="0" normalizeH="0" baseline="0" noProof="0">
                  <a:ln>
                    <a:noFill/>
                  </a:ln>
                  <a:solidFill>
                    <a:srgbClr val="830051"/>
                  </a:solidFill>
                  <a:effectLst/>
                  <a:uLnTx/>
                  <a:uFillTx/>
                  <a:latin typeface="Calibri"/>
                  <a:ea typeface="+mn-ea"/>
                  <a:cs typeface="+mn-cs"/>
                </a:rPr>
                <a:t>5</a:t>
              </a:r>
              <a:r>
                <a:rPr kumimoji="0" lang="ru-RU" sz="1000" b="1" i="0" u="none" strike="noStrike" kern="1200" cap="none" spc="0" normalizeH="0" baseline="0" noProof="0">
                  <a:ln>
                    <a:noFill/>
                  </a:ln>
                  <a:solidFill>
                    <a:srgbClr val="3F4444"/>
                  </a:solidFill>
                  <a:effectLst/>
                  <a:uLnTx/>
                  <a:uFillTx/>
                  <a:latin typeface="Calibri"/>
                  <a:ea typeface="+mn-ea"/>
                  <a:cs typeface="+mn-cs"/>
                </a:rPr>
                <a:t>, </a:t>
              </a:r>
              <a:r>
                <a:rPr kumimoji="0" lang="ru-RU" sz="1000" b="1" i="0" u="none" strike="noStrike" kern="1200" cap="none" spc="0" normalizeH="0" baseline="0" noProof="0">
                  <a:ln>
                    <a:noFill/>
                  </a:ln>
                  <a:solidFill>
                    <a:srgbClr val="F0AB00"/>
                  </a:solidFill>
                  <a:effectLst/>
                  <a:uLnTx/>
                  <a:uFillTx/>
                  <a:latin typeface="Calibri"/>
                  <a:ea typeface="+mn-ea"/>
                  <a:cs typeface="+mn-cs"/>
                </a:rPr>
                <a:t>0</a:t>
              </a:r>
            </a:p>
          </p:txBody>
        </p:sp>
        <p:sp>
          <p:nvSpPr>
            <p:cNvPr id="12" name="TextBox 11">
              <a:extLst>
                <a:ext uri="{FF2B5EF4-FFF2-40B4-BE49-F238E27FC236}">
                  <a16:creationId xmlns:a16="http://schemas.microsoft.com/office/drawing/2014/main" id="{C7EB7853-88E6-7FF9-89E9-6A8981E49132}"/>
                </a:ext>
              </a:extLst>
            </p:cNvPr>
            <p:cNvSpPr txBox="1"/>
            <p:nvPr/>
          </p:nvSpPr>
          <p:spPr>
            <a:xfrm>
              <a:off x="5823938" y="4837504"/>
              <a:ext cx="640080" cy="4378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a:ln>
                    <a:noFill/>
                  </a:ln>
                  <a:solidFill>
                    <a:srgbClr val="3F4444"/>
                  </a:solidFill>
                  <a:effectLst/>
                  <a:uLnTx/>
                  <a:uFillTx/>
                  <a:latin typeface="Calibri"/>
                  <a:ea typeface="+mn-ea"/>
                  <a:cs typeface="+mn-cs"/>
                </a:rPr>
                <a:t>Чили</a:t>
              </a:r>
              <a:br>
                <a:rPr kumimoji="0" lang="en-GB" sz="1000" b="1" i="0" u="none" strike="noStrike" kern="1200" cap="none" spc="0" normalizeH="0" baseline="0" noProof="0">
                  <a:ln>
                    <a:noFill/>
                  </a:ln>
                  <a:solidFill>
                    <a:srgbClr val="3F4444"/>
                  </a:solidFill>
                  <a:effectLst/>
                  <a:uLnTx/>
                  <a:uFillTx/>
                  <a:latin typeface="Calibri"/>
                  <a:ea typeface="+mn-ea"/>
                  <a:cs typeface="+mn-cs"/>
                </a:rPr>
              </a:br>
              <a:r>
                <a:rPr kumimoji="0" lang="ru-RU" sz="1000" b="1" i="0" u="none" strike="noStrike" kern="1200" cap="none" spc="0" normalizeH="0" baseline="0" noProof="0">
                  <a:ln>
                    <a:noFill/>
                  </a:ln>
                  <a:solidFill>
                    <a:srgbClr val="830051"/>
                  </a:solidFill>
                  <a:effectLst/>
                  <a:uLnTx/>
                  <a:uFillTx/>
                  <a:latin typeface="Calibri"/>
                  <a:ea typeface="+mn-ea"/>
                  <a:cs typeface="+mn-cs"/>
                </a:rPr>
                <a:t>0</a:t>
              </a:r>
              <a:r>
                <a:rPr kumimoji="0" lang="ru-RU" sz="1000" b="1" i="0" u="none" strike="noStrike" kern="1200" cap="none" spc="0" normalizeH="0" baseline="0" noProof="0">
                  <a:ln>
                    <a:noFill/>
                  </a:ln>
                  <a:solidFill>
                    <a:srgbClr val="3F4444"/>
                  </a:solidFill>
                  <a:effectLst/>
                  <a:uLnTx/>
                  <a:uFillTx/>
                  <a:latin typeface="Calibri"/>
                  <a:ea typeface="+mn-ea"/>
                  <a:cs typeface="+mn-cs"/>
                </a:rPr>
                <a:t>, </a:t>
              </a:r>
              <a:r>
                <a:rPr kumimoji="0" lang="ru-RU" sz="1000" b="1" i="0" u="none" strike="noStrike" kern="1200" cap="none" spc="0" normalizeH="0" baseline="0" noProof="0">
                  <a:ln>
                    <a:noFill/>
                  </a:ln>
                  <a:solidFill>
                    <a:srgbClr val="F0AB00"/>
                  </a:solidFill>
                  <a:effectLst/>
                  <a:uLnTx/>
                  <a:uFillTx/>
                  <a:latin typeface="Calibri"/>
                  <a:ea typeface="+mn-ea"/>
                  <a:cs typeface="+mn-cs"/>
                </a:rPr>
                <a:t>2</a:t>
              </a:r>
            </a:p>
          </p:txBody>
        </p:sp>
        <p:sp>
          <p:nvSpPr>
            <p:cNvPr id="13" name="TextBox 12">
              <a:extLst>
                <a:ext uri="{FF2B5EF4-FFF2-40B4-BE49-F238E27FC236}">
                  <a16:creationId xmlns:a16="http://schemas.microsoft.com/office/drawing/2014/main" id="{9C67290C-4917-B5E5-BF27-34F50FFAF3AB}"/>
                </a:ext>
              </a:extLst>
            </p:cNvPr>
            <p:cNvSpPr txBox="1"/>
            <p:nvPr/>
          </p:nvSpPr>
          <p:spPr>
            <a:xfrm>
              <a:off x="7141533" y="2223089"/>
              <a:ext cx="1192426" cy="4378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srgbClr val="3F4444"/>
                  </a:solidFill>
                  <a:effectLst/>
                  <a:uLnTx/>
                  <a:uFillTx/>
                  <a:latin typeface="Calibri"/>
                  <a:ea typeface="+mn-ea"/>
                  <a:cs typeface="+mn-cs"/>
                </a:rPr>
                <a:t>Нидерланды</a:t>
              </a:r>
              <a:br>
                <a:rPr kumimoji="0" lang="en-GB" sz="1000" b="1" i="0" u="none" strike="noStrike" kern="1200" cap="none" spc="0" normalizeH="0" baseline="0" noProof="0" dirty="0">
                  <a:ln>
                    <a:noFill/>
                  </a:ln>
                  <a:solidFill>
                    <a:srgbClr val="3F4444"/>
                  </a:solidFill>
                  <a:effectLst/>
                  <a:uLnTx/>
                  <a:uFillTx/>
                  <a:latin typeface="Calibri"/>
                  <a:ea typeface="+mn-ea"/>
                  <a:cs typeface="+mn-cs"/>
                </a:rPr>
              </a:br>
              <a:r>
                <a:rPr kumimoji="0" lang="ru-RU" sz="1000" b="1" i="0" u="none" strike="noStrike" kern="1200" cap="none" spc="0" normalizeH="0" baseline="0" noProof="0" dirty="0">
                  <a:ln>
                    <a:noFill/>
                  </a:ln>
                  <a:solidFill>
                    <a:srgbClr val="830051"/>
                  </a:solidFill>
                  <a:effectLst/>
                  <a:uLnTx/>
                  <a:uFillTx/>
                  <a:latin typeface="Calibri"/>
                  <a:ea typeface="+mn-ea"/>
                  <a:cs typeface="+mn-cs"/>
                </a:rPr>
                <a:t>1</a:t>
              </a:r>
              <a:r>
                <a:rPr kumimoji="0" lang="ru-RU" sz="1000" b="1" i="0" u="none" strike="noStrike" kern="1200" cap="none" spc="0" normalizeH="0" baseline="0" noProof="0" dirty="0">
                  <a:ln>
                    <a:noFill/>
                  </a:ln>
                  <a:solidFill>
                    <a:srgbClr val="3F4444"/>
                  </a:solidFill>
                  <a:effectLst/>
                  <a:uLnTx/>
                  <a:uFillTx/>
                  <a:latin typeface="Calibri"/>
                  <a:ea typeface="+mn-ea"/>
                  <a:cs typeface="+mn-cs"/>
                </a:rPr>
                <a:t>, </a:t>
              </a:r>
              <a:r>
                <a:rPr kumimoji="0" lang="ru-RU" sz="1000" b="1" i="0" u="none" strike="noStrike" kern="1200" cap="none" spc="0" normalizeH="0" baseline="0" noProof="0" dirty="0">
                  <a:ln>
                    <a:noFill/>
                  </a:ln>
                  <a:solidFill>
                    <a:srgbClr val="F0AB00"/>
                  </a:solidFill>
                  <a:effectLst/>
                  <a:uLnTx/>
                  <a:uFillTx/>
                  <a:latin typeface="Calibri"/>
                  <a:ea typeface="+mn-ea"/>
                  <a:cs typeface="+mn-cs"/>
                </a:rPr>
                <a:t>2</a:t>
              </a:r>
            </a:p>
          </p:txBody>
        </p:sp>
        <p:sp>
          <p:nvSpPr>
            <p:cNvPr id="14" name="TextBox 13">
              <a:extLst>
                <a:ext uri="{FF2B5EF4-FFF2-40B4-BE49-F238E27FC236}">
                  <a16:creationId xmlns:a16="http://schemas.microsoft.com/office/drawing/2014/main" id="{24740F65-54DB-F3F8-C299-980769923BB6}"/>
                </a:ext>
              </a:extLst>
            </p:cNvPr>
            <p:cNvSpPr txBox="1"/>
            <p:nvPr/>
          </p:nvSpPr>
          <p:spPr>
            <a:xfrm>
              <a:off x="6509888" y="2583653"/>
              <a:ext cx="1359459" cy="4378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srgbClr val="3F4444"/>
                  </a:solidFill>
                  <a:effectLst/>
                  <a:uLnTx/>
                  <a:uFillTx/>
                  <a:latin typeface="Calibri"/>
                  <a:ea typeface="+mn-ea"/>
                  <a:cs typeface="+mn-cs"/>
                </a:rPr>
                <a:t>Великобритания</a:t>
              </a:r>
              <a:br>
                <a:rPr kumimoji="0" lang="en-GB" sz="1000" b="1" i="0" u="none" strike="noStrike" kern="1200" cap="none" spc="0" normalizeH="0" baseline="0" noProof="0" dirty="0">
                  <a:ln>
                    <a:noFill/>
                  </a:ln>
                  <a:solidFill>
                    <a:srgbClr val="3F4444"/>
                  </a:solidFill>
                  <a:effectLst/>
                  <a:uLnTx/>
                  <a:uFillTx/>
                  <a:latin typeface="Calibri"/>
                  <a:ea typeface="+mn-ea"/>
                  <a:cs typeface="+mn-cs"/>
                </a:rPr>
              </a:br>
              <a:r>
                <a:rPr kumimoji="0" lang="ru-RU" sz="1000" b="1" i="0" u="none" strike="noStrike" kern="1200" cap="none" spc="0" normalizeH="0" baseline="0" noProof="0" dirty="0">
                  <a:ln>
                    <a:noFill/>
                  </a:ln>
                  <a:solidFill>
                    <a:srgbClr val="830051"/>
                  </a:solidFill>
                  <a:effectLst/>
                  <a:uLnTx/>
                  <a:uFillTx/>
                  <a:latin typeface="Calibri"/>
                  <a:ea typeface="+mn-ea"/>
                  <a:cs typeface="+mn-cs"/>
                </a:rPr>
                <a:t>1</a:t>
              </a:r>
              <a:r>
                <a:rPr kumimoji="0" lang="ru-RU" sz="1000" b="1" i="0" u="none" strike="noStrike" kern="1200" cap="none" spc="0" normalizeH="0" baseline="0" noProof="0" dirty="0">
                  <a:ln>
                    <a:noFill/>
                  </a:ln>
                  <a:solidFill>
                    <a:srgbClr val="3F4444"/>
                  </a:solidFill>
                  <a:effectLst/>
                  <a:uLnTx/>
                  <a:uFillTx/>
                  <a:latin typeface="Calibri"/>
                  <a:ea typeface="+mn-ea"/>
                  <a:cs typeface="+mn-cs"/>
                </a:rPr>
                <a:t>, </a:t>
              </a:r>
              <a:r>
                <a:rPr kumimoji="0" lang="ru-RU" sz="1000" b="1" i="0" u="none" strike="noStrike" kern="1200" cap="none" spc="0" normalizeH="0" baseline="0" noProof="0" dirty="0">
                  <a:ln>
                    <a:noFill/>
                  </a:ln>
                  <a:solidFill>
                    <a:srgbClr val="F0AB00"/>
                  </a:solidFill>
                  <a:effectLst/>
                  <a:uLnTx/>
                  <a:uFillTx/>
                  <a:latin typeface="Calibri"/>
                  <a:ea typeface="+mn-ea"/>
                  <a:cs typeface="+mn-cs"/>
                </a:rPr>
                <a:t>0</a:t>
              </a:r>
            </a:p>
          </p:txBody>
        </p:sp>
        <p:sp>
          <p:nvSpPr>
            <p:cNvPr id="15" name="TextBox 14">
              <a:extLst>
                <a:ext uri="{FF2B5EF4-FFF2-40B4-BE49-F238E27FC236}">
                  <a16:creationId xmlns:a16="http://schemas.microsoft.com/office/drawing/2014/main" id="{EF7705CF-743D-F78B-7EFE-2091525060DB}"/>
                </a:ext>
              </a:extLst>
            </p:cNvPr>
            <p:cNvSpPr txBox="1"/>
            <p:nvPr/>
          </p:nvSpPr>
          <p:spPr>
            <a:xfrm>
              <a:off x="6708055" y="2937070"/>
              <a:ext cx="1073558" cy="4378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srgbClr val="3F4444"/>
                  </a:solidFill>
                  <a:effectLst/>
                  <a:uLnTx/>
                  <a:uFillTx/>
                  <a:latin typeface="Calibri"/>
                  <a:ea typeface="+mn-ea"/>
                  <a:cs typeface="+mn-cs"/>
                </a:rPr>
                <a:t>Франция</a:t>
              </a:r>
              <a:br>
                <a:rPr kumimoji="0" lang="en-GB" sz="1000" b="1" i="0" u="none" strike="noStrike" kern="1200" cap="none" spc="0" normalizeH="0" baseline="0" noProof="0" dirty="0">
                  <a:ln>
                    <a:noFill/>
                  </a:ln>
                  <a:solidFill>
                    <a:srgbClr val="3F4444"/>
                  </a:solidFill>
                  <a:effectLst/>
                  <a:uLnTx/>
                  <a:uFillTx/>
                  <a:latin typeface="Calibri"/>
                  <a:ea typeface="+mn-ea"/>
                  <a:cs typeface="+mn-cs"/>
                </a:rPr>
              </a:br>
              <a:r>
                <a:rPr kumimoji="0" lang="ru-RU" sz="1000" b="1" i="0" u="none" strike="noStrike" kern="1200" cap="none" spc="0" normalizeH="0" baseline="0" noProof="0" dirty="0">
                  <a:ln>
                    <a:noFill/>
                  </a:ln>
                  <a:solidFill>
                    <a:srgbClr val="830051"/>
                  </a:solidFill>
                  <a:effectLst/>
                  <a:uLnTx/>
                  <a:uFillTx/>
                  <a:latin typeface="Calibri"/>
                  <a:ea typeface="+mn-ea"/>
                  <a:cs typeface="+mn-cs"/>
                </a:rPr>
                <a:t>1</a:t>
              </a:r>
              <a:r>
                <a:rPr kumimoji="0" lang="ru-RU" sz="1000" b="1" i="0" u="none" strike="noStrike" kern="1200" cap="none" spc="0" normalizeH="0" baseline="0" noProof="0" dirty="0">
                  <a:ln>
                    <a:noFill/>
                  </a:ln>
                  <a:solidFill>
                    <a:srgbClr val="3F4444"/>
                  </a:solidFill>
                  <a:effectLst/>
                  <a:uLnTx/>
                  <a:uFillTx/>
                  <a:latin typeface="Calibri"/>
                  <a:ea typeface="+mn-ea"/>
                  <a:cs typeface="+mn-cs"/>
                </a:rPr>
                <a:t>, </a:t>
              </a:r>
              <a:r>
                <a:rPr kumimoji="0" lang="ru-RU" sz="1000" b="1" i="0" u="none" strike="noStrike" kern="1200" cap="none" spc="0" normalizeH="0" baseline="0" noProof="0" dirty="0">
                  <a:ln>
                    <a:noFill/>
                  </a:ln>
                  <a:solidFill>
                    <a:srgbClr val="F0AB00"/>
                  </a:solidFill>
                  <a:effectLst/>
                  <a:uLnTx/>
                  <a:uFillTx/>
                  <a:latin typeface="Calibri"/>
                  <a:ea typeface="+mn-ea"/>
                  <a:cs typeface="+mn-cs"/>
                </a:rPr>
                <a:t>1</a:t>
              </a:r>
            </a:p>
          </p:txBody>
        </p:sp>
        <p:sp>
          <p:nvSpPr>
            <p:cNvPr id="16" name="TextBox 15">
              <a:extLst>
                <a:ext uri="{FF2B5EF4-FFF2-40B4-BE49-F238E27FC236}">
                  <a16:creationId xmlns:a16="http://schemas.microsoft.com/office/drawing/2014/main" id="{56E50951-D1CA-600E-5836-D958074C7DBF}"/>
                </a:ext>
              </a:extLst>
            </p:cNvPr>
            <p:cNvSpPr txBox="1"/>
            <p:nvPr/>
          </p:nvSpPr>
          <p:spPr>
            <a:xfrm>
              <a:off x="6210346" y="3268810"/>
              <a:ext cx="1659242" cy="4378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srgbClr val="3F4444"/>
                  </a:solidFill>
                  <a:effectLst/>
                  <a:uLnTx/>
                  <a:uFillTx/>
                  <a:latin typeface="Calibri"/>
                  <a:ea typeface="+mn-ea"/>
                  <a:cs typeface="+mn-cs"/>
                </a:rPr>
                <a:t>Чешская Республика</a:t>
              </a:r>
              <a:br>
                <a:rPr kumimoji="0" lang="en-GB" sz="1000" b="1" i="0" u="none" strike="noStrike" kern="1200" cap="none" spc="0" normalizeH="0" baseline="0" noProof="0" dirty="0">
                  <a:ln>
                    <a:noFill/>
                  </a:ln>
                  <a:solidFill>
                    <a:srgbClr val="3F4444"/>
                  </a:solidFill>
                  <a:effectLst/>
                  <a:uLnTx/>
                  <a:uFillTx/>
                  <a:latin typeface="Calibri"/>
                  <a:ea typeface="+mn-ea"/>
                  <a:cs typeface="+mn-cs"/>
                </a:rPr>
              </a:br>
              <a:r>
                <a:rPr kumimoji="0" lang="ru-RU" sz="1000" b="1" i="0" u="none" strike="noStrike" kern="1200" cap="none" spc="0" normalizeH="0" baseline="0" noProof="0" dirty="0">
                  <a:ln>
                    <a:noFill/>
                  </a:ln>
                  <a:solidFill>
                    <a:srgbClr val="830051"/>
                  </a:solidFill>
                  <a:effectLst/>
                  <a:uLnTx/>
                  <a:uFillTx/>
                  <a:latin typeface="Calibri"/>
                  <a:ea typeface="+mn-ea"/>
                  <a:cs typeface="+mn-cs"/>
                </a:rPr>
                <a:t>3</a:t>
              </a:r>
              <a:r>
                <a:rPr kumimoji="0" lang="ru-RU" sz="1000" b="1" i="0" u="none" strike="noStrike" kern="1200" cap="none" spc="0" normalizeH="0" baseline="0" noProof="0" dirty="0">
                  <a:ln>
                    <a:noFill/>
                  </a:ln>
                  <a:solidFill>
                    <a:srgbClr val="3F4444"/>
                  </a:solidFill>
                  <a:effectLst/>
                  <a:uLnTx/>
                  <a:uFillTx/>
                  <a:latin typeface="Calibri"/>
                  <a:ea typeface="+mn-ea"/>
                  <a:cs typeface="+mn-cs"/>
                </a:rPr>
                <a:t>, </a:t>
              </a:r>
              <a:r>
                <a:rPr kumimoji="0" lang="ru-RU" sz="1000" b="1" i="0" u="none" strike="noStrike" kern="1200" cap="none" spc="0" normalizeH="0" baseline="0" noProof="0" dirty="0">
                  <a:ln>
                    <a:noFill/>
                  </a:ln>
                  <a:solidFill>
                    <a:srgbClr val="F0AB00"/>
                  </a:solidFill>
                  <a:effectLst/>
                  <a:uLnTx/>
                  <a:uFillTx/>
                  <a:latin typeface="Calibri"/>
                  <a:ea typeface="+mn-ea"/>
                  <a:cs typeface="+mn-cs"/>
                </a:rPr>
                <a:t>0</a:t>
              </a:r>
            </a:p>
          </p:txBody>
        </p:sp>
        <p:sp>
          <p:nvSpPr>
            <p:cNvPr id="17" name="TextBox 16">
              <a:extLst>
                <a:ext uri="{FF2B5EF4-FFF2-40B4-BE49-F238E27FC236}">
                  <a16:creationId xmlns:a16="http://schemas.microsoft.com/office/drawing/2014/main" id="{1F8456B9-6160-E58D-DC43-5CF28C308294}"/>
                </a:ext>
              </a:extLst>
            </p:cNvPr>
            <p:cNvSpPr txBox="1"/>
            <p:nvPr/>
          </p:nvSpPr>
          <p:spPr>
            <a:xfrm>
              <a:off x="6708055" y="3574796"/>
              <a:ext cx="936592" cy="4378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srgbClr val="3F4444"/>
                  </a:solidFill>
                  <a:effectLst/>
                  <a:uLnTx/>
                  <a:uFillTx/>
                  <a:latin typeface="Calibri"/>
                  <a:ea typeface="+mn-ea"/>
                  <a:cs typeface="+mn-cs"/>
                </a:rPr>
                <a:t>Испания</a:t>
              </a:r>
              <a:br>
                <a:rPr kumimoji="0" lang="en-GB" sz="1000" b="1" i="0" u="none" strike="noStrike" kern="1200" cap="none" spc="0" normalizeH="0" baseline="0" noProof="0" dirty="0">
                  <a:ln>
                    <a:noFill/>
                  </a:ln>
                  <a:solidFill>
                    <a:srgbClr val="3F4444"/>
                  </a:solidFill>
                  <a:effectLst/>
                  <a:uLnTx/>
                  <a:uFillTx/>
                  <a:latin typeface="Calibri"/>
                  <a:ea typeface="+mn-ea"/>
                  <a:cs typeface="+mn-cs"/>
                </a:rPr>
              </a:br>
              <a:r>
                <a:rPr kumimoji="0" lang="ru-RU" sz="1000" b="1" i="0" u="none" strike="noStrike" kern="1200" cap="none" spc="0" normalizeH="0" baseline="0" noProof="0" dirty="0">
                  <a:ln>
                    <a:noFill/>
                  </a:ln>
                  <a:solidFill>
                    <a:srgbClr val="830051"/>
                  </a:solidFill>
                  <a:effectLst/>
                  <a:uLnTx/>
                  <a:uFillTx/>
                  <a:latin typeface="Calibri"/>
                  <a:ea typeface="+mn-ea"/>
                  <a:cs typeface="+mn-cs"/>
                </a:rPr>
                <a:t>1</a:t>
              </a:r>
              <a:r>
                <a:rPr kumimoji="0" lang="ru-RU" sz="1000" b="1" i="0" u="none" strike="noStrike" kern="1200" cap="none" spc="0" normalizeH="0" baseline="0" noProof="0" dirty="0">
                  <a:ln>
                    <a:noFill/>
                  </a:ln>
                  <a:solidFill>
                    <a:srgbClr val="3F4444"/>
                  </a:solidFill>
                  <a:effectLst/>
                  <a:uLnTx/>
                  <a:uFillTx/>
                  <a:latin typeface="Calibri"/>
                  <a:ea typeface="+mn-ea"/>
                  <a:cs typeface="+mn-cs"/>
                </a:rPr>
                <a:t>, </a:t>
              </a:r>
              <a:r>
                <a:rPr kumimoji="0" lang="ru-RU" sz="1000" b="1" i="0" u="none" strike="noStrike" kern="1200" cap="none" spc="0" normalizeH="0" baseline="0" noProof="0" dirty="0">
                  <a:ln>
                    <a:noFill/>
                  </a:ln>
                  <a:solidFill>
                    <a:srgbClr val="F0AB00"/>
                  </a:solidFill>
                  <a:effectLst/>
                  <a:uLnTx/>
                  <a:uFillTx/>
                  <a:latin typeface="Calibri"/>
                  <a:ea typeface="+mn-ea"/>
                  <a:cs typeface="+mn-cs"/>
                </a:rPr>
                <a:t>1</a:t>
              </a:r>
            </a:p>
          </p:txBody>
        </p:sp>
        <p:sp>
          <p:nvSpPr>
            <p:cNvPr id="18" name="TextBox 17">
              <a:extLst>
                <a:ext uri="{FF2B5EF4-FFF2-40B4-BE49-F238E27FC236}">
                  <a16:creationId xmlns:a16="http://schemas.microsoft.com/office/drawing/2014/main" id="{C0FC72CA-220A-4FE9-3FC2-B901D1F24A2D}"/>
                </a:ext>
              </a:extLst>
            </p:cNvPr>
            <p:cNvSpPr txBox="1"/>
            <p:nvPr/>
          </p:nvSpPr>
          <p:spPr>
            <a:xfrm>
              <a:off x="7229266" y="3965385"/>
              <a:ext cx="640080" cy="4378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srgbClr val="3F4444"/>
                  </a:solidFill>
                  <a:effectLst/>
                  <a:uLnTx/>
                  <a:uFillTx/>
                  <a:latin typeface="Calibri"/>
                  <a:ea typeface="+mn-ea"/>
                  <a:cs typeface="+mn-cs"/>
                </a:rPr>
                <a:t>Италия</a:t>
              </a:r>
              <a:br>
                <a:rPr kumimoji="0" lang="en-GB" sz="1000" b="1" i="0" u="none" strike="noStrike" kern="1200" cap="none" spc="0" normalizeH="0" baseline="0" noProof="0" dirty="0">
                  <a:ln>
                    <a:noFill/>
                  </a:ln>
                  <a:solidFill>
                    <a:srgbClr val="3F4444"/>
                  </a:solidFill>
                  <a:effectLst/>
                  <a:uLnTx/>
                  <a:uFillTx/>
                  <a:latin typeface="Calibri"/>
                  <a:ea typeface="+mn-ea"/>
                  <a:cs typeface="+mn-cs"/>
                </a:rPr>
              </a:br>
              <a:r>
                <a:rPr kumimoji="0" lang="ru-RU" sz="1000" b="1" i="0" u="none" strike="noStrike" kern="1200" cap="none" spc="0" normalizeH="0" baseline="0" noProof="0" dirty="0">
                  <a:ln>
                    <a:noFill/>
                  </a:ln>
                  <a:solidFill>
                    <a:srgbClr val="830051"/>
                  </a:solidFill>
                  <a:effectLst/>
                  <a:uLnTx/>
                  <a:uFillTx/>
                  <a:latin typeface="Calibri"/>
                  <a:ea typeface="+mn-ea"/>
                  <a:cs typeface="+mn-cs"/>
                </a:rPr>
                <a:t>3</a:t>
              </a:r>
              <a:r>
                <a:rPr kumimoji="0" lang="ru-RU" sz="1000" b="1" i="0" u="none" strike="noStrike" kern="1200" cap="none" spc="0" normalizeH="0" baseline="0" noProof="0" dirty="0">
                  <a:ln>
                    <a:noFill/>
                  </a:ln>
                  <a:solidFill>
                    <a:srgbClr val="3F4444"/>
                  </a:solidFill>
                  <a:effectLst/>
                  <a:uLnTx/>
                  <a:uFillTx/>
                  <a:latin typeface="Calibri"/>
                  <a:ea typeface="+mn-ea"/>
                  <a:cs typeface="+mn-cs"/>
                </a:rPr>
                <a:t>, </a:t>
              </a:r>
              <a:r>
                <a:rPr kumimoji="0" lang="ru-RU" sz="1000" b="1" i="0" u="none" strike="noStrike" kern="1200" cap="none" spc="0" normalizeH="0" baseline="0" noProof="0" dirty="0">
                  <a:ln>
                    <a:noFill/>
                  </a:ln>
                  <a:solidFill>
                    <a:srgbClr val="F0AB00"/>
                  </a:solidFill>
                  <a:effectLst/>
                  <a:uLnTx/>
                  <a:uFillTx/>
                  <a:latin typeface="Calibri"/>
                  <a:ea typeface="+mn-ea"/>
                  <a:cs typeface="+mn-cs"/>
                </a:rPr>
                <a:t>1</a:t>
              </a:r>
            </a:p>
          </p:txBody>
        </p:sp>
        <p:sp>
          <p:nvSpPr>
            <p:cNvPr id="19" name="TextBox 18">
              <a:extLst>
                <a:ext uri="{FF2B5EF4-FFF2-40B4-BE49-F238E27FC236}">
                  <a16:creationId xmlns:a16="http://schemas.microsoft.com/office/drawing/2014/main" id="{A2649B35-36A2-4AFE-C0BE-7C27530678D2}"/>
                </a:ext>
              </a:extLst>
            </p:cNvPr>
            <p:cNvSpPr txBox="1"/>
            <p:nvPr/>
          </p:nvSpPr>
          <p:spPr>
            <a:xfrm>
              <a:off x="6971933" y="4565768"/>
              <a:ext cx="809679" cy="4378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srgbClr val="3F4444"/>
                  </a:solidFill>
                  <a:effectLst/>
                  <a:uLnTx/>
                  <a:uFillTx/>
                  <a:latin typeface="Calibri"/>
                  <a:ea typeface="+mn-ea"/>
                  <a:cs typeface="+mn-cs"/>
                </a:rPr>
                <a:t>Бразилия</a:t>
              </a:r>
              <a:br>
                <a:rPr kumimoji="0" lang="en-GB" sz="1000" b="1" i="0" u="none" strike="noStrike" kern="1200" cap="none" spc="0" normalizeH="0" baseline="0" noProof="0" dirty="0">
                  <a:ln>
                    <a:noFill/>
                  </a:ln>
                  <a:solidFill>
                    <a:srgbClr val="3F4444"/>
                  </a:solidFill>
                  <a:effectLst/>
                  <a:uLnTx/>
                  <a:uFillTx/>
                  <a:latin typeface="Calibri"/>
                  <a:ea typeface="+mn-ea"/>
                  <a:cs typeface="+mn-cs"/>
                </a:rPr>
              </a:br>
              <a:r>
                <a:rPr kumimoji="0" lang="ru-RU" sz="1000" b="1" i="0" u="none" strike="noStrike" kern="1200" cap="none" spc="0" normalizeH="0" baseline="0" noProof="0" dirty="0">
                  <a:ln>
                    <a:noFill/>
                  </a:ln>
                  <a:solidFill>
                    <a:srgbClr val="830051"/>
                  </a:solidFill>
                  <a:effectLst/>
                  <a:uLnTx/>
                  <a:uFillTx/>
                  <a:latin typeface="Calibri"/>
                  <a:ea typeface="+mn-ea"/>
                  <a:cs typeface="+mn-cs"/>
                </a:rPr>
                <a:t>13</a:t>
              </a:r>
              <a:r>
                <a:rPr kumimoji="0" lang="ru-RU" sz="1000" b="1" i="0" u="none" strike="noStrike" kern="1200" cap="none" spc="0" normalizeH="0" baseline="0" noProof="0" dirty="0">
                  <a:ln>
                    <a:noFill/>
                  </a:ln>
                  <a:solidFill>
                    <a:srgbClr val="3F4444"/>
                  </a:solidFill>
                  <a:effectLst/>
                  <a:uLnTx/>
                  <a:uFillTx/>
                  <a:latin typeface="Calibri"/>
                  <a:ea typeface="+mn-ea"/>
                  <a:cs typeface="+mn-cs"/>
                </a:rPr>
                <a:t>, </a:t>
              </a:r>
              <a:r>
                <a:rPr kumimoji="0" lang="ru-RU" sz="1000" b="1" i="0" u="none" strike="noStrike" kern="1200" cap="none" spc="0" normalizeH="0" baseline="0" noProof="0" dirty="0">
                  <a:ln>
                    <a:noFill/>
                  </a:ln>
                  <a:solidFill>
                    <a:srgbClr val="F0AB00"/>
                  </a:solidFill>
                  <a:effectLst/>
                  <a:uLnTx/>
                  <a:uFillTx/>
                  <a:latin typeface="Calibri"/>
                  <a:ea typeface="+mn-ea"/>
                  <a:cs typeface="+mn-cs"/>
                </a:rPr>
                <a:t>6</a:t>
              </a:r>
            </a:p>
          </p:txBody>
        </p:sp>
        <p:sp>
          <p:nvSpPr>
            <p:cNvPr id="20" name="TextBox 19">
              <a:extLst>
                <a:ext uri="{FF2B5EF4-FFF2-40B4-BE49-F238E27FC236}">
                  <a16:creationId xmlns:a16="http://schemas.microsoft.com/office/drawing/2014/main" id="{41FCFD03-CB91-4547-A5D7-54E6F7F35BAA}"/>
                </a:ext>
              </a:extLst>
            </p:cNvPr>
            <p:cNvSpPr txBox="1"/>
            <p:nvPr/>
          </p:nvSpPr>
          <p:spPr>
            <a:xfrm>
              <a:off x="8943969" y="3974906"/>
              <a:ext cx="640080" cy="4378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a:ln>
                    <a:noFill/>
                  </a:ln>
                  <a:solidFill>
                    <a:srgbClr val="3F4444"/>
                  </a:solidFill>
                  <a:effectLst/>
                  <a:uLnTx/>
                  <a:uFillTx/>
                  <a:latin typeface="Calibri"/>
                  <a:ea typeface="+mn-ea"/>
                  <a:cs typeface="+mn-cs"/>
                </a:rPr>
                <a:t>Турция</a:t>
              </a:r>
              <a:br>
                <a:rPr kumimoji="0" lang="en-GB" sz="1000" b="1" i="0" u="none" strike="noStrike" kern="1200" cap="none" spc="0" normalizeH="0" baseline="0" noProof="0">
                  <a:ln>
                    <a:noFill/>
                  </a:ln>
                  <a:solidFill>
                    <a:srgbClr val="3F4444"/>
                  </a:solidFill>
                  <a:effectLst/>
                  <a:uLnTx/>
                  <a:uFillTx/>
                  <a:latin typeface="Calibri"/>
                  <a:ea typeface="+mn-ea"/>
                  <a:cs typeface="+mn-cs"/>
                </a:rPr>
              </a:br>
              <a:r>
                <a:rPr kumimoji="0" lang="ru-RU" sz="1000" b="1" i="0" u="none" strike="noStrike" kern="1200" cap="none" spc="0" normalizeH="0" baseline="0" noProof="0">
                  <a:ln>
                    <a:noFill/>
                  </a:ln>
                  <a:solidFill>
                    <a:srgbClr val="830051"/>
                  </a:solidFill>
                  <a:effectLst/>
                  <a:uLnTx/>
                  <a:uFillTx/>
                  <a:latin typeface="Calibri"/>
                  <a:ea typeface="+mn-ea"/>
                  <a:cs typeface="+mn-cs"/>
                </a:rPr>
                <a:t>4</a:t>
              </a:r>
              <a:r>
                <a:rPr kumimoji="0" lang="ru-RU" sz="1000" b="1" i="0" u="none" strike="noStrike" kern="1200" cap="none" spc="0" normalizeH="0" baseline="0" noProof="0">
                  <a:ln>
                    <a:noFill/>
                  </a:ln>
                  <a:solidFill>
                    <a:srgbClr val="3F4444"/>
                  </a:solidFill>
                  <a:effectLst/>
                  <a:uLnTx/>
                  <a:uFillTx/>
                  <a:latin typeface="Calibri"/>
                  <a:ea typeface="+mn-ea"/>
                  <a:cs typeface="+mn-cs"/>
                </a:rPr>
                <a:t>, </a:t>
              </a:r>
              <a:r>
                <a:rPr kumimoji="0" lang="ru-RU" sz="1000" b="1" i="0" u="none" strike="noStrike" kern="1200" cap="none" spc="0" normalizeH="0" baseline="0" noProof="0">
                  <a:ln>
                    <a:noFill/>
                  </a:ln>
                  <a:solidFill>
                    <a:srgbClr val="F0AB00"/>
                  </a:solidFill>
                  <a:effectLst/>
                  <a:uLnTx/>
                  <a:uFillTx/>
                  <a:latin typeface="Calibri"/>
                  <a:ea typeface="+mn-ea"/>
                  <a:cs typeface="+mn-cs"/>
                </a:rPr>
                <a:t>3</a:t>
              </a:r>
            </a:p>
          </p:txBody>
        </p:sp>
        <p:sp>
          <p:nvSpPr>
            <p:cNvPr id="21" name="TextBox 20">
              <a:extLst>
                <a:ext uri="{FF2B5EF4-FFF2-40B4-BE49-F238E27FC236}">
                  <a16:creationId xmlns:a16="http://schemas.microsoft.com/office/drawing/2014/main" id="{47292E6D-871D-6167-72B1-D6D89F3D9EC9}"/>
                </a:ext>
              </a:extLst>
            </p:cNvPr>
            <p:cNvSpPr txBox="1"/>
            <p:nvPr/>
          </p:nvSpPr>
          <p:spPr>
            <a:xfrm>
              <a:off x="8020787" y="2520180"/>
              <a:ext cx="867202" cy="4378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a:ln>
                    <a:noFill/>
                  </a:ln>
                  <a:solidFill>
                    <a:srgbClr val="3F4444"/>
                  </a:solidFill>
                  <a:effectLst/>
                  <a:uLnTx/>
                  <a:uFillTx/>
                  <a:latin typeface="Calibri"/>
                  <a:ea typeface="+mn-ea"/>
                  <a:cs typeface="+mn-cs"/>
                </a:rPr>
                <a:t>Германия (0)</a:t>
              </a:r>
              <a:endParaRPr kumimoji="0" lang="en-GB" sz="1000" b="1" i="0" u="none" strike="noStrike" kern="1200" cap="none" spc="0" normalizeH="0" baseline="0" noProof="0">
                <a:ln>
                  <a:noFill/>
                </a:ln>
                <a:solidFill>
                  <a:srgbClr val="F0AB00"/>
                </a:solidFill>
                <a:effectLst/>
                <a:uLnTx/>
                <a:uFillTx/>
                <a:latin typeface="Calibri"/>
                <a:ea typeface="+mn-ea"/>
                <a:cs typeface="+mn-cs"/>
              </a:endParaRPr>
            </a:p>
          </p:txBody>
        </p:sp>
        <p:sp>
          <p:nvSpPr>
            <p:cNvPr id="22" name="TextBox 21">
              <a:extLst>
                <a:ext uri="{FF2B5EF4-FFF2-40B4-BE49-F238E27FC236}">
                  <a16:creationId xmlns:a16="http://schemas.microsoft.com/office/drawing/2014/main" id="{8881A294-FC46-FCAE-EF92-291AB0094E2E}"/>
                </a:ext>
              </a:extLst>
            </p:cNvPr>
            <p:cNvSpPr txBox="1"/>
            <p:nvPr/>
          </p:nvSpPr>
          <p:spPr>
            <a:xfrm>
              <a:off x="8454388" y="2859764"/>
              <a:ext cx="867202" cy="2694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a:ln>
                    <a:noFill/>
                  </a:ln>
                  <a:solidFill>
                    <a:srgbClr val="3F4444"/>
                  </a:solidFill>
                  <a:effectLst/>
                  <a:uLnTx/>
                  <a:uFillTx/>
                  <a:latin typeface="Calibri"/>
                  <a:ea typeface="+mn-ea"/>
                  <a:cs typeface="+mn-cs"/>
                </a:rPr>
                <a:t>Бельгия</a:t>
              </a:r>
              <a:endParaRPr kumimoji="0" lang="en-GB" sz="1000" b="1" i="0" u="none" strike="noStrike" kern="1200" cap="none" spc="0" normalizeH="0" baseline="0" noProof="0" dirty="0">
                <a:ln>
                  <a:noFill/>
                </a:ln>
                <a:solidFill>
                  <a:srgbClr val="F0AB00"/>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04E9A3EA-8663-31B1-D838-2E37DC25A409}"/>
                </a:ext>
              </a:extLst>
            </p:cNvPr>
            <p:cNvSpPr txBox="1"/>
            <p:nvPr/>
          </p:nvSpPr>
          <p:spPr>
            <a:xfrm>
              <a:off x="8466234" y="3063492"/>
              <a:ext cx="867202" cy="2694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a:ln>
                    <a:noFill/>
                  </a:ln>
                  <a:solidFill>
                    <a:srgbClr val="3F4444"/>
                  </a:solidFill>
                  <a:effectLst/>
                  <a:uLnTx/>
                  <a:uFillTx/>
                  <a:latin typeface="Calibri"/>
                  <a:ea typeface="+mn-ea"/>
                  <a:cs typeface="+mn-cs"/>
                </a:rPr>
                <a:t>Словакия (0)</a:t>
              </a:r>
              <a:endParaRPr kumimoji="0" lang="en-GB" sz="1000" b="1" i="0" u="none" strike="noStrike" kern="1200" cap="none" spc="0" normalizeH="0" baseline="0" noProof="0" dirty="0">
                <a:ln>
                  <a:noFill/>
                </a:ln>
                <a:solidFill>
                  <a:srgbClr val="F0AB00"/>
                </a:solidFill>
                <a:effectLst/>
                <a:uLnTx/>
                <a:uFillTx/>
                <a:latin typeface="Calibri"/>
                <a:ea typeface="+mn-ea"/>
                <a:cs typeface="+mn-cs"/>
              </a:endParaRPr>
            </a:p>
          </p:txBody>
        </p:sp>
        <p:sp>
          <p:nvSpPr>
            <p:cNvPr id="24" name="TextBox 23">
              <a:extLst>
                <a:ext uri="{FF2B5EF4-FFF2-40B4-BE49-F238E27FC236}">
                  <a16:creationId xmlns:a16="http://schemas.microsoft.com/office/drawing/2014/main" id="{04348E1A-9A4C-DABD-8497-E9B5F76D704B}"/>
                </a:ext>
              </a:extLst>
            </p:cNvPr>
            <p:cNvSpPr txBox="1"/>
            <p:nvPr/>
          </p:nvSpPr>
          <p:spPr>
            <a:xfrm>
              <a:off x="10240043" y="2859763"/>
              <a:ext cx="1295934" cy="4378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a:ln>
                    <a:noFill/>
                  </a:ln>
                  <a:solidFill>
                    <a:srgbClr val="3F4444"/>
                  </a:solidFill>
                  <a:effectLst/>
                  <a:uLnTx/>
                  <a:uFillTx/>
                  <a:latin typeface="Calibri"/>
                  <a:ea typeface="+mn-ea"/>
                  <a:cs typeface="+mn-cs"/>
                </a:rPr>
                <a:t>Республика Корея (0)</a:t>
              </a:r>
              <a:endParaRPr kumimoji="0" lang="en-GB" sz="1000" b="1" i="0" u="none" strike="noStrike" kern="1200" cap="none" spc="0" normalizeH="0" baseline="0" noProof="0">
                <a:ln>
                  <a:noFill/>
                </a:ln>
                <a:solidFill>
                  <a:srgbClr val="F0AB00"/>
                </a:solidFill>
                <a:effectLst/>
                <a:uLnTx/>
                <a:uFillTx/>
                <a:latin typeface="Calibri"/>
                <a:ea typeface="+mn-ea"/>
                <a:cs typeface="+mn-cs"/>
              </a:endParaRPr>
            </a:p>
          </p:txBody>
        </p:sp>
        <p:sp>
          <p:nvSpPr>
            <p:cNvPr id="25" name="TextBox 24">
              <a:extLst>
                <a:ext uri="{FF2B5EF4-FFF2-40B4-BE49-F238E27FC236}">
                  <a16:creationId xmlns:a16="http://schemas.microsoft.com/office/drawing/2014/main" id="{44A4A6D9-4122-01CC-72E4-C004842C1333}"/>
                </a:ext>
              </a:extLst>
            </p:cNvPr>
            <p:cNvSpPr txBox="1"/>
            <p:nvPr/>
          </p:nvSpPr>
          <p:spPr>
            <a:xfrm>
              <a:off x="11063156" y="3382834"/>
              <a:ext cx="867202" cy="2694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a:ln>
                    <a:noFill/>
                  </a:ln>
                  <a:solidFill>
                    <a:srgbClr val="3F4444"/>
                  </a:solidFill>
                  <a:effectLst/>
                  <a:uLnTx/>
                  <a:uFillTx/>
                  <a:latin typeface="Calibri"/>
                  <a:ea typeface="+mn-ea"/>
                  <a:cs typeface="+mn-cs"/>
                </a:rPr>
                <a:t>Япония (0)</a:t>
              </a:r>
              <a:endParaRPr kumimoji="0" lang="en-GB" sz="1000" b="1" i="0" u="none" strike="noStrike" kern="1200" cap="none" spc="0" normalizeH="0" baseline="0" noProof="0">
                <a:ln>
                  <a:noFill/>
                </a:ln>
                <a:solidFill>
                  <a:srgbClr val="F0AB00"/>
                </a:solidFill>
                <a:effectLst/>
                <a:uLnTx/>
                <a:uFillTx/>
                <a:latin typeface="Calibri"/>
                <a:ea typeface="+mn-ea"/>
                <a:cs typeface="+mn-cs"/>
              </a:endParaRPr>
            </a:p>
          </p:txBody>
        </p:sp>
        <p:sp>
          <p:nvSpPr>
            <p:cNvPr id="26" name="TextBox 25">
              <a:extLst>
                <a:ext uri="{FF2B5EF4-FFF2-40B4-BE49-F238E27FC236}">
                  <a16:creationId xmlns:a16="http://schemas.microsoft.com/office/drawing/2014/main" id="{2BC7785C-9912-E396-94EC-5232D68F8AAB}"/>
                </a:ext>
              </a:extLst>
            </p:cNvPr>
            <p:cNvSpPr txBox="1"/>
            <p:nvPr/>
          </p:nvSpPr>
          <p:spPr>
            <a:xfrm>
              <a:off x="9891216" y="5176391"/>
              <a:ext cx="867202" cy="4378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a:ln>
                    <a:noFill/>
                  </a:ln>
                  <a:solidFill>
                    <a:srgbClr val="3F4444"/>
                  </a:solidFill>
                  <a:effectLst/>
                  <a:uLnTx/>
                  <a:uFillTx/>
                  <a:latin typeface="Calibri"/>
                  <a:ea typeface="+mn-ea"/>
                  <a:cs typeface="+mn-cs"/>
                </a:rPr>
                <a:t>Австралия (0)</a:t>
              </a:r>
              <a:endParaRPr kumimoji="0" lang="en-GB" sz="1000" b="1" i="0" u="none" strike="noStrike" kern="1200" cap="none" spc="0" normalizeH="0" baseline="0" noProof="0">
                <a:ln>
                  <a:noFill/>
                </a:ln>
                <a:solidFill>
                  <a:srgbClr val="F0AB00"/>
                </a:solidFill>
                <a:effectLst/>
                <a:uLnTx/>
                <a:uFillTx/>
                <a:latin typeface="Calibri"/>
                <a:ea typeface="+mn-ea"/>
                <a:cs typeface="+mn-cs"/>
              </a:endParaRPr>
            </a:p>
          </p:txBody>
        </p:sp>
      </p:grpSp>
      <p:sp>
        <p:nvSpPr>
          <p:cNvPr id="30" name="TextBox 29">
            <a:extLst>
              <a:ext uri="{FF2B5EF4-FFF2-40B4-BE49-F238E27FC236}">
                <a16:creationId xmlns:a16="http://schemas.microsoft.com/office/drawing/2014/main" id="{FFC8E0D7-042E-3F60-CAFE-3628733D09B6}"/>
              </a:ext>
            </a:extLst>
          </p:cNvPr>
          <p:cNvSpPr txBox="1"/>
          <p:nvPr/>
        </p:nvSpPr>
        <p:spPr>
          <a:xfrm>
            <a:off x="331412" y="1019532"/>
            <a:ext cx="1152917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3F4444"/>
                </a:solidFill>
                <a:effectLst/>
                <a:uLnTx/>
                <a:uFillTx/>
                <a:latin typeface="Arial" panose="020B0604020202020204" pitchFamily="34" charset="0"/>
                <a:ea typeface="MS Mincho" panose="02020609040205080304" pitchFamily="49" charset="-128"/>
                <a:cs typeface="+mn-cs"/>
              </a:rPr>
              <a:t>Из всех пациентов, заболевших COVID-19, ни один не был вакцинирован в соответствии с определением «полной вакцинации», принятым для каждого вакцинного препарата, до постановки диагноза COVID-19</a:t>
            </a:r>
            <a:r>
              <a:rPr kumimoji="0" lang="ru-RU" sz="1400" b="1" i="0" u="none" strike="noStrike" kern="1200" cap="none" spc="0" normalizeH="0" baseline="30000" noProof="0" dirty="0">
                <a:ln>
                  <a:noFill/>
                </a:ln>
                <a:solidFill>
                  <a:srgbClr val="3F4444"/>
                </a:solidFill>
                <a:effectLst/>
                <a:uLnTx/>
                <a:uFillTx/>
                <a:latin typeface="Arial" panose="020B0604020202020204" pitchFamily="34" charset="0"/>
                <a:ea typeface="MS Mincho" panose="02020609040205080304" pitchFamily="49" charset="-128"/>
                <a:cs typeface="+mn-cs"/>
              </a:rPr>
              <a:t>2</a:t>
            </a:r>
          </a:p>
        </p:txBody>
      </p:sp>
      <p:sp>
        <p:nvSpPr>
          <p:cNvPr id="7" name="object 358">
            <a:extLst>
              <a:ext uri="{FF2B5EF4-FFF2-40B4-BE49-F238E27FC236}">
                <a16:creationId xmlns:a16="http://schemas.microsoft.com/office/drawing/2014/main" id="{FCD0D2EA-BE02-2C7E-A6F7-5331C7CB9675}"/>
              </a:ext>
            </a:extLst>
          </p:cNvPr>
          <p:cNvSpPr/>
          <p:nvPr/>
        </p:nvSpPr>
        <p:spPr>
          <a:xfrm>
            <a:off x="6984682" y="1630783"/>
            <a:ext cx="2147290" cy="707374"/>
          </a:xfrm>
          <a:custGeom>
            <a:avLst/>
            <a:gdLst/>
            <a:ahLst/>
            <a:cxnLst/>
            <a:rect l="l" t="t" r="r" b="b"/>
            <a:pathLst>
              <a:path w="1918334" h="449579">
                <a:moveTo>
                  <a:pt x="1693564" y="0"/>
                </a:moveTo>
                <a:lnTo>
                  <a:pt x="224488" y="0"/>
                </a:lnTo>
                <a:lnTo>
                  <a:pt x="179246" y="4560"/>
                </a:lnTo>
                <a:lnTo>
                  <a:pt x="137108" y="17641"/>
                </a:lnTo>
                <a:lnTo>
                  <a:pt x="98975" y="38339"/>
                </a:lnTo>
                <a:lnTo>
                  <a:pt x="65751" y="65751"/>
                </a:lnTo>
                <a:lnTo>
                  <a:pt x="38339" y="98975"/>
                </a:lnTo>
                <a:lnTo>
                  <a:pt x="17641" y="137108"/>
                </a:lnTo>
                <a:lnTo>
                  <a:pt x="4560" y="179246"/>
                </a:lnTo>
                <a:lnTo>
                  <a:pt x="0" y="224488"/>
                </a:lnTo>
                <a:lnTo>
                  <a:pt x="4560" y="269729"/>
                </a:lnTo>
                <a:lnTo>
                  <a:pt x="17641" y="311867"/>
                </a:lnTo>
                <a:lnTo>
                  <a:pt x="38339" y="350000"/>
                </a:lnTo>
                <a:lnTo>
                  <a:pt x="65751" y="383224"/>
                </a:lnTo>
                <a:lnTo>
                  <a:pt x="98975" y="410636"/>
                </a:lnTo>
                <a:lnTo>
                  <a:pt x="137108" y="431334"/>
                </a:lnTo>
                <a:lnTo>
                  <a:pt x="179246" y="444415"/>
                </a:lnTo>
                <a:lnTo>
                  <a:pt x="224488" y="448976"/>
                </a:lnTo>
                <a:lnTo>
                  <a:pt x="1693564" y="448976"/>
                </a:lnTo>
                <a:lnTo>
                  <a:pt x="1738806" y="444415"/>
                </a:lnTo>
                <a:lnTo>
                  <a:pt x="1780944" y="431334"/>
                </a:lnTo>
                <a:lnTo>
                  <a:pt x="1819077" y="410636"/>
                </a:lnTo>
                <a:lnTo>
                  <a:pt x="1852301" y="383224"/>
                </a:lnTo>
                <a:lnTo>
                  <a:pt x="1879713" y="350000"/>
                </a:lnTo>
                <a:lnTo>
                  <a:pt x="1900411" y="311867"/>
                </a:lnTo>
                <a:lnTo>
                  <a:pt x="1913491" y="269729"/>
                </a:lnTo>
                <a:lnTo>
                  <a:pt x="1918052" y="224488"/>
                </a:lnTo>
                <a:lnTo>
                  <a:pt x="1913491" y="179246"/>
                </a:lnTo>
                <a:lnTo>
                  <a:pt x="1900411" y="137108"/>
                </a:lnTo>
                <a:lnTo>
                  <a:pt x="1879713" y="98975"/>
                </a:lnTo>
                <a:lnTo>
                  <a:pt x="1852301" y="65751"/>
                </a:lnTo>
                <a:lnTo>
                  <a:pt x="1819077" y="38339"/>
                </a:lnTo>
                <a:lnTo>
                  <a:pt x="1780944" y="17641"/>
                </a:lnTo>
                <a:lnTo>
                  <a:pt x="1738806" y="4560"/>
                </a:lnTo>
                <a:lnTo>
                  <a:pt x="1693564" y="0"/>
                </a:lnTo>
                <a:close/>
              </a:path>
            </a:pathLst>
          </a:custGeom>
          <a:noFill/>
          <a:ln w="38100">
            <a:solidFill>
              <a:schemeClr val="bg1">
                <a:lumMod val="85000"/>
              </a:schemeClr>
            </a:solidFill>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3F4444"/>
                </a:solidFill>
                <a:effectLst/>
                <a:uLnTx/>
                <a:uFillTx/>
                <a:latin typeface="Calibri"/>
                <a:ea typeface="+mn-ea"/>
                <a:cs typeface="+mn-cs"/>
              </a:rPr>
              <a:t>Количество случаев COVID-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830051"/>
                </a:solidFill>
                <a:effectLst/>
                <a:uLnTx/>
                <a:uFillTx/>
                <a:latin typeface="Calibri"/>
                <a:ea typeface="+mn-ea"/>
                <a:cs typeface="+mn-cs"/>
              </a:rPr>
              <a:t>Олапариб + абиратерон</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F0AB00"/>
                </a:solidFill>
                <a:effectLst/>
                <a:uLnTx/>
                <a:uFillTx/>
                <a:latin typeface="Calibri"/>
                <a:ea typeface="+mn-ea"/>
                <a:cs typeface="+mn-cs"/>
              </a:rPr>
              <a:t>Плацебо + абиратерон</a:t>
            </a:r>
          </a:p>
        </p:txBody>
      </p:sp>
      <p:sp>
        <p:nvSpPr>
          <p:cNvPr id="32" name="TextBox 31">
            <a:extLst>
              <a:ext uri="{FF2B5EF4-FFF2-40B4-BE49-F238E27FC236}">
                <a16:creationId xmlns:a16="http://schemas.microsoft.com/office/drawing/2014/main" id="{84410D7E-CB4D-698F-0D30-45B57F7B4DF1}"/>
              </a:ext>
            </a:extLst>
          </p:cNvPr>
          <p:cNvSpPr txBox="1"/>
          <p:nvPr/>
        </p:nvSpPr>
        <p:spPr>
          <a:xfrm>
            <a:off x="1404080" y="5610632"/>
            <a:ext cx="9383836" cy="723410"/>
          </a:xfrm>
          <a:prstGeom prst="round2DiagRect">
            <a:avLst/>
          </a:prstGeom>
          <a:solidFill>
            <a:srgbClr val="830051">
              <a:alpha val="30196"/>
            </a:srgbClr>
          </a:solidFill>
          <a:ln>
            <a:noFill/>
          </a:ln>
        </p:spPr>
        <p:txBody>
          <a:bodyPr vert="horz" lIns="91440" tIns="45720" rIns="91440" bIns="45720" rtlCol="0" anchor="ctr" anchorCtr="0">
            <a:noAutofit/>
          </a:bodyPr>
          <a:lstStyle>
            <a:defPPr>
              <a:defRPr lang="en-US"/>
            </a:defPPr>
            <a:lvl1pPr marR="0" lvl="0" indent="0" algn="ctr" defTabSz="685800" fontAlgn="auto">
              <a:lnSpc>
                <a:spcPct val="90000"/>
              </a:lnSpc>
              <a:spcBef>
                <a:spcPts val="750"/>
              </a:spcBef>
              <a:spcAft>
                <a:spcPts val="0"/>
              </a:spcAft>
              <a:buClrTx/>
              <a:buSzTx/>
              <a:buFont typeface="Arial" panose="020B0604020202020204" pitchFamily="34" charset="0"/>
              <a:buNone/>
              <a:tabLst/>
              <a:defRPr kumimoji="0" sz="1200" i="0" u="none" strike="noStrike" cap="none" spc="0" normalizeH="0" baseline="0">
                <a:ln>
                  <a:noFill/>
                </a:ln>
                <a:effectLst/>
                <a:uLnTx/>
                <a:uFillTx/>
                <a:latin typeface="Arial" panose="020B0604020202020204" pitchFamily="34" charset="0"/>
                <a:cs typeface="Arial" panose="020B0604020202020204" pitchFamily="34" charset="0"/>
              </a:defRPr>
            </a:lvl1pPr>
            <a:lvl2pPr indent="-228600">
              <a:lnSpc>
                <a:spcPct val="90000"/>
              </a:lnSpc>
              <a:spcBef>
                <a:spcPts val="800"/>
              </a:spcBef>
              <a:buClr>
                <a:schemeClr val="tx1"/>
              </a:buClr>
              <a:buFont typeface="Arial" panose="020B0604020202020204" pitchFamily="34" charset="0"/>
              <a:buChar char="–"/>
            </a:lvl2pPr>
            <a:lvl3pPr marL="685800" indent="-228600">
              <a:lnSpc>
                <a:spcPct val="90000"/>
              </a:lnSpc>
              <a:spcBef>
                <a:spcPts val="800"/>
              </a:spcBef>
              <a:buClr>
                <a:schemeClr val="accent1"/>
              </a:buClr>
              <a:buFont typeface="Arial" panose="020B0604020202020204" pitchFamily="34" charset="0"/>
              <a:buChar char="•"/>
              <a:defRPr sz="1600"/>
            </a:lvl3pPr>
            <a:lvl4pPr marL="914400" indent="-228600">
              <a:lnSpc>
                <a:spcPct val="90000"/>
              </a:lnSpc>
              <a:spcBef>
                <a:spcPts val="800"/>
              </a:spcBef>
              <a:buClr>
                <a:schemeClr val="tx1"/>
              </a:buClr>
              <a:buFont typeface="Arial" panose="020B0604020202020204" pitchFamily="34" charset="0"/>
              <a:buChar char="–"/>
              <a:defRPr sz="1600"/>
            </a:lvl4pPr>
            <a:lvl5pPr marL="1143000" indent="-228600">
              <a:lnSpc>
                <a:spcPct val="90000"/>
              </a:lnSpc>
              <a:spcBef>
                <a:spcPts val="800"/>
              </a:spcBef>
              <a:buClr>
                <a:schemeClr val="accent1"/>
              </a:buClr>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ru-RU" sz="1200" b="1"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rPr>
              <a:t>В исследовании в группе пациентов, получавших олапариб и абиратерон, было зарегистрировано больше случаев COVID-19; причины этого дисбаланса слишком сложны для выяснения из-за различий в протекании пандемии в разных странах, а также в защитных мерах и ограничениях, введенных в различных регионах</a:t>
            </a:r>
            <a:r>
              <a:rPr kumimoji="0" lang="ru-RU" sz="1200" b="1" i="0" u="none" strike="noStrike" kern="1200" cap="none" spc="0" normalizeH="0" baseline="30000" noProof="0" dirty="0">
                <a:ln>
                  <a:noFill/>
                </a:ln>
                <a:solidFill>
                  <a:srgbClr val="3F4444"/>
                </a:solidFill>
                <a:effectLst/>
                <a:uLnTx/>
                <a:uFillTx/>
                <a:latin typeface="Arial" panose="020B0604020202020204" pitchFamily="34" charset="0"/>
                <a:ea typeface="+mn-ea"/>
                <a:cs typeface="Arial" panose="020B0604020202020204" pitchFamily="34" charset="0"/>
              </a:rPr>
              <a:t>2</a:t>
            </a:r>
          </a:p>
        </p:txBody>
      </p:sp>
      <p:graphicFrame>
        <p:nvGraphicFramePr>
          <p:cNvPr id="33" name="Table 10">
            <a:extLst>
              <a:ext uri="{FF2B5EF4-FFF2-40B4-BE49-F238E27FC236}">
                <a16:creationId xmlns:a16="http://schemas.microsoft.com/office/drawing/2014/main" id="{AD5F3D2F-DA0E-CC08-2825-3E54A169A508}"/>
              </a:ext>
            </a:extLst>
          </p:cNvPr>
          <p:cNvGraphicFramePr>
            <a:graphicFrameLocks noGrp="1"/>
          </p:cNvGraphicFramePr>
          <p:nvPr>
            <p:extLst>
              <p:ext uri="{D42A27DB-BD31-4B8C-83A1-F6EECF244321}">
                <p14:modId xmlns:p14="http://schemas.microsoft.com/office/powerpoint/2010/main" val="4158103350"/>
              </p:ext>
            </p:extLst>
          </p:nvPr>
        </p:nvGraphicFramePr>
        <p:xfrm>
          <a:off x="249731" y="2302061"/>
          <a:ext cx="4678955" cy="2848513"/>
        </p:xfrm>
        <a:graphic>
          <a:graphicData uri="http://schemas.openxmlformats.org/drawingml/2006/table">
            <a:tbl>
              <a:tblPr firstRow="1" bandRow="1">
                <a:tableStyleId>{5C22544A-7EE6-4342-B048-85BDC9FD1C3A}</a:tableStyleId>
              </a:tblPr>
              <a:tblGrid>
                <a:gridCol w="2104016">
                  <a:extLst>
                    <a:ext uri="{9D8B030D-6E8A-4147-A177-3AD203B41FA5}">
                      <a16:colId xmlns:a16="http://schemas.microsoft.com/office/drawing/2014/main" val="256280186"/>
                    </a:ext>
                  </a:extLst>
                </a:gridCol>
                <a:gridCol w="1294165">
                  <a:extLst>
                    <a:ext uri="{9D8B030D-6E8A-4147-A177-3AD203B41FA5}">
                      <a16:colId xmlns:a16="http://schemas.microsoft.com/office/drawing/2014/main" val="2660757379"/>
                    </a:ext>
                  </a:extLst>
                </a:gridCol>
                <a:gridCol w="1280774">
                  <a:extLst>
                    <a:ext uri="{9D8B030D-6E8A-4147-A177-3AD203B41FA5}">
                      <a16:colId xmlns:a16="http://schemas.microsoft.com/office/drawing/2014/main" val="351983716"/>
                    </a:ext>
                  </a:extLst>
                </a:gridCol>
              </a:tblGrid>
              <a:tr h="774883">
                <a:tc>
                  <a:txBody>
                    <a:bodyPr/>
                    <a:lstStyle/>
                    <a:p>
                      <a:pPr rtl="0"/>
                      <a:r>
                        <a:rPr lang="ru-RU" sz="1200">
                          <a:solidFill>
                            <a:schemeClr val="bg1"/>
                          </a:solidFill>
                          <a:latin typeface="Arial" panose="020B0604020202020204" pitchFamily="34" charset="0"/>
                          <a:cs typeface="Arial" panose="020B0604020202020204" pitchFamily="34" charset="0"/>
                        </a:rPr>
                        <a:t>n (%)</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E6E6"/>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p>
                      <a:pPr algn="ctr" rtl="0"/>
                      <a:r>
                        <a:rPr lang="ru-RU" sz="1200" dirty="0">
                          <a:solidFill>
                            <a:schemeClr val="bg1"/>
                          </a:solidFill>
                          <a:latin typeface="Arial" panose="020B0604020202020204" pitchFamily="34" charset="0"/>
                          <a:cs typeface="Arial" panose="020B0604020202020204" pitchFamily="34" charset="0"/>
                        </a:rPr>
                        <a:t>Олапариб + абиратерон</a:t>
                      </a:r>
                    </a:p>
                    <a:p>
                      <a:pPr algn="ctr" rtl="0"/>
                      <a:r>
                        <a:rPr lang="ru-RU" sz="1200" dirty="0">
                          <a:solidFill>
                            <a:schemeClr val="bg1"/>
                          </a:solidFill>
                          <a:latin typeface="Arial" panose="020B0604020202020204" pitchFamily="34" charset="0"/>
                          <a:cs typeface="Arial" panose="020B0604020202020204" pitchFamily="34" charset="0"/>
                        </a:rPr>
                        <a:t>(n = 399)</a:t>
                      </a:r>
                    </a:p>
                  </a:txBody>
                  <a:tcPr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E6E6"/>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a:r>
                        <a:rPr lang="ru-RU" sz="1200" dirty="0">
                          <a:solidFill>
                            <a:schemeClr val="bg1"/>
                          </a:solidFill>
                          <a:latin typeface="Arial" panose="020B0604020202020204" pitchFamily="34" charset="0"/>
                          <a:cs typeface="Arial" panose="020B0604020202020204" pitchFamily="34" charset="0"/>
                        </a:rPr>
                        <a:t>Плацебо + абиратерон</a:t>
                      </a:r>
                    </a:p>
                    <a:p>
                      <a:pPr algn="ctr" rtl="0"/>
                      <a:r>
                        <a:rPr lang="ru-RU" sz="1200" dirty="0">
                          <a:solidFill>
                            <a:schemeClr val="bg1"/>
                          </a:solidFill>
                          <a:latin typeface="Arial" panose="020B0604020202020204" pitchFamily="34" charset="0"/>
                          <a:cs typeface="Arial" panose="020B0604020202020204" pitchFamily="34" charset="0"/>
                        </a:rPr>
                        <a:t>(n = 397)</a:t>
                      </a:r>
                    </a:p>
                  </a:txBody>
                  <a:tcPr marT="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E6E6"/>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534889841"/>
                  </a:ext>
                </a:extLst>
              </a:tr>
              <a:tr h="477850">
                <a:tc>
                  <a:txBody>
                    <a:bodyPr/>
                    <a:lstStyle/>
                    <a:p>
                      <a:pPr rtl="0"/>
                      <a:r>
                        <a:rPr lang="ru-RU" sz="1200" b="1">
                          <a:solidFill>
                            <a:schemeClr val="tx1"/>
                          </a:solidFill>
                          <a:latin typeface="Arial" panose="020B0604020202020204" pitchFamily="34" charset="0"/>
                          <a:cs typeface="Arial" panose="020B0604020202020204" pitchFamily="34" charset="0"/>
                        </a:rPr>
                        <a:t>Случаи COVID-19, все степени тяжести</a:t>
                      </a:r>
                    </a:p>
                  </a:txBody>
                  <a:tcPr anchor="ctr">
                    <a:lnL w="12700" cap="flat" cmpd="sng" algn="ctr">
                      <a:solidFill>
                        <a:srgbClr val="E8E6E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E8E6E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ru-RU" sz="1200" b="1">
                          <a:solidFill>
                            <a:schemeClr val="tx1"/>
                          </a:solidFill>
                          <a:latin typeface="Arial" panose="020B0604020202020204" pitchFamily="34" charset="0"/>
                          <a:cs typeface="Arial" panose="020B0604020202020204" pitchFamily="34" charset="0"/>
                        </a:rPr>
                        <a:t>33 (8,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E8E6E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30051">
                        <a:alpha val="30196"/>
                      </a:srgbClr>
                    </a:solidFill>
                  </a:tcPr>
                </a:tc>
                <a:tc>
                  <a:txBody>
                    <a:bodyPr/>
                    <a:lstStyle/>
                    <a:p>
                      <a:pPr algn="ctr" rtl="0"/>
                      <a:r>
                        <a:rPr lang="ru-RU" sz="1200" b="1">
                          <a:solidFill>
                            <a:schemeClr val="tx1"/>
                          </a:solidFill>
                          <a:latin typeface="Arial" panose="020B0604020202020204" pitchFamily="34" charset="0"/>
                          <a:cs typeface="Arial" panose="020B0604020202020204" pitchFamily="34" charset="0"/>
                        </a:rPr>
                        <a:t>18 (4,5)</a:t>
                      </a:r>
                    </a:p>
                  </a:txBody>
                  <a:tcPr anchor="ctr">
                    <a:lnL w="12700" cap="flat" cmpd="sng" algn="ctr">
                      <a:noFill/>
                      <a:prstDash val="solid"/>
                      <a:round/>
                      <a:headEnd type="none" w="med" len="med"/>
                      <a:tailEnd type="none" w="med" len="med"/>
                    </a:lnL>
                    <a:lnR w="12700" cap="flat" cmpd="sng" algn="ctr">
                      <a:solidFill>
                        <a:srgbClr val="E8E6E6"/>
                      </a:solidFill>
                      <a:prstDash val="solid"/>
                      <a:round/>
                      <a:headEnd type="none" w="med" len="med"/>
                      <a:tailEnd type="none" w="med" len="med"/>
                    </a:lnR>
                    <a:lnT w="12700" cap="flat" cmpd="sng" algn="ctr">
                      <a:solidFill>
                        <a:srgbClr val="E8E6E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0AB00">
                        <a:alpha val="30196"/>
                      </a:srgbClr>
                    </a:solidFill>
                  </a:tcPr>
                </a:tc>
                <a:extLst>
                  <a:ext uri="{0D108BD9-81ED-4DB2-BD59-A6C34878D82A}">
                    <a16:rowId xmlns:a16="http://schemas.microsoft.com/office/drawing/2014/main" val="3432230878"/>
                  </a:ext>
                </a:extLst>
              </a:tr>
              <a:tr h="477850">
                <a:tc>
                  <a:txBody>
                    <a:bodyPr/>
                    <a:lstStyle/>
                    <a:p>
                      <a:pPr rtl="0"/>
                      <a:r>
                        <a:rPr lang="ru-RU" sz="1200" b="1">
                          <a:solidFill>
                            <a:schemeClr val="tx1"/>
                          </a:solidFill>
                          <a:latin typeface="Arial" panose="020B0604020202020204" pitchFamily="34" charset="0"/>
                          <a:cs typeface="Arial" panose="020B0604020202020204" pitchFamily="34" charset="0"/>
                        </a:rPr>
                        <a:t>Случаи с ≥ 3 степени тяжести</a:t>
                      </a:r>
                    </a:p>
                  </a:txBody>
                  <a:tcPr anchor="ctr">
                    <a:lnL w="12700" cap="flat" cmpd="sng" algn="ctr">
                      <a:solidFill>
                        <a:srgbClr val="E8E6E6"/>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ru-RU" sz="1200" b="1">
                          <a:solidFill>
                            <a:schemeClr val="tx1"/>
                          </a:solidFill>
                          <a:latin typeface="Arial" panose="020B0604020202020204" pitchFamily="34" charset="0"/>
                          <a:cs typeface="Arial" panose="020B0604020202020204" pitchFamily="34" charset="0"/>
                        </a:rPr>
                        <a:t>17 (4,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30051">
                        <a:alpha val="30196"/>
                      </a:srgbClr>
                    </a:solidFill>
                  </a:tcPr>
                </a:tc>
                <a:tc>
                  <a:txBody>
                    <a:bodyPr/>
                    <a:lstStyle/>
                    <a:p>
                      <a:pPr algn="ctr" rtl="0"/>
                      <a:r>
                        <a:rPr lang="ru-RU" sz="1200" b="1">
                          <a:solidFill>
                            <a:schemeClr val="tx1"/>
                          </a:solidFill>
                          <a:latin typeface="Arial" panose="020B0604020202020204" pitchFamily="34" charset="0"/>
                          <a:cs typeface="Arial" panose="020B0604020202020204" pitchFamily="34" charset="0"/>
                        </a:rPr>
                        <a:t>8 (2,0)</a:t>
                      </a:r>
                    </a:p>
                  </a:txBody>
                  <a:tcPr anchor="ctr">
                    <a:lnL w="12700" cap="flat" cmpd="sng" algn="ctr">
                      <a:noFill/>
                      <a:prstDash val="solid"/>
                      <a:round/>
                      <a:headEnd type="none" w="med" len="med"/>
                      <a:tailEnd type="none" w="med" len="med"/>
                    </a:lnL>
                    <a:lnR w="12700" cap="flat" cmpd="sng" algn="ctr">
                      <a:solidFill>
                        <a:srgbClr val="E8E6E6"/>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0AB00">
                        <a:alpha val="30196"/>
                      </a:srgbClr>
                    </a:solidFill>
                  </a:tcPr>
                </a:tc>
                <a:extLst>
                  <a:ext uri="{0D108BD9-81ED-4DB2-BD59-A6C34878D82A}">
                    <a16:rowId xmlns:a16="http://schemas.microsoft.com/office/drawing/2014/main" val="2283592731"/>
                  </a:ext>
                </a:extLst>
              </a:tr>
              <a:tr h="59606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b="1" dirty="0">
                          <a:solidFill>
                            <a:schemeClr val="tx1"/>
                          </a:solidFill>
                          <a:latin typeface="Arial" panose="020B0604020202020204" pitchFamily="34" charset="0"/>
                          <a:cs typeface="Arial" panose="020B0604020202020204" pitchFamily="34" charset="0"/>
                        </a:rPr>
                        <a:t>Пациенты выздоровели/</a:t>
                      </a:r>
                      <a:r>
                        <a:rPr lang="ru-RU" sz="1200" b="1" dirty="0" err="1">
                          <a:solidFill>
                            <a:schemeClr val="tx1"/>
                          </a:solidFill>
                          <a:latin typeface="Arial" panose="020B0604020202020204" pitchFamily="34" charset="0"/>
                          <a:cs typeface="Arial" panose="020B0604020202020204" pitchFamily="34" charset="0"/>
                        </a:rPr>
                        <a:t>выздора</a:t>
                      </a:r>
                      <a:r>
                        <a:rPr lang="ru-RU" sz="1200" b="1" dirty="0">
                          <a:solidFill>
                            <a:schemeClr val="tx1"/>
                          </a:solidFill>
                          <a:latin typeface="Arial" panose="020B0604020202020204" pitchFamily="34" charset="0"/>
                          <a:cs typeface="Arial" panose="020B0604020202020204" pitchFamily="34" charset="0"/>
                        </a:rPr>
                        <a:t>-вливали от COVID-19 </a:t>
                      </a:r>
                    </a:p>
                  </a:txBody>
                  <a:tcPr anchor="ctr">
                    <a:lnL w="12700" cap="flat" cmpd="sng" algn="ctr">
                      <a:solidFill>
                        <a:srgbClr val="E8E6E6"/>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ru-RU" sz="1200">
                          <a:solidFill>
                            <a:schemeClr val="tx1"/>
                          </a:solidFill>
                          <a:latin typeface="Arial" panose="020B0604020202020204" pitchFamily="34" charset="0"/>
                          <a:cs typeface="Arial" panose="020B0604020202020204" pitchFamily="34" charset="0"/>
                        </a:rPr>
                        <a:t>24/33 (7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30051">
                        <a:alpha val="3019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a:solidFill>
                            <a:schemeClr val="tx1"/>
                          </a:solidFill>
                          <a:latin typeface="Arial" panose="020B0604020202020204" pitchFamily="34" charset="0"/>
                          <a:cs typeface="Arial" panose="020B0604020202020204" pitchFamily="34" charset="0"/>
                        </a:rPr>
                        <a:t>12/18 (66,7**)</a:t>
                      </a:r>
                    </a:p>
                  </a:txBody>
                  <a:tcPr anchor="ctr">
                    <a:lnL w="12700" cap="flat" cmpd="sng" algn="ctr">
                      <a:noFill/>
                      <a:prstDash val="solid"/>
                      <a:round/>
                      <a:headEnd type="none" w="med" len="med"/>
                      <a:tailEnd type="none" w="med" len="med"/>
                    </a:lnL>
                    <a:lnR w="12700" cap="flat" cmpd="sng" algn="ctr">
                      <a:solidFill>
                        <a:srgbClr val="E8E6E6"/>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0AB00">
                        <a:alpha val="30196"/>
                      </a:srgbClr>
                    </a:solidFill>
                  </a:tcPr>
                </a:tc>
                <a:extLst>
                  <a:ext uri="{0D108BD9-81ED-4DB2-BD59-A6C34878D82A}">
                    <a16:rowId xmlns:a16="http://schemas.microsoft.com/office/drawing/2014/main" val="1822126886"/>
                  </a:ext>
                </a:extLst>
              </a:tr>
              <a:tr h="4778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b="1">
                          <a:solidFill>
                            <a:schemeClr val="tx1"/>
                          </a:solidFill>
                          <a:latin typeface="Arial" panose="020B0604020202020204" pitchFamily="34" charset="0"/>
                          <a:cs typeface="Arial" panose="020B0604020202020204" pitchFamily="34" charset="0"/>
                        </a:rPr>
                        <a:t>Смертельные исходы, связанные с COVID-19 </a:t>
                      </a:r>
                    </a:p>
                  </a:txBody>
                  <a:tcPr anchor="ctr">
                    <a:lnL w="12700" cap="flat" cmpd="sng" algn="ctr">
                      <a:solidFill>
                        <a:srgbClr val="E8E6E6"/>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E6E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ru-RU" sz="1200">
                          <a:solidFill>
                            <a:schemeClr val="tx1"/>
                          </a:solidFill>
                          <a:latin typeface="Arial" panose="020B0604020202020204" pitchFamily="34" charset="0"/>
                          <a:cs typeface="Arial" panose="020B0604020202020204" pitchFamily="34" charset="0"/>
                        </a:rPr>
                        <a:t>7/33 (2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E6E6"/>
                      </a:solidFill>
                      <a:prstDash val="solid"/>
                      <a:round/>
                      <a:headEnd type="none" w="med" len="med"/>
                      <a:tailEnd type="none" w="med" len="med"/>
                    </a:lnB>
                    <a:lnTlToBr w="12700" cmpd="sng">
                      <a:noFill/>
                      <a:prstDash val="solid"/>
                    </a:lnTlToBr>
                    <a:lnBlToTr w="12700" cmpd="sng">
                      <a:noFill/>
                      <a:prstDash val="solid"/>
                    </a:lnBlToTr>
                    <a:solidFill>
                      <a:srgbClr val="830051">
                        <a:alpha val="30196"/>
                      </a:srgbClr>
                    </a:solidFill>
                  </a:tcPr>
                </a:tc>
                <a:tc>
                  <a:txBody>
                    <a:bodyPr/>
                    <a:lstStyle/>
                    <a:p>
                      <a:pPr algn="ctr" rtl="0"/>
                      <a:r>
                        <a:rPr lang="ru-RU" sz="1200" dirty="0">
                          <a:solidFill>
                            <a:schemeClr val="tx1"/>
                          </a:solidFill>
                          <a:latin typeface="Arial" panose="020B0604020202020204" pitchFamily="34" charset="0"/>
                          <a:cs typeface="Arial" panose="020B0604020202020204" pitchFamily="34" charset="0"/>
                        </a:rPr>
                        <a:t>3/18 (16,7**)</a:t>
                      </a:r>
                    </a:p>
                  </a:txBody>
                  <a:tcPr anchor="ctr">
                    <a:lnL w="12700" cap="flat" cmpd="sng" algn="ctr">
                      <a:noFill/>
                      <a:prstDash val="solid"/>
                      <a:round/>
                      <a:headEnd type="none" w="med" len="med"/>
                      <a:tailEnd type="none" w="med" len="med"/>
                    </a:lnL>
                    <a:lnR w="12700" cap="flat" cmpd="sng" algn="ctr">
                      <a:solidFill>
                        <a:srgbClr val="E8E6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E6E6"/>
                      </a:solidFill>
                      <a:prstDash val="solid"/>
                      <a:round/>
                      <a:headEnd type="none" w="med" len="med"/>
                      <a:tailEnd type="none" w="med" len="med"/>
                    </a:lnB>
                    <a:lnTlToBr w="12700" cmpd="sng">
                      <a:noFill/>
                      <a:prstDash val="solid"/>
                    </a:lnTlToBr>
                    <a:lnBlToTr w="12700" cmpd="sng">
                      <a:noFill/>
                      <a:prstDash val="solid"/>
                    </a:lnBlToTr>
                    <a:solidFill>
                      <a:srgbClr val="F0AB00">
                        <a:alpha val="30196"/>
                      </a:srgbClr>
                    </a:solidFill>
                  </a:tcPr>
                </a:tc>
                <a:extLst>
                  <a:ext uri="{0D108BD9-81ED-4DB2-BD59-A6C34878D82A}">
                    <a16:rowId xmlns:a16="http://schemas.microsoft.com/office/drawing/2014/main" val="3975722074"/>
                  </a:ext>
                </a:extLst>
              </a:tr>
            </a:tbl>
          </a:graphicData>
        </a:graphic>
      </p:graphicFrame>
    </p:spTree>
    <p:extLst>
      <p:ext uri="{BB962C8B-B14F-4D97-AF65-F5344CB8AC3E}">
        <p14:creationId xmlns:p14="http://schemas.microsoft.com/office/powerpoint/2010/main" val="14105892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254BDDD-6FE4-4912-A624-4F5A7D578C0F}"/>
              </a:ext>
            </a:extLst>
          </p:cNvPr>
          <p:cNvSpPr>
            <a:spLocks noGrp="1"/>
          </p:cNvSpPr>
          <p:nvPr>
            <p:ph type="title"/>
          </p:nvPr>
        </p:nvSpPr>
        <p:spPr>
          <a:xfrm>
            <a:off x="407987" y="188912"/>
            <a:ext cx="11376025" cy="1007427"/>
          </a:xfrm>
        </p:spPr>
        <p:txBody>
          <a:bodyPr rtlCol="0">
            <a:noAutofit/>
          </a:bodyPr>
          <a:lstStyle/>
          <a:p>
            <a:pPr rtl="0"/>
            <a:r>
              <a:rPr lang="ru" sz="2000" b="1" i="1" dirty="0">
                <a:latin typeface="+mn-lt"/>
                <a:ea typeface="+mn-ea"/>
                <a:cs typeface="+mn-cs"/>
              </a:rPr>
              <a:t>В исследовании PROpel</a:t>
            </a:r>
            <a:r>
              <a:rPr lang="ru-RU" sz="2000" b="1" i="1" dirty="0">
                <a:latin typeface="+mn-lt"/>
                <a:ea typeface="+mn-ea"/>
                <a:cs typeface="+mn-cs"/>
              </a:rPr>
              <a:t> у</a:t>
            </a:r>
            <a:r>
              <a:rPr lang="ru" sz="2000" b="1" i="1" dirty="0">
                <a:latin typeface="+mn-lt"/>
                <a:ea typeface="+mn-ea"/>
                <a:cs typeface="+mn-cs"/>
              </a:rPr>
              <a:t> пациентов предварительно не определяли статус мутаций генов HRR и не стратифицировали по данному признак</a:t>
            </a:r>
            <a:r>
              <a:rPr lang="ru-RU" sz="2000" b="1" i="1" dirty="0">
                <a:latin typeface="+mn-lt"/>
                <a:ea typeface="+mn-ea"/>
                <a:cs typeface="+mn-cs"/>
              </a:rPr>
              <a:t>у, чтобы предотвратить </a:t>
            </a:r>
            <a:r>
              <a:rPr lang="ru" sz="2000" b="1" i="1" dirty="0">
                <a:latin typeface="+mn-lt"/>
                <a:ea typeface="+mn-ea"/>
                <a:cs typeface="+mn-cs"/>
              </a:rPr>
              <a:t>систематическую ошибку при тестировании на данный биомаркер перед включением в исследование</a:t>
            </a:r>
            <a:endParaRPr lang="en-GB" sz="2000" b="1" i="1" dirty="0">
              <a:latin typeface="+mn-lt"/>
              <a:ea typeface="+mn-ea"/>
              <a:cs typeface="+mn-cs"/>
            </a:endParaRPr>
          </a:p>
        </p:txBody>
      </p:sp>
      <p:sp>
        <p:nvSpPr>
          <p:cNvPr id="8" name="Text Placeholder 7">
            <a:extLst>
              <a:ext uri="{FF2B5EF4-FFF2-40B4-BE49-F238E27FC236}">
                <a16:creationId xmlns:a16="http://schemas.microsoft.com/office/drawing/2014/main" id="{EC5C29C9-E78A-47BF-9345-C48E141627DA}"/>
              </a:ext>
            </a:extLst>
          </p:cNvPr>
          <p:cNvSpPr>
            <a:spLocks noGrp="1"/>
          </p:cNvSpPr>
          <p:nvPr>
            <p:ph type="body" sz="quarter" idx="111"/>
          </p:nvPr>
        </p:nvSpPr>
        <p:spPr>
          <a:xfrm>
            <a:off x="407987" y="6335426"/>
            <a:ext cx="11099144" cy="333662"/>
          </a:xfrm>
        </p:spPr>
        <p:txBody>
          <a:bodyPr rtlCol="0"/>
          <a:lstStyle/>
          <a:p>
            <a:pPr marL="0" marR="0" lvl="0" indent="-342891" algn="l" defTabSz="609570" rtl="0" eaLnBrk="1" fontAlgn="base" latinLnBrk="0" hangingPunct="1">
              <a:lnSpc>
                <a:spcPct val="100000"/>
              </a:lnSpc>
              <a:spcAft>
                <a:spcPts val="0"/>
              </a:spcAft>
              <a:buClr>
                <a:srgbClr val="1F497D"/>
              </a:buClr>
              <a:buSzTx/>
              <a:buFontTx/>
              <a:buNone/>
              <a:tabLst/>
              <a:defRPr/>
            </a:pPr>
            <a:r>
              <a:rPr lang="ru" dirty="0"/>
              <a:t>цоДНК — циркулирующая опухолевая ДНК; HRR — репарация посредством гомологичной рекомбинации</a:t>
            </a:r>
            <a:br>
              <a:rPr lang="en-GB" dirty="0"/>
            </a:br>
            <a:r>
              <a:rPr lang="ru" dirty="0"/>
              <a:t>Saad F, et al. Представлено на конгрессе ASCO GU 2022, 17–19 февраля, Сан-Франциско, Калифорния. Устный доклад 1</a:t>
            </a:r>
            <a:r>
              <a:rPr lang="en-US" dirty="0"/>
              <a:t>; </a:t>
            </a:r>
            <a:r>
              <a:rPr lang="en-GB" dirty="0"/>
              <a:t>Clarke N, et al. New </a:t>
            </a:r>
            <a:r>
              <a:rPr lang="en-GB" dirty="0" err="1"/>
              <a:t>Engl</a:t>
            </a:r>
            <a:r>
              <a:rPr lang="en-GB" dirty="0"/>
              <a:t> J Med Evid </a:t>
            </a:r>
            <a:r>
              <a:rPr lang="en-US" dirty="0"/>
              <a:t>Published June 3, 2022</a:t>
            </a:r>
            <a:r>
              <a:rPr lang="en-GB" dirty="0"/>
              <a:t>. </a:t>
            </a:r>
            <a:r>
              <a:rPr lang="en-US" dirty="0"/>
              <a:t>DOI: 10.1056/EVIDoa2200043</a:t>
            </a:r>
            <a:endParaRPr lang="en-GB" dirty="0"/>
          </a:p>
        </p:txBody>
      </p:sp>
      <p:sp>
        <p:nvSpPr>
          <p:cNvPr id="16" name="Rounded Rectangle 43">
            <a:extLst>
              <a:ext uri="{FF2B5EF4-FFF2-40B4-BE49-F238E27FC236}">
                <a16:creationId xmlns:a16="http://schemas.microsoft.com/office/drawing/2014/main" id="{AE534DBD-C937-47F1-ABAD-D8C0EF1E86D8}"/>
              </a:ext>
            </a:extLst>
          </p:cNvPr>
          <p:cNvSpPr/>
          <p:nvPr/>
        </p:nvSpPr>
        <p:spPr bwMode="auto">
          <a:xfrm>
            <a:off x="407987" y="1903193"/>
            <a:ext cx="5497995" cy="3668267"/>
          </a:xfrm>
          <a:prstGeom prst="round2DiagRect">
            <a:avLst/>
          </a:prstGeom>
          <a:solidFill>
            <a:schemeClr val="accent1">
              <a:alpha val="30196"/>
            </a:schemeClr>
          </a:solidFill>
          <a:ln w="25400" cap="flat" cmpd="sng" algn="ctr">
            <a:noFill/>
            <a:prstDash val="solid"/>
            <a:headEnd type="none" w="med" len="med"/>
            <a:tailEnd type="none" w="med" len="med"/>
          </a:ln>
          <a:effectLst/>
        </p:spPr>
        <p:txBody>
          <a:bodyPr vert="horz" wrap="square" lIns="91440" tIns="108000" rIns="91440" bIns="45720" numCol="1" rtlCol="0" anchor="ctr" anchorCtr="0" compatLnSpc="1">
            <a:prstTxWarp prst="textNoShape">
              <a:avLst/>
            </a:prstTxWarp>
          </a:bodyPr>
          <a:lstStyle/>
          <a:p>
            <a:pPr marL="285750" indent="-285750" defTabSz="914354" rtl="0">
              <a:spcAft>
                <a:spcPts val="600"/>
              </a:spcAft>
              <a:buFont typeface="Arial" panose="020B0604020202020204" pitchFamily="34" charset="0"/>
              <a:buChar char="•"/>
            </a:pPr>
            <a:endParaRPr lang="en-GB" sz="1400" kern="0" dirty="0"/>
          </a:p>
          <a:p>
            <a:pPr marL="285750" indent="-285750" defTabSz="914354" rtl="0">
              <a:spcAft>
                <a:spcPts val="600"/>
              </a:spcAft>
              <a:buFont typeface="Arial" panose="020B0604020202020204" pitchFamily="34" charset="0"/>
              <a:buChar char="•"/>
            </a:pPr>
            <a:endParaRPr lang="en-GB" sz="1400" kern="0" dirty="0"/>
          </a:p>
          <a:p>
            <a:pPr marL="285750" indent="-285750" defTabSz="914354" rtl="0">
              <a:spcAft>
                <a:spcPts val="600"/>
              </a:spcAft>
              <a:buFont typeface="Arial" panose="020B0604020202020204" pitchFamily="34" charset="0"/>
              <a:buChar char="•"/>
            </a:pPr>
            <a:endParaRPr lang="en-GB" sz="1400" kern="0" dirty="0"/>
          </a:p>
          <a:p>
            <a:pPr marL="285750" indent="-285750" defTabSz="914354" rtl="0">
              <a:spcAft>
                <a:spcPts val="600"/>
              </a:spcAft>
              <a:buFont typeface="Arial" panose="020B0604020202020204" pitchFamily="34" charset="0"/>
              <a:buChar char="•"/>
            </a:pPr>
            <a:r>
              <a:rPr lang="ru" sz="1400" kern="0" dirty="0"/>
              <a:t>Определение статуса мутации генов HRR у всех пациентов затруднено из-за сложностей с наличием и качеством образцов и методикой тестирования</a:t>
            </a:r>
          </a:p>
          <a:p>
            <a:pPr marL="285750" indent="-285750" defTabSz="914354" rtl="0">
              <a:spcAft>
                <a:spcPts val="600"/>
              </a:spcAft>
              <a:buFont typeface="Arial" panose="020B0604020202020204" pitchFamily="34" charset="0"/>
              <a:buChar char="•"/>
            </a:pPr>
            <a:endParaRPr lang="en-GB" sz="1400" kern="0" dirty="0"/>
          </a:p>
          <a:p>
            <a:pPr marL="285750" indent="-285750" defTabSz="914354" rtl="0">
              <a:spcAft>
                <a:spcPts val="600"/>
              </a:spcAft>
              <a:buFont typeface="Arial" panose="020B0604020202020204" pitchFamily="34" charset="0"/>
              <a:buChar char="•"/>
            </a:pPr>
            <a:r>
              <a:rPr lang="ru" sz="1400" kern="0" dirty="0"/>
              <a:t>Существовал риск дисбаланса в пользу пациентов с достаточным размером опухоли и/или наличием цоДНК</a:t>
            </a:r>
          </a:p>
          <a:p>
            <a:pPr defTabSz="914354" rtl="0"/>
            <a:endParaRPr lang="en-GB" sz="1400" kern="0" dirty="0"/>
          </a:p>
        </p:txBody>
      </p:sp>
      <p:sp>
        <p:nvSpPr>
          <p:cNvPr id="21" name="Rounded Rectangle 43">
            <a:extLst>
              <a:ext uri="{FF2B5EF4-FFF2-40B4-BE49-F238E27FC236}">
                <a16:creationId xmlns:a16="http://schemas.microsoft.com/office/drawing/2014/main" id="{82CE7054-E9A7-4275-96A3-A1B06B717D4F}"/>
              </a:ext>
            </a:extLst>
          </p:cNvPr>
          <p:cNvSpPr/>
          <p:nvPr/>
        </p:nvSpPr>
        <p:spPr bwMode="auto">
          <a:xfrm>
            <a:off x="6297224" y="1903193"/>
            <a:ext cx="5486788" cy="3668268"/>
          </a:xfrm>
          <a:prstGeom prst="round2DiagRect">
            <a:avLst/>
          </a:prstGeom>
          <a:solidFill>
            <a:schemeClr val="accent4">
              <a:alpha val="30196"/>
            </a:schemeClr>
          </a:solidFill>
          <a:ln w="25400" cap="flat" cmpd="sng" algn="ctr">
            <a:noFill/>
            <a:prstDash val="solid"/>
            <a:headEnd type="none" w="med" len="med"/>
            <a:tailEnd type="none" w="med" len="med"/>
          </a:ln>
          <a:effectLst/>
        </p:spPr>
        <p:txBody>
          <a:bodyPr vert="horz" wrap="square" lIns="91440" tIns="108000" rIns="91440" bIns="45720" numCol="1" rtlCol="0" anchor="ctr" anchorCtr="0" compatLnSpc="1">
            <a:prstTxWarp prst="textNoShape">
              <a:avLst/>
            </a:prstTxWarp>
          </a:bodyPr>
          <a:lstStyle/>
          <a:p>
            <a:pPr marR="0" lvl="0" algn="l" defTabSz="914354" rtl="0" eaLnBrk="1" fontAlgn="auto" latinLnBrk="0" hangingPunct="1">
              <a:lnSpc>
                <a:spcPct val="100000"/>
              </a:lnSpc>
              <a:spcBef>
                <a:spcPts val="0"/>
              </a:spcBef>
              <a:spcAft>
                <a:spcPts val="600"/>
              </a:spcAft>
              <a:buClrTx/>
              <a:buSzTx/>
              <a:tabLst/>
              <a:defRPr/>
            </a:pPr>
            <a:endParaRPr lang="en-GB" sz="1400" kern="0" dirty="0"/>
          </a:p>
          <a:p>
            <a:pPr marR="0" lvl="0" algn="l" defTabSz="914354" rtl="0" eaLnBrk="1" fontAlgn="auto" latinLnBrk="0" hangingPunct="1">
              <a:lnSpc>
                <a:spcPct val="100000"/>
              </a:lnSpc>
              <a:spcBef>
                <a:spcPts val="0"/>
              </a:spcBef>
              <a:spcAft>
                <a:spcPts val="600"/>
              </a:spcAft>
              <a:buClrTx/>
              <a:buSzTx/>
              <a:tabLst/>
              <a:defRPr/>
            </a:pPr>
            <a:endParaRPr lang="en-GB" sz="1400" kern="0" dirty="0"/>
          </a:p>
          <a:p>
            <a:pPr marL="285750" marR="0" lvl="0" indent="-285750" algn="l"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ru" sz="1400" kern="0" dirty="0"/>
          </a:p>
          <a:p>
            <a:pPr marL="285750" marR="0" lvl="0" indent="-285750" algn="l"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ru" sz="1400" kern="0" dirty="0"/>
          </a:p>
          <a:p>
            <a:pPr marL="285750" marR="0" lvl="0" indent="-285750" algn="l"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ru" sz="1400" kern="0" dirty="0"/>
          </a:p>
          <a:p>
            <a:pPr marL="285750" marR="0" lvl="0" indent="-285750" algn="l"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ru" sz="1400" kern="0" dirty="0"/>
          </a:p>
          <a:p>
            <a:pPr marL="285750" marR="0" lvl="0" indent="-285750" algn="l"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ru" sz="1400" kern="0" dirty="0"/>
              <a:t>В исследовании PROpel предполагалось, что из-за большого размера выборки, популяция будет сбалансирована с точки зрения исходных характеристик</a:t>
            </a:r>
          </a:p>
          <a:p>
            <a:pPr marL="285750" marR="0" lvl="0" indent="-285750" algn="l"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GB" sz="1400" kern="0" dirty="0"/>
          </a:p>
          <a:p>
            <a:pPr marL="285750" indent="-285750" defTabSz="914354">
              <a:spcAft>
                <a:spcPts val="600"/>
              </a:spcAft>
              <a:buFont typeface="Arial" panose="020B0604020202020204" pitchFamily="34" charset="0"/>
              <a:buChar char="•"/>
              <a:defRPr/>
            </a:pPr>
            <a:r>
              <a:rPr lang="ru" sz="1400" i="0" u="none" strike="noStrike" kern="0" cap="none" spc="0" normalizeH="0" noProof="0" dirty="0">
                <a:ln>
                  <a:noFill/>
                </a:ln>
                <a:effectLst/>
                <a:uLnTx/>
                <a:uFillTx/>
              </a:rPr>
              <a:t>Таким образом, </a:t>
            </a:r>
            <a:r>
              <a:rPr lang="ru" sz="1400" kern="0" dirty="0"/>
              <a:t>ретроспективное определение </a:t>
            </a:r>
            <a:r>
              <a:rPr lang="en-US" sz="1400" kern="0" dirty="0"/>
              <a:t>HRR </a:t>
            </a:r>
            <a:r>
              <a:rPr lang="ru" sz="1400" kern="0" dirty="0"/>
              <a:t>статуса не повлияло на</a:t>
            </a:r>
            <a:r>
              <a:rPr lang="ru" sz="1400" i="0" u="none" strike="noStrike" kern="0" cap="none" spc="0" normalizeH="0" noProof="0" dirty="0">
                <a:ln>
                  <a:noFill/>
                </a:ln>
                <a:effectLst/>
                <a:uLnTx/>
                <a:uFillTx/>
              </a:rPr>
              <a:t> </a:t>
            </a:r>
            <a:r>
              <a:rPr lang="ru-RU" sz="1400" kern="0" dirty="0"/>
              <a:t>сбалансированное распределение пациентов с</a:t>
            </a:r>
            <a:r>
              <a:rPr lang="en-US" sz="1400" kern="0" dirty="0"/>
              <a:t> </a:t>
            </a:r>
            <a:r>
              <a:rPr lang="ru-RU" sz="1400" kern="0" dirty="0"/>
              <a:t>мутациями </a:t>
            </a:r>
            <a:r>
              <a:rPr lang="en-US" sz="1400" kern="0" dirty="0"/>
              <a:t>HRR </a:t>
            </a:r>
            <a:r>
              <a:rPr lang="ru-RU" sz="1400" kern="0" dirty="0"/>
              <a:t>и без</a:t>
            </a:r>
            <a:r>
              <a:rPr lang="en-US" sz="1400" kern="0" dirty="0"/>
              <a:t> </a:t>
            </a:r>
            <a:r>
              <a:rPr lang="ru-RU" sz="1400" kern="0" dirty="0"/>
              <a:t>них в исследуемую и контрольную группы </a:t>
            </a:r>
          </a:p>
          <a:p>
            <a:pPr defTabSz="914354">
              <a:spcAft>
                <a:spcPts val="600"/>
              </a:spcAft>
              <a:defRPr/>
            </a:pPr>
            <a:endParaRPr lang="ru-RU" sz="1400" kern="0" dirty="0"/>
          </a:p>
          <a:p>
            <a:pPr marR="0" lvl="0" algn="l" defTabSz="914354" rtl="0" eaLnBrk="1" fontAlgn="auto" latinLnBrk="0" hangingPunct="1">
              <a:lnSpc>
                <a:spcPct val="100000"/>
              </a:lnSpc>
              <a:spcBef>
                <a:spcPts val="0"/>
              </a:spcBef>
              <a:spcAft>
                <a:spcPts val="600"/>
              </a:spcAft>
              <a:buClrTx/>
              <a:buSzTx/>
              <a:tabLst/>
              <a:defRPr/>
            </a:pPr>
            <a:endParaRPr lang="ru" sz="1400" i="0" u="none" strike="noStrike" kern="0" cap="none" spc="0" normalizeH="0" noProof="0" dirty="0">
              <a:ln>
                <a:noFill/>
              </a:ln>
              <a:effectLst/>
              <a:uLnTx/>
              <a:uFillTx/>
            </a:endParaRPr>
          </a:p>
        </p:txBody>
      </p:sp>
      <p:pic>
        <p:nvPicPr>
          <p:cNvPr id="3" name="Picture 2">
            <a:extLst>
              <a:ext uri="{FF2B5EF4-FFF2-40B4-BE49-F238E27FC236}">
                <a16:creationId xmlns:a16="http://schemas.microsoft.com/office/drawing/2014/main" id="{76ACD879-3EBD-450F-843C-F702E79970EE}"/>
              </a:ext>
            </a:extLst>
          </p:cNvPr>
          <p:cNvPicPr>
            <a:picLocks noChangeAspect="1"/>
          </p:cNvPicPr>
          <p:nvPr/>
        </p:nvPicPr>
        <p:blipFill>
          <a:blip r:embed="rId3">
            <a:clrChange>
              <a:clrFrom>
                <a:srgbClr val="FFFFFF"/>
              </a:clrFrom>
              <a:clrTo>
                <a:srgbClr val="FFFFFF">
                  <a:alpha val="0"/>
                </a:srgbClr>
              </a:clrTo>
            </a:clrChange>
            <a:duotone>
              <a:prstClr val="black"/>
              <a:schemeClr val="bg1">
                <a:tint val="45000"/>
                <a:satMod val="400000"/>
              </a:schemeClr>
            </a:duotone>
          </a:blip>
          <a:stretch>
            <a:fillRect/>
          </a:stretch>
        </p:blipFill>
        <p:spPr>
          <a:xfrm>
            <a:off x="6508750" y="2119981"/>
            <a:ext cx="1059113" cy="789470"/>
          </a:xfrm>
          <a:prstGeom prst="rect">
            <a:avLst/>
          </a:prstGeom>
        </p:spPr>
      </p:pic>
      <p:sp>
        <p:nvSpPr>
          <p:cNvPr id="4" name="TextBox 3">
            <a:extLst>
              <a:ext uri="{FF2B5EF4-FFF2-40B4-BE49-F238E27FC236}">
                <a16:creationId xmlns:a16="http://schemas.microsoft.com/office/drawing/2014/main" id="{5CBD6D7A-9CDE-4292-BA0A-C1C5061B5F74}"/>
              </a:ext>
            </a:extLst>
          </p:cNvPr>
          <p:cNvSpPr txBox="1"/>
          <p:nvPr/>
        </p:nvSpPr>
        <p:spPr>
          <a:xfrm>
            <a:off x="1861058" y="2016899"/>
            <a:ext cx="4044924" cy="707886"/>
          </a:xfrm>
          <a:prstGeom prst="rect">
            <a:avLst/>
          </a:prstGeom>
          <a:noFill/>
        </p:spPr>
        <p:txBody>
          <a:bodyPr wrap="square" rtlCol="0">
            <a:spAutoFit/>
          </a:bodyPr>
          <a:lstStyle/>
          <a:p>
            <a:pPr algn="l" rtl="0">
              <a:spcAft>
                <a:spcPts val="600"/>
              </a:spcAft>
            </a:pPr>
            <a:r>
              <a:rPr lang="ru" sz="2000" b="1" dirty="0"/>
              <a:t>Предотвращение </a:t>
            </a:r>
            <a:br>
              <a:rPr lang="ru" sz="2000" b="1" dirty="0"/>
            </a:br>
            <a:r>
              <a:rPr lang="ru" sz="2000" b="1" dirty="0"/>
              <a:t>систематической ошибки</a:t>
            </a:r>
          </a:p>
        </p:txBody>
      </p:sp>
      <p:sp>
        <p:nvSpPr>
          <p:cNvPr id="24" name="TextBox 23">
            <a:extLst>
              <a:ext uri="{FF2B5EF4-FFF2-40B4-BE49-F238E27FC236}">
                <a16:creationId xmlns:a16="http://schemas.microsoft.com/office/drawing/2014/main" id="{63980CCD-A14E-4055-9FC6-EE32D28A5C35}"/>
              </a:ext>
            </a:extLst>
          </p:cNvPr>
          <p:cNvSpPr txBox="1"/>
          <p:nvPr/>
        </p:nvSpPr>
        <p:spPr>
          <a:xfrm>
            <a:off x="7567863" y="2016899"/>
            <a:ext cx="3939269" cy="1015663"/>
          </a:xfrm>
          <a:prstGeom prst="rect">
            <a:avLst/>
          </a:prstGeom>
          <a:noFill/>
        </p:spPr>
        <p:txBody>
          <a:bodyPr wrap="square" rtlCol="0">
            <a:spAutoFit/>
          </a:bodyPr>
          <a:lstStyle/>
          <a:p>
            <a:pPr marL="0" marR="0" lvl="0" indent="0" defTabSz="914354" rtl="0" eaLnBrk="1" fontAlgn="auto" latinLnBrk="0" hangingPunct="1">
              <a:lnSpc>
                <a:spcPct val="100000"/>
              </a:lnSpc>
              <a:spcBef>
                <a:spcPts val="0"/>
              </a:spcBef>
              <a:spcAft>
                <a:spcPts val="0"/>
              </a:spcAft>
              <a:buClrTx/>
              <a:buSzTx/>
              <a:buFontTx/>
              <a:buNone/>
              <a:tabLst/>
              <a:defRPr/>
            </a:pPr>
            <a:r>
              <a:rPr lang="ru" sz="2000" b="1" i="0" u="none" strike="noStrike" kern="0" cap="none" spc="0" normalizeH="0" noProof="0" dirty="0">
                <a:ln>
                  <a:noFill/>
                </a:ln>
                <a:effectLst/>
                <a:uLnTx/>
                <a:uFillTx/>
                <a:ea typeface="+mn-ea"/>
                <a:cs typeface="+mn-cs"/>
              </a:rPr>
              <a:t>Обеспечение сбалансированного распределения пациентов</a:t>
            </a:r>
          </a:p>
        </p:txBody>
      </p:sp>
      <p:pic>
        <p:nvPicPr>
          <p:cNvPr id="7" name="Picture 6">
            <a:extLst>
              <a:ext uri="{FF2B5EF4-FFF2-40B4-BE49-F238E27FC236}">
                <a16:creationId xmlns:a16="http://schemas.microsoft.com/office/drawing/2014/main" id="{A572C395-13B7-4AA0-8BDF-2252BA9D34EA}"/>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799229" y="1989650"/>
            <a:ext cx="954665" cy="900113"/>
          </a:xfrm>
          <a:prstGeom prst="rect">
            <a:avLst/>
          </a:prstGeom>
        </p:spPr>
      </p:pic>
    </p:spTree>
    <p:extLst>
      <p:ext uri="{BB962C8B-B14F-4D97-AF65-F5344CB8AC3E}">
        <p14:creationId xmlns:p14="http://schemas.microsoft.com/office/powerpoint/2010/main" val="30775665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78106-779F-4094-91AE-BA39FCEA90DC}"/>
              </a:ext>
            </a:extLst>
          </p:cNvPr>
          <p:cNvSpPr>
            <a:spLocks noGrp="1"/>
          </p:cNvSpPr>
          <p:nvPr>
            <p:ph type="title"/>
          </p:nvPr>
        </p:nvSpPr>
        <p:spPr>
          <a:xfrm>
            <a:off x="364690" y="167182"/>
            <a:ext cx="11601761" cy="864655"/>
          </a:xfrm>
        </p:spPr>
        <p:txBody>
          <a:bodyPr rtlCol="0">
            <a:noAutofit/>
          </a:bodyPr>
          <a:lstStyle/>
          <a:p>
            <a:pPr rtl="0"/>
            <a:r>
              <a:rPr lang="ru-RU" sz="2000" b="1" i="1" dirty="0">
                <a:latin typeface="+mn-lt"/>
                <a:ea typeface="+mn-ea"/>
                <a:cs typeface="+mn-cs"/>
              </a:rPr>
              <a:t>В исследовании PROpel распространенность отдельных мутаций генов HRR была сходной с результатами исследования PROfound, а также других исследований пациентов с мКРРПЖ</a:t>
            </a:r>
            <a:r>
              <a:rPr lang="ru-RU" sz="2000" b="1" baseline="30000" dirty="0"/>
              <a:t>1–4</a:t>
            </a:r>
            <a:r>
              <a:rPr lang="ru-RU" sz="2000" b="1" dirty="0"/>
              <a:t> </a:t>
            </a:r>
          </a:p>
        </p:txBody>
      </p:sp>
      <p:sp>
        <p:nvSpPr>
          <p:cNvPr id="4" name="Text Placeholder 3">
            <a:extLst>
              <a:ext uri="{FF2B5EF4-FFF2-40B4-BE49-F238E27FC236}">
                <a16:creationId xmlns:a16="http://schemas.microsoft.com/office/drawing/2014/main" id="{1467661D-16C0-4E63-8251-684697DD525C}"/>
              </a:ext>
            </a:extLst>
          </p:cNvPr>
          <p:cNvSpPr>
            <a:spLocks noGrp="1"/>
          </p:cNvSpPr>
          <p:nvPr>
            <p:ph type="body" sz="quarter" idx="111"/>
          </p:nvPr>
        </p:nvSpPr>
        <p:spPr>
          <a:xfrm>
            <a:off x="407988" y="6200775"/>
            <a:ext cx="10465879" cy="657225"/>
          </a:xfrm>
        </p:spPr>
        <p:txBody>
          <a:bodyPr rtlCol="0"/>
          <a:lstStyle/>
          <a:p>
            <a:pPr marL="0" indent="0" rtl="0">
              <a:spcAft>
                <a:spcPts val="0"/>
              </a:spcAft>
            </a:pPr>
            <a:r>
              <a:rPr lang="ru-RU" dirty="0">
                <a:cs typeface="Calibri" panose="020F0502020204030204" pitchFamily="34" charset="0"/>
              </a:rPr>
              <a:t>Статус HRRm определялся по результатам комплексного тестирования, включающего анализ опухолевой ткани и </a:t>
            </a:r>
            <a:r>
              <a:rPr lang="ru-RU" dirty="0" err="1">
                <a:cs typeface="Calibri" panose="020F0502020204030204" pitchFamily="34" charset="0"/>
              </a:rPr>
              <a:t>цоДНК</a:t>
            </a:r>
            <a:br>
              <a:rPr lang="en-GB" dirty="0">
                <a:cs typeface="Calibri" panose="020F0502020204030204" pitchFamily="34" charset="0"/>
              </a:rPr>
            </a:br>
            <a:r>
              <a:rPr lang="ru-RU" dirty="0">
                <a:cs typeface="Calibri" panose="020F0502020204030204" pitchFamily="34" charset="0"/>
              </a:rPr>
              <a:t>HRR — репарация ДНК посредством гомологичной рекомбинации; HRRm — мутации генов репарации ДНК посредством гомологичной рекомбинации; мКРРПЖ — метастатический </a:t>
            </a:r>
            <a:r>
              <a:rPr lang="ru-RU" dirty="0" err="1">
                <a:cs typeface="Calibri" panose="020F0502020204030204" pitchFamily="34" charset="0"/>
              </a:rPr>
              <a:t>кастрационно</a:t>
            </a:r>
            <a:r>
              <a:rPr lang="ru-RU" dirty="0">
                <a:cs typeface="Calibri" panose="020F0502020204030204" pitchFamily="34" charset="0"/>
              </a:rPr>
              <a:t>-резистентный рак предстательной железы</a:t>
            </a:r>
            <a:br>
              <a:rPr lang="en-GB" dirty="0">
                <a:cs typeface="Calibri" panose="020F0502020204030204" pitchFamily="34" charset="0"/>
              </a:rPr>
            </a:br>
            <a:r>
              <a:rPr lang="ru-RU" dirty="0">
                <a:cs typeface="Calibri" panose="020F0502020204030204" pitchFamily="34" charset="0"/>
              </a:rPr>
              <a:t>1. </a:t>
            </a:r>
            <a:r>
              <a:rPr lang="ru-RU" dirty="0" err="1">
                <a:cs typeface="Calibri" panose="020F0502020204030204" pitchFamily="34" charset="0"/>
              </a:rPr>
              <a:t>Armstrong</a:t>
            </a:r>
            <a:r>
              <a:rPr lang="ru-RU" dirty="0">
                <a:cs typeface="Calibri" panose="020F0502020204030204" pitchFamily="34" charset="0"/>
              </a:rPr>
              <a:t> AJ, et al. Представлено на конгрессе ESMO 9–13 сентября 2022 г., Париж, Франция. Стендовый доклад 1370P; 2. de Bono J, et al. Стендовый доклад представлен на Конгрессе Европейского общества специалистов по лекарственной терапии злокачественных опухолей (ESMO); 27 сентября – 1 октября 2019 г.; Барселона, Испания. Стендовый доклад 847PD; 3. </a:t>
            </a:r>
            <a:r>
              <a:rPr lang="ru-RU" dirty="0" err="1">
                <a:cs typeface="Calibri" panose="020F0502020204030204" pitchFamily="34" charset="0"/>
              </a:rPr>
              <a:t>Hussain</a:t>
            </a:r>
            <a:r>
              <a:rPr lang="ru-RU" dirty="0">
                <a:cs typeface="Calibri" panose="020F0502020204030204" pitchFamily="34" charset="0"/>
              </a:rPr>
              <a:t> M, et al. Clin Cancer </a:t>
            </a:r>
            <a:r>
              <a:rPr lang="ru-RU" dirty="0" err="1">
                <a:cs typeface="Calibri" panose="020F0502020204030204" pitchFamily="34" charset="0"/>
              </a:rPr>
              <a:t>Res</a:t>
            </a:r>
            <a:r>
              <a:rPr lang="ru-RU" dirty="0">
                <a:cs typeface="Calibri" panose="020F0502020204030204" pitchFamily="34" charset="0"/>
              </a:rPr>
              <a:t>. 2022;28:1518–1530; 4. </a:t>
            </a:r>
            <a:r>
              <a:rPr lang="ru-RU" dirty="0" err="1">
                <a:cs typeface="Calibri" panose="020F0502020204030204" pitchFamily="34" charset="0"/>
              </a:rPr>
              <a:t>Pritchard</a:t>
            </a:r>
            <a:r>
              <a:rPr lang="ru-RU" dirty="0">
                <a:cs typeface="Calibri" panose="020F0502020204030204" pitchFamily="34" charset="0"/>
              </a:rPr>
              <a:t> CC, et al. N Engl J Med. 2016;375:443–453</a:t>
            </a:r>
            <a:endParaRPr lang="en-GB" dirty="0">
              <a:cs typeface="Calibri" panose="020F0502020204030204" pitchFamily="34" charset="0"/>
            </a:endParaRPr>
          </a:p>
        </p:txBody>
      </p:sp>
      <p:sp>
        <p:nvSpPr>
          <p:cNvPr id="7" name="TextBox 6">
            <a:extLst>
              <a:ext uri="{FF2B5EF4-FFF2-40B4-BE49-F238E27FC236}">
                <a16:creationId xmlns:a16="http://schemas.microsoft.com/office/drawing/2014/main" id="{01B9EF2A-CD01-E9E7-A12F-1C60841B9D65}"/>
              </a:ext>
            </a:extLst>
          </p:cNvPr>
          <p:cNvSpPr txBox="1"/>
          <p:nvPr/>
        </p:nvSpPr>
        <p:spPr>
          <a:xfrm>
            <a:off x="6117124" y="1181612"/>
            <a:ext cx="6011658" cy="861774"/>
          </a:xfrm>
          <a:prstGeom prst="rect">
            <a:avLst/>
          </a:prstGeom>
          <a:noFill/>
        </p:spPr>
        <p:txBody>
          <a:bodyPr wrap="square"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t>Исследование PROfound</a:t>
            </a:r>
            <a:r>
              <a:rPr kumimoji="0" lang="ru-RU" sz="1200" b="1" i="0" u="none" strike="noStrike" kern="1200" cap="none" spc="0" normalizeH="0" baseline="0" noProof="0" dirty="0">
                <a:ln>
                  <a:noFill/>
                </a:ln>
                <a:solidFill>
                  <a:srgbClr val="262626"/>
                </a:solidFill>
                <a:effectLst/>
                <a:uLnTx/>
                <a:uFillTx/>
                <a:latin typeface="Arial" panose="020B0604020202020204" pitchFamily="34" charset="0"/>
                <a:ea typeface="+mn-ea"/>
                <a:cs typeface="Arial" panose="020B0604020202020204" pitchFamily="34" charset="0"/>
              </a:rPr>
              <a:t>: Частота мутаций генов </a:t>
            </a:r>
            <a:r>
              <a:rPr lang="en-US" sz="1200" b="1" dirty="0">
                <a:solidFill>
                  <a:srgbClr val="262626"/>
                </a:solidFill>
                <a:latin typeface="Arial" panose="020B0604020202020204" pitchFamily="34" charset="0"/>
                <a:cs typeface="Arial" panose="020B0604020202020204" pitchFamily="34" charset="0"/>
              </a:rPr>
              <a:t>HRR</a:t>
            </a:r>
            <a:r>
              <a:rPr kumimoji="0" lang="en-US" sz="1200" b="1" i="0" u="none" strike="noStrike" kern="1200" cap="none" spc="0" normalizeH="0" baseline="0" noProof="0" dirty="0">
                <a:ln>
                  <a:noFill/>
                </a:ln>
                <a:solidFill>
                  <a:srgbClr val="262626"/>
                </a:solidFill>
                <a:effectLst/>
                <a:uLnTx/>
                <a:uFillTx/>
                <a:latin typeface="Arial" panose="020B0604020202020204" pitchFamily="34" charset="0"/>
                <a:ea typeface="+mn-ea"/>
                <a:cs typeface="Arial" panose="020B0604020202020204" pitchFamily="34" charset="0"/>
              </a:rPr>
              <a:t> </a:t>
            </a:r>
            <a:r>
              <a:rPr kumimoji="0" lang="ru-RU" sz="1200" b="1" i="0" u="none" strike="noStrike" kern="1200" cap="none" spc="0" normalizeH="0" baseline="0" noProof="0" dirty="0">
                <a:ln>
                  <a:noFill/>
                </a:ln>
                <a:solidFill>
                  <a:srgbClr val="262626"/>
                </a:solidFill>
                <a:effectLst/>
                <a:uLnTx/>
                <a:uFillTx/>
                <a:latin typeface="Arial" panose="020B0604020202020204" pitchFamily="34" charset="0"/>
                <a:ea typeface="+mn-ea"/>
                <a:cs typeface="Arial" panose="020B0604020202020204" pitchFamily="34" charset="0"/>
              </a:rPr>
              <a:t>(герминальных и соматических), выявленных при скрининге пациентов с </a:t>
            </a:r>
            <a:r>
              <a:rPr kumimoji="0" lang="ru-RU" sz="1200" b="1" i="0" u="none" strike="noStrike" kern="1200" cap="none" spc="0" normalizeH="0" baseline="0" noProof="0" dirty="0" err="1">
                <a:ln>
                  <a:noFill/>
                </a:ln>
                <a:solidFill>
                  <a:srgbClr val="262626"/>
                </a:solidFill>
                <a:effectLst/>
                <a:uLnTx/>
                <a:uFillTx/>
                <a:latin typeface="Arial" panose="020B0604020202020204" pitchFamily="34" charset="0"/>
                <a:ea typeface="+mn-ea"/>
                <a:cs typeface="Arial" panose="020B0604020202020204" pitchFamily="34" charset="0"/>
              </a:rPr>
              <a:t>мКРРПЖ</a:t>
            </a:r>
            <a:r>
              <a:rPr kumimoji="0" lang="ru-RU" sz="1200" b="1" i="0" u="none" strike="noStrike" kern="1200" cap="none" spc="0" normalizeH="0" baseline="0" noProof="0" dirty="0">
                <a:ln>
                  <a:noFill/>
                </a:ln>
                <a:solidFill>
                  <a:srgbClr val="262626"/>
                </a:solidFill>
                <a:effectLst/>
                <a:uLnTx/>
                <a:uFillTx/>
                <a:latin typeface="Arial" panose="020B0604020202020204" pitchFamily="34" charset="0"/>
                <a:ea typeface="+mn-ea"/>
                <a:cs typeface="Arial" panose="020B0604020202020204" pitchFamily="34" charset="0"/>
              </a:rPr>
              <a:t> </a:t>
            </a:r>
            <a:r>
              <a:rPr lang="ru-RU" sz="1200" b="1" dirty="0">
                <a:solidFill>
                  <a:srgbClr val="262626"/>
                </a:solidFill>
                <a:latin typeface="Arial" panose="020B0604020202020204" pitchFamily="34" charset="0"/>
                <a:cs typeface="Arial" panose="020B0604020202020204" pitchFamily="34" charset="0"/>
              </a:rPr>
              <a:t>-</a:t>
            </a:r>
            <a:r>
              <a:rPr kumimoji="0" lang="ru-RU" sz="1200" b="1" i="0" u="none" strike="noStrike" kern="1200" cap="none" spc="0" normalizeH="0" baseline="0" noProof="0" dirty="0">
                <a:ln>
                  <a:noFill/>
                </a:ln>
                <a:solidFill>
                  <a:srgbClr val="262626"/>
                </a:solidFill>
                <a:effectLst/>
                <a:uLnTx/>
                <a:uFillTx/>
                <a:latin typeface="Arial" panose="020B0604020202020204" pitchFamily="34" charset="0"/>
                <a:ea typeface="+mn-ea"/>
                <a:cs typeface="Arial" panose="020B0604020202020204" pitchFamily="34" charset="0"/>
              </a:rPr>
              <a:t> </a:t>
            </a:r>
            <a:r>
              <a:rPr kumimoji="0" lang="ru-RU" sz="1200" b="1" i="0" u="none" strike="noStrike" kern="1200" cap="none" spc="0" normalizeH="0" baseline="0" noProof="0" dirty="0">
                <a:ln>
                  <a:noFill/>
                </a:ln>
                <a:solidFill>
                  <a:srgbClr val="990064"/>
                </a:solidFill>
                <a:effectLst/>
                <a:uLnTx/>
                <a:uFillTx/>
                <a:latin typeface="Arial" panose="020B0604020202020204" pitchFamily="34" charset="0"/>
                <a:ea typeface="+mn-ea"/>
                <a:cs typeface="Arial" panose="020B0604020202020204" pitchFamily="34" charset="0"/>
              </a:rPr>
              <a:t>27,9%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ru-RU" sz="1200" b="1" i="0" u="none" strike="noStrike" kern="1200" cap="none" spc="0" normalizeH="0" baseline="0" noProof="0" dirty="0">
              <a:ln>
                <a:noFill/>
              </a:ln>
              <a:solidFill>
                <a:srgbClr val="990064"/>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262626"/>
                </a:solidFill>
                <a:effectLst/>
                <a:uLnTx/>
                <a:uFillTx/>
                <a:latin typeface="Arial" panose="020B0604020202020204" pitchFamily="34" charset="0"/>
                <a:ea typeface="+mn-ea"/>
                <a:cs typeface="Arial" panose="020B0604020202020204" pitchFamily="34" charset="0"/>
              </a:rPr>
              <a:t>(n = 2792 пациентов у которых было проведено успешное</a:t>
            </a:r>
            <a:r>
              <a:rPr kumimoji="0" lang="en-US" sz="1200" b="1" i="0" u="none" strike="noStrike" kern="1200" cap="none" spc="0" normalizeH="0" baseline="0" noProof="0" dirty="0">
                <a:ln>
                  <a:noFill/>
                </a:ln>
                <a:solidFill>
                  <a:srgbClr val="262626"/>
                </a:solidFill>
                <a:effectLst/>
                <a:uLnTx/>
                <a:uFillTx/>
                <a:latin typeface="Arial" panose="020B0604020202020204" pitchFamily="34" charset="0"/>
                <a:ea typeface="+mn-ea"/>
                <a:cs typeface="Arial" panose="020B0604020202020204" pitchFamily="34" charset="0"/>
              </a:rPr>
              <a:t> </a:t>
            </a:r>
            <a:r>
              <a:rPr kumimoji="0" lang="ru-RU" sz="1200" b="1" i="0" u="none" strike="noStrike" kern="1200" cap="none" spc="0" normalizeH="0" baseline="0" noProof="0" dirty="0" err="1">
                <a:ln>
                  <a:noFill/>
                </a:ln>
                <a:solidFill>
                  <a:srgbClr val="262626"/>
                </a:solidFill>
                <a:effectLst/>
                <a:uLnTx/>
                <a:uFillTx/>
                <a:latin typeface="Arial" panose="020B0604020202020204" pitchFamily="34" charset="0"/>
                <a:ea typeface="+mn-ea"/>
                <a:cs typeface="Arial" panose="020B0604020202020204" pitchFamily="34" charset="0"/>
              </a:rPr>
              <a:t>секвенирование</a:t>
            </a:r>
            <a:r>
              <a:rPr kumimoji="0" lang="ru-RU" sz="1200" b="1" i="0" u="none" strike="noStrike" kern="1200" cap="none" spc="0" normalizeH="0" baseline="0" noProof="0" dirty="0">
                <a:ln>
                  <a:noFill/>
                </a:ln>
                <a:solidFill>
                  <a:srgbClr val="262626"/>
                </a:solidFill>
                <a:effectLst/>
                <a:uLnTx/>
                <a:uFillTx/>
                <a:latin typeface="Arial" panose="020B0604020202020204" pitchFamily="34" charset="0"/>
                <a:ea typeface="+mn-ea"/>
                <a:cs typeface="Arial" panose="020B0604020202020204" pitchFamily="34" charset="0"/>
              </a:rPr>
              <a:t>)</a:t>
            </a:r>
            <a:r>
              <a:rPr kumimoji="0" lang="ru-RU" sz="1200" b="1" i="0" u="none" strike="noStrike" kern="1200" cap="none" spc="0" normalizeH="0" baseline="30000" noProof="0" dirty="0">
                <a:ln>
                  <a:noFill/>
                </a:ln>
                <a:solidFill>
                  <a:srgbClr val="262626"/>
                </a:solidFill>
                <a:effectLst/>
                <a:uLnTx/>
                <a:uFillTx/>
                <a:latin typeface="Arial" panose="020B0604020202020204" pitchFamily="34" charset="0"/>
                <a:ea typeface="+mn-ea"/>
                <a:cs typeface="Arial" panose="020B0604020202020204" pitchFamily="34" charset="0"/>
              </a:rPr>
              <a:t>2</a:t>
            </a:r>
          </a:p>
        </p:txBody>
      </p:sp>
      <p:grpSp>
        <p:nvGrpSpPr>
          <p:cNvPr id="8" name="Group 7">
            <a:extLst>
              <a:ext uri="{FF2B5EF4-FFF2-40B4-BE49-F238E27FC236}">
                <a16:creationId xmlns:a16="http://schemas.microsoft.com/office/drawing/2014/main" id="{94E6397E-7CD4-A1ED-D41C-25D2620D2421}"/>
              </a:ext>
            </a:extLst>
          </p:cNvPr>
          <p:cNvGrpSpPr/>
          <p:nvPr/>
        </p:nvGrpSpPr>
        <p:grpSpPr>
          <a:xfrm>
            <a:off x="5245706" y="2488173"/>
            <a:ext cx="7374081" cy="3328667"/>
            <a:chOff x="-937425" y="1642675"/>
            <a:chExt cx="6312710" cy="3629758"/>
          </a:xfrm>
        </p:grpSpPr>
        <p:graphicFrame>
          <p:nvGraphicFramePr>
            <p:cNvPr id="9" name="Chart 8">
              <a:extLst>
                <a:ext uri="{FF2B5EF4-FFF2-40B4-BE49-F238E27FC236}">
                  <a16:creationId xmlns:a16="http://schemas.microsoft.com/office/drawing/2014/main" id="{DD75B617-C1CD-89A2-8215-2EFEBFCC5DDB}"/>
                </a:ext>
              </a:extLst>
            </p:cNvPr>
            <p:cNvGraphicFramePr>
              <a:graphicFrameLocks/>
            </p:cNvGraphicFramePr>
            <p:nvPr>
              <p:extLst>
                <p:ext uri="{D42A27DB-BD31-4B8C-83A1-F6EECF244321}">
                  <p14:modId xmlns:p14="http://schemas.microsoft.com/office/powerpoint/2010/main" val="2687708287"/>
                </p:ext>
              </p:extLst>
            </p:nvPr>
          </p:nvGraphicFramePr>
          <p:xfrm>
            <a:off x="-937425" y="1807760"/>
            <a:ext cx="5552126" cy="346467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2B7EA880-0263-C1EF-F224-7F094219EF6A}"/>
                </a:ext>
              </a:extLst>
            </p:cNvPr>
            <p:cNvSpPr txBox="1"/>
            <p:nvPr/>
          </p:nvSpPr>
          <p:spPr>
            <a:xfrm>
              <a:off x="1358404" y="1642675"/>
              <a:ext cx="2224561" cy="25869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200" b="0" i="0" u="none" strike="noStrike" kern="0" cap="none" spc="0" normalizeH="0" baseline="0" noProof="0" dirty="0">
                  <a:ln>
                    <a:noFill/>
                  </a:ln>
                  <a:solidFill>
                    <a:srgbClr val="012D5C"/>
                  </a:solidFill>
                  <a:effectLst/>
                  <a:uLnTx/>
                  <a:uFillTx/>
                  <a:latin typeface="Arial" panose="020B0604020202020204" pitchFamily="34" charset="0"/>
                  <a:ea typeface="+mn-ea"/>
                  <a:cs typeface="Arial" panose="020B0604020202020204" pitchFamily="34" charset="0"/>
                </a:rPr>
                <a:t>только </a:t>
              </a:r>
              <a:r>
                <a:rPr kumimoji="0" lang="ru-RU" sz="1200" b="1" i="1" u="none" strike="noStrike" kern="0" cap="none" spc="0" normalizeH="0" baseline="0" noProof="0" dirty="0">
                  <a:ln>
                    <a:noFill/>
                  </a:ln>
                  <a:solidFill>
                    <a:srgbClr val="012D5C"/>
                  </a:solidFill>
                  <a:effectLst/>
                  <a:uLnTx/>
                  <a:uFillTx/>
                  <a:latin typeface="Arial" panose="020B0604020202020204" pitchFamily="34" charset="0"/>
                  <a:ea typeface="+mn-ea"/>
                  <a:cs typeface="Arial" panose="020B0604020202020204" pitchFamily="34" charset="0"/>
                </a:rPr>
                <a:t>BRCA2: </a:t>
              </a:r>
              <a:r>
                <a:rPr kumimoji="0" lang="ru-RU" sz="1200" b="1" i="0" u="none" strike="noStrike" kern="0" cap="none" spc="0" normalizeH="0" baseline="0" noProof="0" dirty="0">
                  <a:ln>
                    <a:noFill/>
                  </a:ln>
                  <a:solidFill>
                    <a:srgbClr val="012D5C"/>
                  </a:solidFill>
                  <a:effectLst/>
                  <a:uLnTx/>
                  <a:uFillTx/>
                  <a:latin typeface="Arial" panose="020B0604020202020204" pitchFamily="34" charset="0"/>
                  <a:ea typeface="+mn-ea"/>
                  <a:cs typeface="Arial" panose="020B0604020202020204" pitchFamily="34" charset="0"/>
                </a:rPr>
                <a:t>8,7 %</a:t>
              </a:r>
              <a:endParaRPr kumimoji="0" lang="en-GB" sz="1200" b="1" i="0" u="none" strike="noStrike" kern="0" cap="none" spc="0" normalizeH="0" baseline="30000" noProof="0" dirty="0">
                <a:ln>
                  <a:noFill/>
                </a:ln>
                <a:solidFill>
                  <a:srgbClr val="012D5C"/>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5CFD0DE6-3ED1-DD83-E23A-6350373109D2}"/>
                </a:ext>
              </a:extLst>
            </p:cNvPr>
            <p:cNvSpPr txBox="1"/>
            <p:nvPr/>
          </p:nvSpPr>
          <p:spPr>
            <a:xfrm>
              <a:off x="1746921" y="1861757"/>
              <a:ext cx="2243590" cy="25869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200" b="0" i="0" u="none" strike="noStrike" kern="0" cap="none" spc="0" normalizeH="0" baseline="0" noProof="0" dirty="0">
                  <a:ln>
                    <a:noFill/>
                  </a:ln>
                  <a:solidFill>
                    <a:srgbClr val="00BAE5"/>
                  </a:solidFill>
                  <a:effectLst/>
                  <a:uLnTx/>
                  <a:uFillTx/>
                  <a:latin typeface="Arial" panose="020B0604020202020204" pitchFamily="34" charset="0"/>
                  <a:ea typeface="+mn-ea"/>
                  <a:cs typeface="Arial" panose="020B0604020202020204" pitchFamily="34" charset="0"/>
                </a:rPr>
                <a:t>только </a:t>
              </a:r>
              <a:r>
                <a:rPr kumimoji="0" lang="ru-RU" sz="1200" b="1" i="1" u="none" strike="noStrike" kern="0" cap="none" spc="0" normalizeH="0" baseline="0" noProof="0" dirty="0">
                  <a:ln>
                    <a:noFill/>
                  </a:ln>
                  <a:solidFill>
                    <a:srgbClr val="00BAE5"/>
                  </a:solidFill>
                  <a:effectLst/>
                  <a:uLnTx/>
                  <a:uFillTx/>
                  <a:latin typeface="Arial" panose="020B0604020202020204" pitchFamily="34" charset="0"/>
                  <a:ea typeface="+mn-ea"/>
                  <a:cs typeface="Arial" panose="020B0604020202020204" pitchFamily="34" charset="0"/>
                </a:rPr>
                <a:t>BRCA1: </a:t>
              </a:r>
              <a:r>
                <a:rPr kumimoji="0" lang="ru-RU" sz="1200" b="1" i="0" u="none" strike="noStrike" kern="0" cap="none" spc="0" normalizeH="0" baseline="0" noProof="0" dirty="0">
                  <a:ln>
                    <a:noFill/>
                  </a:ln>
                  <a:solidFill>
                    <a:srgbClr val="00BAE5"/>
                  </a:solidFill>
                  <a:effectLst/>
                  <a:uLnTx/>
                  <a:uFillTx/>
                  <a:latin typeface="Arial" panose="020B0604020202020204" pitchFamily="34" charset="0"/>
                  <a:ea typeface="+mn-ea"/>
                  <a:cs typeface="Arial" panose="020B0604020202020204" pitchFamily="34" charset="0"/>
                </a:rPr>
                <a:t>1,0 %</a:t>
              </a:r>
              <a:endParaRPr kumimoji="0" lang="en-GB" sz="1200" b="1" i="0" u="none" strike="noStrike" kern="0" cap="none" spc="0" normalizeH="0" baseline="30000" noProof="0" dirty="0">
                <a:ln>
                  <a:noFill/>
                </a:ln>
                <a:solidFill>
                  <a:srgbClr val="00BAE5"/>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6D958420-8D9C-3035-A813-12FFFCF5DF76}"/>
                </a:ext>
              </a:extLst>
            </p:cNvPr>
            <p:cNvSpPr txBox="1"/>
            <p:nvPr/>
          </p:nvSpPr>
          <p:spPr>
            <a:xfrm>
              <a:off x="2188019" y="2140535"/>
              <a:ext cx="1802492" cy="25869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200" b="0" i="0" u="none" strike="noStrike" kern="0" cap="none" spc="0" normalizeH="0" baseline="0" noProof="0" dirty="0">
                  <a:ln>
                    <a:noFill/>
                  </a:ln>
                  <a:solidFill>
                    <a:srgbClr val="CC9900"/>
                  </a:solidFill>
                  <a:effectLst/>
                  <a:uLnTx/>
                  <a:uFillTx/>
                  <a:latin typeface="Arial" panose="020B0604020202020204" pitchFamily="34" charset="0"/>
                  <a:ea typeface="+mn-ea"/>
                  <a:cs typeface="Arial" panose="020B0604020202020204" pitchFamily="34" charset="0"/>
                </a:rPr>
                <a:t>только</a:t>
              </a:r>
              <a:r>
                <a:rPr kumimoji="0" lang="ru-RU" sz="1200" b="1" i="1" u="none" strike="noStrike" kern="0" cap="none" spc="0" normalizeH="0" baseline="0" noProof="0" dirty="0">
                  <a:ln>
                    <a:noFill/>
                  </a:ln>
                  <a:solidFill>
                    <a:srgbClr val="CC9900"/>
                  </a:solidFill>
                  <a:effectLst/>
                  <a:uLnTx/>
                  <a:uFillTx/>
                  <a:latin typeface="Arial" panose="020B0604020202020204" pitchFamily="34" charset="0"/>
                  <a:ea typeface="+mn-ea"/>
                  <a:cs typeface="Arial" panose="020B0604020202020204" pitchFamily="34" charset="0"/>
                </a:rPr>
                <a:t> ATM: </a:t>
              </a:r>
              <a:r>
                <a:rPr kumimoji="0" lang="ru-RU" sz="1200" b="1" i="0" u="none" strike="noStrike" kern="0" cap="none" spc="0" normalizeH="0" baseline="0" noProof="0" dirty="0">
                  <a:ln>
                    <a:noFill/>
                  </a:ln>
                  <a:solidFill>
                    <a:srgbClr val="CC9900"/>
                  </a:solidFill>
                  <a:effectLst/>
                  <a:uLnTx/>
                  <a:uFillTx/>
                  <a:latin typeface="Arial" panose="020B0604020202020204" pitchFamily="34" charset="0"/>
                  <a:ea typeface="+mn-ea"/>
                  <a:cs typeface="Arial" panose="020B0604020202020204" pitchFamily="34" charset="0"/>
                </a:rPr>
                <a:t>5,9 %</a:t>
              </a:r>
              <a:endParaRPr kumimoji="0" lang="en-GB" sz="1200" b="1" i="0" u="none" strike="noStrike" kern="0" cap="none" spc="0" normalizeH="0" baseline="30000" noProof="0" dirty="0">
                <a:ln>
                  <a:noFill/>
                </a:ln>
                <a:solidFill>
                  <a:srgbClr val="CC9900"/>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5596F115-4DB5-0EFE-F0A5-4271526FEB4A}"/>
                </a:ext>
              </a:extLst>
            </p:cNvPr>
            <p:cNvSpPr txBox="1"/>
            <p:nvPr/>
          </p:nvSpPr>
          <p:spPr>
            <a:xfrm>
              <a:off x="2267021" y="2612656"/>
              <a:ext cx="2316630" cy="25869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200" b="0" i="0" u="none" strike="noStrike" kern="0" cap="none" spc="0" normalizeH="0" baseline="0" noProof="0" dirty="0">
                  <a:ln>
                    <a:noFill/>
                  </a:ln>
                  <a:solidFill>
                    <a:srgbClr val="2E7B7D">
                      <a:lumMod val="60000"/>
                      <a:lumOff val="40000"/>
                    </a:srgbClr>
                  </a:solidFill>
                  <a:effectLst/>
                  <a:uLnTx/>
                  <a:uFillTx/>
                  <a:latin typeface="Arial" panose="020B0604020202020204" pitchFamily="34" charset="0"/>
                  <a:ea typeface="+mn-ea"/>
                  <a:cs typeface="Arial" panose="020B0604020202020204" pitchFamily="34" charset="0"/>
                </a:rPr>
                <a:t>только</a:t>
              </a:r>
              <a:r>
                <a:rPr kumimoji="0" lang="ru-RU" sz="1200" b="1" i="1" u="none" strike="noStrike" kern="0" cap="none" spc="0" normalizeH="0" baseline="0" noProof="0" dirty="0">
                  <a:ln>
                    <a:noFill/>
                  </a:ln>
                  <a:solidFill>
                    <a:srgbClr val="2E7B7D">
                      <a:lumMod val="60000"/>
                      <a:lumOff val="40000"/>
                    </a:srgbClr>
                  </a:solidFill>
                  <a:effectLst/>
                  <a:uLnTx/>
                  <a:uFillTx/>
                  <a:latin typeface="Arial" panose="020B0604020202020204" pitchFamily="34" charset="0"/>
                  <a:ea typeface="+mn-ea"/>
                  <a:cs typeface="Arial" panose="020B0604020202020204" pitchFamily="34" charset="0"/>
                </a:rPr>
                <a:t> CDK12: </a:t>
              </a:r>
              <a:r>
                <a:rPr kumimoji="0" lang="ru-RU" sz="1200" b="1" i="0" u="none" strike="noStrike" kern="0" cap="none" spc="0" normalizeH="0" baseline="0" noProof="0" dirty="0">
                  <a:ln>
                    <a:noFill/>
                  </a:ln>
                  <a:solidFill>
                    <a:srgbClr val="2E7B7D">
                      <a:lumMod val="60000"/>
                      <a:lumOff val="40000"/>
                    </a:srgbClr>
                  </a:solidFill>
                  <a:effectLst/>
                  <a:uLnTx/>
                  <a:uFillTx/>
                  <a:latin typeface="Arial" panose="020B0604020202020204" pitchFamily="34" charset="0"/>
                  <a:ea typeface="+mn-ea"/>
                  <a:cs typeface="Arial" panose="020B0604020202020204" pitchFamily="34" charset="0"/>
                </a:rPr>
                <a:t>6,3 %</a:t>
              </a:r>
              <a:endParaRPr kumimoji="0" lang="en-GB" sz="1200" b="1" i="0" u="none" strike="noStrike" kern="0" cap="none" spc="0" normalizeH="0" baseline="30000" noProof="0" dirty="0">
                <a:ln>
                  <a:noFill/>
                </a:ln>
                <a:solidFill>
                  <a:srgbClr val="2E7B7D">
                    <a:lumMod val="60000"/>
                    <a:lumOff val="40000"/>
                  </a:srgbClr>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DF263DB1-9935-510D-5CFB-7A610EEA6DBD}"/>
                </a:ext>
              </a:extLst>
            </p:cNvPr>
            <p:cNvSpPr txBox="1"/>
            <p:nvPr/>
          </p:nvSpPr>
          <p:spPr>
            <a:xfrm>
              <a:off x="2491463" y="2970858"/>
              <a:ext cx="2134783" cy="25869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200" b="0" i="0" u="none" strike="noStrike" kern="0" cap="none" spc="0" normalizeH="0" baseline="0" noProof="0" dirty="0">
                  <a:ln>
                    <a:noFill/>
                  </a:ln>
                  <a:solidFill>
                    <a:srgbClr val="3399FF"/>
                  </a:solidFill>
                  <a:effectLst/>
                  <a:uLnTx/>
                  <a:uFillTx/>
                  <a:latin typeface="Arial" panose="020B0604020202020204" pitchFamily="34" charset="0"/>
                  <a:ea typeface="+mn-ea"/>
                  <a:cs typeface="Arial" panose="020B0604020202020204" pitchFamily="34" charset="0"/>
                </a:rPr>
                <a:t>только </a:t>
              </a:r>
              <a:r>
                <a:rPr kumimoji="0" lang="ru-RU" sz="1200" b="1" i="1" u="none" strike="noStrike" kern="0" cap="none" spc="0" normalizeH="0" baseline="0" noProof="0" dirty="0">
                  <a:ln>
                    <a:noFill/>
                  </a:ln>
                  <a:solidFill>
                    <a:srgbClr val="3399FF"/>
                  </a:solidFill>
                  <a:effectLst/>
                  <a:uLnTx/>
                  <a:uFillTx/>
                  <a:latin typeface="Arial" panose="020B0604020202020204" pitchFamily="34" charset="0"/>
                  <a:ea typeface="+mn-ea"/>
                  <a:cs typeface="Arial" panose="020B0604020202020204" pitchFamily="34" charset="0"/>
                </a:rPr>
                <a:t>CHEK2: </a:t>
              </a:r>
              <a:r>
                <a:rPr kumimoji="0" lang="ru-RU" sz="1200" b="1" i="0" u="none" strike="noStrike" kern="0" cap="none" spc="0" normalizeH="0" baseline="0" noProof="0" dirty="0">
                  <a:ln>
                    <a:noFill/>
                  </a:ln>
                  <a:solidFill>
                    <a:srgbClr val="99CCFF">
                      <a:lumMod val="75000"/>
                    </a:srgbClr>
                  </a:solidFill>
                  <a:effectLst/>
                  <a:uLnTx/>
                  <a:uFillTx/>
                  <a:latin typeface="Arial" panose="020B0604020202020204" pitchFamily="34" charset="0"/>
                  <a:ea typeface="+mn-ea"/>
                  <a:cs typeface="Arial" panose="020B0604020202020204" pitchFamily="34" charset="0"/>
                </a:rPr>
                <a:t>1,2 %</a:t>
              </a:r>
              <a:endParaRPr kumimoji="0" lang="en-GB" sz="1200" b="1" i="0" u="none" strike="noStrike" kern="0" cap="none" spc="0" normalizeH="0" baseline="30000" noProof="0" dirty="0">
                <a:ln>
                  <a:noFill/>
                </a:ln>
                <a:solidFill>
                  <a:srgbClr val="99CCFF">
                    <a:lumMod val="75000"/>
                  </a:srgbClr>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0ACBE546-3A2B-5FDB-0CA6-3B142BF73FE0}"/>
                </a:ext>
              </a:extLst>
            </p:cNvPr>
            <p:cNvSpPr txBox="1"/>
            <p:nvPr/>
          </p:nvSpPr>
          <p:spPr>
            <a:xfrm>
              <a:off x="2470684" y="3119964"/>
              <a:ext cx="2316632" cy="25869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200" b="0" i="0" u="none" strike="noStrike" kern="0" cap="none" spc="0" normalizeH="0" baseline="0" noProof="0" dirty="0">
                  <a:ln>
                    <a:noFill/>
                  </a:ln>
                  <a:solidFill>
                    <a:srgbClr val="323F4F"/>
                  </a:solidFill>
                  <a:effectLst/>
                  <a:uLnTx/>
                  <a:uFillTx/>
                  <a:latin typeface="Arial" panose="020B0604020202020204" pitchFamily="34" charset="0"/>
                  <a:ea typeface="+mn-ea"/>
                  <a:cs typeface="Arial" panose="020B0604020202020204" pitchFamily="34" charset="0"/>
                </a:rPr>
                <a:t>только</a:t>
              </a:r>
              <a:r>
                <a:rPr kumimoji="0" lang="ru-RU" sz="1200" b="1" i="1" u="none" strike="noStrike" kern="0" cap="none" spc="0" normalizeH="0" baseline="0" noProof="0" dirty="0">
                  <a:ln>
                    <a:noFill/>
                  </a:ln>
                  <a:solidFill>
                    <a:srgbClr val="323F4F"/>
                  </a:solidFill>
                  <a:effectLst/>
                  <a:uLnTx/>
                  <a:uFillTx/>
                  <a:latin typeface="Arial" panose="020B0604020202020204" pitchFamily="34" charset="0"/>
                  <a:ea typeface="+mn-ea"/>
                  <a:cs typeface="Arial" panose="020B0604020202020204" pitchFamily="34" charset="0"/>
                </a:rPr>
                <a:t> PPP2R2A: </a:t>
              </a:r>
              <a:r>
                <a:rPr kumimoji="0" lang="ru-RU" sz="1200" b="1" i="0" u="none" strike="noStrike" kern="0" cap="none" spc="0" normalizeH="0" baseline="0" noProof="0" dirty="0">
                  <a:ln>
                    <a:noFill/>
                  </a:ln>
                  <a:solidFill>
                    <a:srgbClr val="323F4F"/>
                  </a:solidFill>
                  <a:effectLst/>
                  <a:uLnTx/>
                  <a:uFillTx/>
                  <a:latin typeface="Arial" panose="020B0604020202020204" pitchFamily="34" charset="0"/>
                  <a:ea typeface="+mn-ea"/>
                  <a:cs typeface="Arial" panose="020B0604020202020204" pitchFamily="34" charset="0"/>
                </a:rPr>
                <a:t>1,0 %</a:t>
              </a:r>
              <a:endParaRPr kumimoji="0" lang="en-GB" sz="1200" b="1" i="0" u="none" strike="noStrike" kern="0" cap="none" spc="0" normalizeH="0" baseline="30000" noProof="0" dirty="0">
                <a:ln>
                  <a:noFill/>
                </a:ln>
                <a:solidFill>
                  <a:srgbClr val="323F4F"/>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4D4069FD-1020-79FD-37E5-68D4C56872B9}"/>
                </a:ext>
              </a:extLst>
            </p:cNvPr>
            <p:cNvSpPr txBox="1"/>
            <p:nvPr/>
          </p:nvSpPr>
          <p:spPr>
            <a:xfrm>
              <a:off x="2935129" y="3267488"/>
              <a:ext cx="2440156" cy="43115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56DFFF"/>
                  </a:solidFill>
                  <a:effectLst/>
                  <a:uLnTx/>
                  <a:uFillTx/>
                  <a:latin typeface="Arial" panose="020B0604020202020204" pitchFamily="34" charset="0"/>
                  <a:ea typeface="+mn-ea"/>
                  <a:cs typeface="Arial" panose="020B0604020202020204" pitchFamily="34" charset="0"/>
                </a:rPr>
                <a:t>Гены</a:t>
              </a:r>
              <a:r>
                <a:rPr kumimoji="0" lang="ru-RU" sz="1200" b="1" i="0" u="none" strike="noStrike" kern="0" cap="none" spc="0" normalizeH="0" baseline="0" noProof="0" dirty="0">
                  <a:ln>
                    <a:noFill/>
                  </a:ln>
                  <a:solidFill>
                    <a:srgbClr val="00BAE5">
                      <a:lumMod val="60000"/>
                      <a:lumOff val="40000"/>
                    </a:srgbClr>
                  </a:solidFill>
                  <a:effectLst/>
                  <a:uLnTx/>
                  <a:uFillTx/>
                  <a:latin typeface="Arial" panose="020B0604020202020204" pitchFamily="34" charset="0"/>
                  <a:ea typeface="+mn-ea"/>
                  <a:cs typeface="Arial" panose="020B0604020202020204" pitchFamily="34" charset="0"/>
                </a:rPr>
                <a:t> с низкой частотой </a:t>
              </a:r>
              <a:br>
                <a:rPr kumimoji="0" lang="en-US" sz="1200" b="1" i="0" u="none" strike="noStrike" kern="0" cap="none" spc="0" normalizeH="0" baseline="0" noProof="0" dirty="0">
                  <a:ln>
                    <a:noFill/>
                  </a:ln>
                  <a:solidFill>
                    <a:srgbClr val="00BAE5">
                      <a:lumMod val="60000"/>
                      <a:lumOff val="40000"/>
                    </a:srgbClr>
                  </a:solidFill>
                  <a:effectLst/>
                  <a:uLnTx/>
                  <a:uFillTx/>
                  <a:latin typeface="Arial" panose="020B0604020202020204" pitchFamily="34" charset="0"/>
                  <a:ea typeface="+mn-ea"/>
                  <a:cs typeface="Arial" panose="020B0604020202020204" pitchFamily="34" charset="0"/>
                </a:rPr>
              </a:br>
              <a:r>
                <a:rPr kumimoji="0" lang="ru-RU" sz="1200" b="1" i="0" u="none" strike="noStrike" kern="0" cap="none" spc="0" normalizeH="0" baseline="0" noProof="0" dirty="0">
                  <a:ln>
                    <a:noFill/>
                  </a:ln>
                  <a:solidFill>
                    <a:srgbClr val="00BAE5">
                      <a:lumMod val="60000"/>
                      <a:lumOff val="40000"/>
                    </a:srgbClr>
                  </a:solidFill>
                  <a:effectLst/>
                  <a:uLnTx/>
                  <a:uFillTx/>
                  <a:latin typeface="Arial" panose="020B0604020202020204" pitchFamily="34" charset="0"/>
                  <a:ea typeface="+mn-ea"/>
                  <a:cs typeface="Arial" panose="020B0604020202020204" pitchFamily="34" charset="0"/>
                </a:rPr>
                <a:t>встречаемости: 1,7 %</a:t>
              </a:r>
              <a:endParaRPr kumimoji="0" lang="en-GB" sz="1200" b="1" i="0" u="none" strike="noStrike" kern="0" cap="none" spc="0" normalizeH="0" baseline="30000" noProof="0" dirty="0">
                <a:ln>
                  <a:noFill/>
                </a:ln>
                <a:solidFill>
                  <a:srgbClr val="00BAE5">
                    <a:lumMod val="60000"/>
                    <a:lumOff val="40000"/>
                  </a:srgbClr>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5BDBA83D-7ACF-FEED-04D9-35AA1463D1CA}"/>
                </a:ext>
              </a:extLst>
            </p:cNvPr>
            <p:cNvSpPr txBox="1"/>
            <p:nvPr/>
          </p:nvSpPr>
          <p:spPr>
            <a:xfrm>
              <a:off x="2868715" y="3598186"/>
              <a:ext cx="1723490" cy="43115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235C5E"/>
                  </a:solidFill>
                  <a:effectLst/>
                  <a:uLnTx/>
                  <a:uFillTx/>
                  <a:latin typeface="Arial" panose="020B0604020202020204" pitchFamily="34" charset="0"/>
                  <a:ea typeface="+mn-ea"/>
                  <a:cs typeface="Arial" panose="020B0604020202020204" pitchFamily="34" charset="0"/>
                </a:rPr>
                <a:t>Сочетанные мутации </a:t>
              </a:r>
              <a:r>
                <a:rPr kumimoji="0" lang="ru-RU" sz="1200" b="1" i="0" u="none" strike="noStrike" kern="0" cap="none" spc="0" normalizeH="0" baseline="0" noProof="0" dirty="0">
                  <a:ln>
                    <a:noFill/>
                  </a:ln>
                  <a:solidFill>
                    <a:srgbClr val="2E7B7D">
                      <a:lumMod val="75000"/>
                    </a:srgbClr>
                  </a:solidFill>
                  <a:effectLst/>
                  <a:uLnTx/>
                  <a:uFillTx/>
                  <a:latin typeface="Arial" panose="020B0604020202020204" pitchFamily="34" charset="0"/>
                  <a:ea typeface="+mn-ea"/>
                  <a:cs typeface="Arial" panose="020B0604020202020204" pitchFamily="34" charset="0"/>
                </a:rPr>
                <a:t>генов</a:t>
              </a:r>
              <a:r>
                <a:rPr kumimoji="0" lang="ru-RU" sz="1200" b="0" i="0" u="none" strike="noStrike" kern="0" cap="none" spc="0" normalizeH="0" baseline="0" noProof="0" dirty="0">
                  <a:ln>
                    <a:noFill/>
                  </a:ln>
                  <a:solidFill>
                    <a:srgbClr val="2E7B7D">
                      <a:lumMod val="75000"/>
                    </a:srgbClr>
                  </a:solidFill>
                  <a:effectLst/>
                  <a:uLnTx/>
                  <a:uFillTx/>
                  <a:latin typeface="Arial" panose="020B0604020202020204" pitchFamily="34" charset="0"/>
                  <a:ea typeface="+mn-ea"/>
                  <a:cs typeface="Arial" panose="020B0604020202020204" pitchFamily="34" charset="0"/>
                </a:rPr>
                <a:t>:</a:t>
              </a:r>
              <a:r>
                <a:rPr kumimoji="0" lang="ru-RU" sz="1200" b="1" i="0" u="none" strike="noStrike" kern="0" cap="none" spc="0" normalizeH="0" baseline="0" noProof="0" dirty="0">
                  <a:ln>
                    <a:noFill/>
                  </a:ln>
                  <a:solidFill>
                    <a:srgbClr val="2E7B7D">
                      <a:lumMod val="75000"/>
                    </a:srgbClr>
                  </a:solidFill>
                  <a:effectLst/>
                  <a:uLnTx/>
                  <a:uFillTx/>
                  <a:latin typeface="Arial" panose="020B0604020202020204" pitchFamily="34" charset="0"/>
                  <a:ea typeface="+mn-ea"/>
                  <a:cs typeface="Arial" panose="020B0604020202020204" pitchFamily="34" charset="0"/>
                </a:rPr>
                <a:t> 2,1 %</a:t>
              </a:r>
              <a:endParaRPr kumimoji="0" lang="en-GB" sz="1200" b="1" i="0" u="none" strike="noStrike" kern="0" cap="none" spc="0" normalizeH="0" baseline="30000" noProof="0" dirty="0">
                <a:ln>
                  <a:noFill/>
                </a:ln>
                <a:solidFill>
                  <a:srgbClr val="2E7B7D">
                    <a:lumMod val="75000"/>
                  </a:srgbClr>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89F1E68A-DF40-7041-8373-F97F9554CE30}"/>
                </a:ext>
              </a:extLst>
            </p:cNvPr>
            <p:cNvSpPr txBox="1"/>
            <p:nvPr/>
          </p:nvSpPr>
          <p:spPr>
            <a:xfrm>
              <a:off x="787172" y="3680124"/>
              <a:ext cx="1354190" cy="119703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Мутаций генов HRR не выявлено: </a:t>
              </a:r>
              <a:r>
                <a:rPr kumimoji="0" lang="ru-RU" sz="14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2,1% </a:t>
              </a:r>
              <a:br>
                <a:rPr kumimoji="0" lang="en-GB"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endParaRPr kumimoji="0" lang="en-GB" sz="1400" b="1" i="0" u="none" strike="noStrike" kern="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9" name="TextBox 18">
            <a:extLst>
              <a:ext uri="{FF2B5EF4-FFF2-40B4-BE49-F238E27FC236}">
                <a16:creationId xmlns:a16="http://schemas.microsoft.com/office/drawing/2014/main" id="{72AE2566-4E0B-BF25-CE71-7EFF8C15DA88}"/>
              </a:ext>
            </a:extLst>
          </p:cNvPr>
          <p:cNvSpPr txBox="1"/>
          <p:nvPr/>
        </p:nvSpPr>
        <p:spPr>
          <a:xfrm>
            <a:off x="273996" y="1184208"/>
            <a:ext cx="5891574" cy="861774"/>
          </a:xfrm>
          <a:prstGeom prst="rect">
            <a:avLst/>
          </a:prstGeom>
          <a:noFill/>
        </p:spPr>
        <p:txBody>
          <a:bodyPr wrap="square"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t>Исследование PROpel</a:t>
            </a:r>
            <a:r>
              <a:rPr kumimoji="0" lang="ru-RU" sz="1200" b="1" i="0" u="none" strike="noStrike" kern="1200" cap="none" spc="0" normalizeH="0" baseline="0" noProof="0" dirty="0">
                <a:ln>
                  <a:noFill/>
                </a:ln>
                <a:solidFill>
                  <a:srgbClr val="262626"/>
                </a:solidFill>
                <a:effectLst/>
                <a:uLnTx/>
                <a:uFillTx/>
                <a:latin typeface="Arial" panose="020B0604020202020204" pitchFamily="34" charset="0"/>
                <a:ea typeface="+mn-ea"/>
                <a:cs typeface="Arial" panose="020B0604020202020204" pitchFamily="34" charset="0"/>
              </a:rPr>
              <a:t>: </a:t>
            </a:r>
            <a:r>
              <a:rPr lang="ru-RU" sz="1200" b="1" dirty="0">
                <a:solidFill>
                  <a:srgbClr val="262626"/>
                </a:solidFill>
                <a:latin typeface="Arial" panose="020B0604020202020204" pitchFamily="34" charset="0"/>
                <a:cs typeface="Arial" panose="020B0604020202020204" pitchFamily="34" charset="0"/>
              </a:rPr>
              <a:t>Частота</a:t>
            </a:r>
            <a:r>
              <a:rPr kumimoji="0" lang="ru-RU" sz="1200" b="1" i="0" u="none" strike="noStrike" kern="1200" cap="none" spc="0" normalizeH="0" baseline="0" noProof="0" dirty="0">
                <a:ln>
                  <a:noFill/>
                </a:ln>
                <a:solidFill>
                  <a:srgbClr val="262626"/>
                </a:solidFill>
                <a:effectLst/>
                <a:uLnTx/>
                <a:uFillTx/>
                <a:latin typeface="Arial" panose="020B0604020202020204" pitchFamily="34" charset="0"/>
                <a:ea typeface="+mn-ea"/>
                <a:cs typeface="Arial" panose="020B0604020202020204" pitchFamily="34" charset="0"/>
              </a:rPr>
              <a:t> мутаций генов HRR на основании комплексного тестирования в популяции пациентов с </a:t>
            </a:r>
            <a:r>
              <a:rPr kumimoji="0" lang="ru-RU" sz="1200" b="1" i="0" u="none" strike="noStrike" kern="1200" cap="none" spc="0" normalizeH="0" baseline="0" noProof="0" dirty="0" err="1">
                <a:ln>
                  <a:noFill/>
                </a:ln>
                <a:solidFill>
                  <a:srgbClr val="262626"/>
                </a:solidFill>
                <a:effectLst/>
                <a:uLnTx/>
                <a:uFillTx/>
                <a:latin typeface="Arial" panose="020B0604020202020204" pitchFamily="34" charset="0"/>
                <a:ea typeface="+mn-ea"/>
                <a:cs typeface="Arial" panose="020B0604020202020204" pitchFamily="34" charset="0"/>
              </a:rPr>
              <a:t>мКРРПЖ</a:t>
            </a:r>
            <a:r>
              <a:rPr lang="ru-RU" sz="1200" b="1" dirty="0">
                <a:solidFill>
                  <a:srgbClr val="262626"/>
                </a:solidFill>
                <a:latin typeface="Arial" panose="020B0604020202020204" pitchFamily="34" charset="0"/>
                <a:cs typeface="Arial" panose="020B0604020202020204" pitchFamily="34" charset="0"/>
              </a:rPr>
              <a:t> - </a:t>
            </a:r>
            <a:r>
              <a:rPr kumimoji="0" lang="ru-RU" sz="1200" b="1" i="0" u="none" strike="noStrike" kern="1200" cap="none" spc="0" normalizeH="0" baseline="0" noProof="0" dirty="0">
                <a:ln>
                  <a:noFill/>
                </a:ln>
                <a:solidFill>
                  <a:srgbClr val="990064"/>
                </a:solidFill>
                <a:effectLst/>
                <a:uLnTx/>
                <a:uFillTx/>
                <a:latin typeface="Arial" panose="020B0604020202020204" pitchFamily="34" charset="0"/>
                <a:ea typeface="+mn-ea"/>
                <a:cs typeface="Arial" panose="020B0604020202020204" pitchFamily="34" charset="0"/>
              </a:rPr>
              <a:t>29%</a:t>
            </a:r>
          </a:p>
          <a:p>
            <a:pPr marL="0" marR="0" lvl="0" indent="0" defTabSz="914400" rtl="0" eaLnBrk="1" fontAlgn="auto" latinLnBrk="0" hangingPunct="1">
              <a:lnSpc>
                <a:spcPct val="100000"/>
              </a:lnSpc>
              <a:spcBef>
                <a:spcPts val="0"/>
              </a:spcBef>
              <a:spcAft>
                <a:spcPts val="0"/>
              </a:spcAft>
              <a:buClrTx/>
              <a:buSzTx/>
              <a:buFontTx/>
              <a:buNone/>
              <a:tabLst/>
              <a:defRPr/>
            </a:pPr>
            <a:br>
              <a:rPr kumimoji="0" lang="en-GB" sz="1200" b="1" i="0" u="none" strike="noStrike" kern="1200" cap="none" spc="0" normalizeH="0" baseline="0" noProof="0" dirty="0">
                <a:ln>
                  <a:noFill/>
                </a:ln>
                <a:solidFill>
                  <a:srgbClr val="262626"/>
                </a:solidFill>
                <a:effectLst/>
                <a:uLnTx/>
                <a:uFillTx/>
                <a:latin typeface="Arial" panose="020B0604020202020204" pitchFamily="34" charset="0"/>
                <a:ea typeface="+mn-ea"/>
                <a:cs typeface="Arial" panose="020B0604020202020204" pitchFamily="34" charset="0"/>
              </a:rPr>
            </a:br>
            <a:r>
              <a:rPr kumimoji="0" lang="ru-RU" sz="1200" b="1" i="0" u="none" strike="noStrike" kern="1200" cap="none" spc="0" normalizeH="0" baseline="0" noProof="0" dirty="0">
                <a:ln>
                  <a:noFill/>
                </a:ln>
                <a:solidFill>
                  <a:srgbClr val="262626"/>
                </a:solidFill>
                <a:effectLst/>
                <a:uLnTx/>
                <a:uFillTx/>
                <a:latin typeface="Arial" panose="020B0604020202020204" pitchFamily="34" charset="0"/>
                <a:ea typeface="+mn-ea"/>
                <a:cs typeface="Arial" panose="020B0604020202020204" pitchFamily="34" charset="0"/>
              </a:rPr>
              <a:t>(n = 778, пациенты с известным результатом комплексного тестирования)</a:t>
            </a:r>
            <a:r>
              <a:rPr kumimoji="0" lang="ru-RU" sz="1200" b="1" i="0" u="none" strike="noStrike" kern="1200" cap="none" spc="0" normalizeH="0" baseline="30000" noProof="0" dirty="0">
                <a:ln>
                  <a:noFill/>
                </a:ln>
                <a:solidFill>
                  <a:srgbClr val="262626"/>
                </a:solidFill>
                <a:effectLst/>
                <a:uLnTx/>
                <a:uFillTx/>
                <a:latin typeface="Arial" panose="020B0604020202020204" pitchFamily="34" charset="0"/>
                <a:ea typeface="+mn-ea"/>
                <a:cs typeface="Arial" panose="020B0604020202020204" pitchFamily="34" charset="0"/>
              </a:rPr>
              <a:t>1</a:t>
            </a:r>
          </a:p>
        </p:txBody>
      </p:sp>
      <p:cxnSp>
        <p:nvCxnSpPr>
          <p:cNvPr id="21" name="Straight Connector 20">
            <a:extLst>
              <a:ext uri="{FF2B5EF4-FFF2-40B4-BE49-F238E27FC236}">
                <a16:creationId xmlns:a16="http://schemas.microsoft.com/office/drawing/2014/main" id="{57A53B94-76E7-4228-8530-7FC25A82F69F}"/>
              </a:ext>
            </a:extLst>
          </p:cNvPr>
          <p:cNvCxnSpPr>
            <a:cxnSpLocks/>
          </p:cNvCxnSpPr>
          <p:nvPr/>
        </p:nvCxnSpPr>
        <p:spPr>
          <a:xfrm>
            <a:off x="6109630" y="1215207"/>
            <a:ext cx="7494" cy="476737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DBE80DF7-7779-EF23-4DA0-7A19FF5E0A98}"/>
              </a:ext>
            </a:extLst>
          </p:cNvPr>
          <p:cNvGrpSpPr/>
          <p:nvPr/>
        </p:nvGrpSpPr>
        <p:grpSpPr>
          <a:xfrm>
            <a:off x="435711" y="2465517"/>
            <a:ext cx="4992831" cy="3363193"/>
            <a:chOff x="77274" y="5426103"/>
            <a:chExt cx="4725977" cy="2810821"/>
          </a:xfrm>
        </p:grpSpPr>
        <p:grpSp>
          <p:nvGrpSpPr>
            <p:cNvPr id="38" name="Group 37">
              <a:extLst>
                <a:ext uri="{FF2B5EF4-FFF2-40B4-BE49-F238E27FC236}">
                  <a16:creationId xmlns:a16="http://schemas.microsoft.com/office/drawing/2014/main" id="{E7F1518E-466F-0887-A640-F22D5EAA0972}"/>
                </a:ext>
              </a:extLst>
            </p:cNvPr>
            <p:cNvGrpSpPr/>
            <p:nvPr/>
          </p:nvGrpSpPr>
          <p:grpSpPr>
            <a:xfrm>
              <a:off x="77274" y="5426103"/>
              <a:ext cx="4725977" cy="2810821"/>
              <a:chOff x="77274" y="5426103"/>
              <a:chExt cx="4725977" cy="2810821"/>
            </a:xfrm>
          </p:grpSpPr>
          <p:graphicFrame>
            <p:nvGraphicFramePr>
              <p:cNvPr id="40" name="Chart 39">
                <a:extLst>
                  <a:ext uri="{FF2B5EF4-FFF2-40B4-BE49-F238E27FC236}">
                    <a16:creationId xmlns:a16="http://schemas.microsoft.com/office/drawing/2014/main" id="{D9DA27D6-2769-3B35-63FD-41F782C3BA4A}"/>
                  </a:ext>
                </a:extLst>
              </p:cNvPr>
              <p:cNvGraphicFramePr/>
              <p:nvPr>
                <p:extLst>
                  <p:ext uri="{D42A27DB-BD31-4B8C-83A1-F6EECF244321}">
                    <p14:modId xmlns:p14="http://schemas.microsoft.com/office/powerpoint/2010/main" val="3803757862"/>
                  </p:ext>
                </p:extLst>
              </p:nvPr>
            </p:nvGraphicFramePr>
            <p:xfrm>
              <a:off x="77274" y="5587066"/>
              <a:ext cx="3604135" cy="2649858"/>
            </p:xfrm>
            <a:graphic>
              <a:graphicData uri="http://schemas.openxmlformats.org/drawingml/2006/chart">
                <c:chart xmlns:c="http://schemas.openxmlformats.org/drawingml/2006/chart" xmlns:r="http://schemas.openxmlformats.org/officeDocument/2006/relationships" r:id="rId4"/>
              </a:graphicData>
            </a:graphic>
          </p:graphicFrame>
          <p:sp>
            <p:nvSpPr>
              <p:cNvPr id="41" name="Rectangle 110">
                <a:extLst>
                  <a:ext uri="{FF2B5EF4-FFF2-40B4-BE49-F238E27FC236}">
                    <a16:creationId xmlns:a16="http://schemas.microsoft.com/office/drawing/2014/main" id="{B1FC81B4-5802-44F2-E8F5-561686CCCD93}"/>
                  </a:ext>
                </a:extLst>
              </p:cNvPr>
              <p:cNvSpPr>
                <a:spLocks noChangeArrowheads="1"/>
              </p:cNvSpPr>
              <p:nvPr/>
            </p:nvSpPr>
            <p:spPr bwMode="auto">
              <a:xfrm>
                <a:off x="2168431" y="5426103"/>
                <a:ext cx="1379247" cy="206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rtlCol="0"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8" rtl="0" eaLnBrk="0" fontAlgn="base" latinLnBrk="0" hangingPunct="0">
                  <a:lnSpc>
                    <a:spcPct val="100000"/>
                  </a:lnSpc>
                  <a:spcBef>
                    <a:spcPct val="0"/>
                  </a:spcBef>
                  <a:spcAft>
                    <a:spcPct val="0"/>
                  </a:spcAft>
                  <a:buClrTx/>
                  <a:buSzTx/>
                  <a:buFontTx/>
                  <a:buNone/>
                  <a:tabLst/>
                  <a:defRPr/>
                </a:pPr>
                <a:r>
                  <a:rPr kumimoji="0" lang="ru-RU" sz="1200" b="0" i="0" u="none" strike="noStrike" kern="0" cap="none" spc="0" normalizeH="0" baseline="0" noProof="0" dirty="0">
                    <a:ln>
                      <a:noFill/>
                    </a:ln>
                    <a:solidFill>
                      <a:srgbClr val="002060"/>
                    </a:solidFill>
                    <a:effectLst/>
                    <a:uLnTx/>
                    <a:uFillTx/>
                    <a:latin typeface="Arial" panose="020B0604020202020204" pitchFamily="34" charset="0"/>
                    <a:ea typeface="+mn-ea"/>
                    <a:cs typeface="+mn-cs"/>
                  </a:rPr>
                  <a:t>только</a:t>
                </a:r>
                <a:r>
                  <a:rPr kumimoji="0" lang="ru-RU" sz="1200" b="1" i="1" u="none" strike="noStrike" kern="0" cap="none" spc="0" normalizeH="0" baseline="0" noProof="0" dirty="0">
                    <a:ln>
                      <a:noFill/>
                    </a:ln>
                    <a:solidFill>
                      <a:srgbClr val="002060"/>
                    </a:solidFill>
                    <a:effectLst/>
                    <a:uLnTx/>
                    <a:uFillTx/>
                    <a:latin typeface="Arial" panose="020B0604020202020204" pitchFamily="34" charset="0"/>
                    <a:ea typeface="+mn-ea"/>
                    <a:cs typeface="+mn-cs"/>
                  </a:rPr>
                  <a:t> BRCA2</a:t>
                </a:r>
                <a:r>
                  <a:rPr kumimoji="0" lang="ru-RU" sz="1200" b="0" i="0" u="none" strike="noStrike" kern="0" cap="none" spc="0" normalizeH="0" baseline="0" noProof="0" dirty="0">
                    <a:ln>
                      <a:noFill/>
                    </a:ln>
                    <a:solidFill>
                      <a:srgbClr val="002060"/>
                    </a:solidFill>
                    <a:effectLst/>
                    <a:uLnTx/>
                    <a:uFillTx/>
                    <a:latin typeface="Arial" panose="020B0604020202020204" pitchFamily="34" charset="0"/>
                    <a:ea typeface="+mn-ea"/>
                    <a:cs typeface="+mn-cs"/>
                  </a:rPr>
                  <a:t>: </a:t>
                </a:r>
                <a:r>
                  <a:rPr kumimoji="0" lang="ru-RU" sz="1200" b="1" i="0" u="none" strike="noStrike" kern="0" cap="none" spc="0" normalizeH="0" baseline="0" noProof="0" dirty="0">
                    <a:ln>
                      <a:noFill/>
                    </a:ln>
                    <a:solidFill>
                      <a:srgbClr val="002060"/>
                    </a:solidFill>
                    <a:effectLst/>
                    <a:uLnTx/>
                    <a:uFillTx/>
                    <a:latin typeface="Arial" panose="020B0604020202020204" pitchFamily="34" charset="0"/>
                    <a:ea typeface="+mn-ea"/>
                    <a:cs typeface="+mn-cs"/>
                  </a:rPr>
                  <a:t>7,5 % </a:t>
                </a:r>
                <a:endParaRPr kumimoji="0" lang="en-GB" altLang="en-US" sz="2800" b="1" i="0" u="none" strike="noStrike" kern="0" cap="none" spc="0" normalizeH="0" baseline="0" noProof="0" dirty="0">
                  <a:ln>
                    <a:noFill/>
                  </a:ln>
                  <a:solidFill>
                    <a:srgbClr val="002060"/>
                  </a:solidFill>
                  <a:effectLst/>
                  <a:uLnTx/>
                  <a:uFillTx/>
                  <a:latin typeface="Arial" panose="020B0604020202020204" pitchFamily="34" charset="0"/>
                  <a:ea typeface="+mn-ea"/>
                  <a:cs typeface="+mn-cs"/>
                </a:endParaRPr>
              </a:p>
            </p:txBody>
          </p:sp>
          <p:sp>
            <p:nvSpPr>
              <p:cNvPr id="42" name="Rectangle 107">
                <a:extLst>
                  <a:ext uri="{FF2B5EF4-FFF2-40B4-BE49-F238E27FC236}">
                    <a16:creationId xmlns:a16="http://schemas.microsoft.com/office/drawing/2014/main" id="{01A03382-AEFB-2051-27C2-9B18E67405F3}"/>
                  </a:ext>
                </a:extLst>
              </p:cNvPr>
              <p:cNvSpPr>
                <a:spLocks noChangeArrowheads="1"/>
              </p:cNvSpPr>
              <p:nvPr/>
            </p:nvSpPr>
            <p:spPr bwMode="auto">
              <a:xfrm>
                <a:off x="2560934" y="5594105"/>
                <a:ext cx="1186040" cy="206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rtlCol="0"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8" rtl="0" eaLnBrk="0" fontAlgn="base" latinLnBrk="0" hangingPunct="0">
                  <a:lnSpc>
                    <a:spcPct val="100000"/>
                  </a:lnSpc>
                  <a:spcBef>
                    <a:spcPct val="0"/>
                  </a:spcBef>
                  <a:spcAft>
                    <a:spcPct val="0"/>
                  </a:spcAft>
                  <a:buClrTx/>
                  <a:buSzTx/>
                  <a:buFontTx/>
                  <a:buNone/>
                  <a:tabLst/>
                  <a:defRPr/>
                </a:pPr>
                <a:r>
                  <a:rPr kumimoji="0" lang="ru-RU" sz="1200" b="0" i="0" u="none" strike="noStrike" kern="0" cap="none" spc="0" normalizeH="0" baseline="0" noProof="0" dirty="0">
                    <a:ln>
                      <a:noFill/>
                    </a:ln>
                    <a:solidFill>
                      <a:srgbClr val="68D2DF"/>
                    </a:solidFill>
                    <a:effectLst/>
                    <a:uLnTx/>
                    <a:uFillTx/>
                    <a:latin typeface="Arial" panose="020B0604020202020204" pitchFamily="34" charset="0"/>
                    <a:ea typeface="+mn-ea"/>
                    <a:cs typeface="+mn-cs"/>
                  </a:rPr>
                  <a:t>только</a:t>
                </a:r>
                <a:r>
                  <a:rPr kumimoji="0" lang="ru-RU" sz="1200" b="1" i="1" u="none" strike="noStrike" kern="0" cap="none" spc="0" normalizeH="0" baseline="0" noProof="0" dirty="0">
                    <a:ln>
                      <a:noFill/>
                    </a:ln>
                    <a:solidFill>
                      <a:srgbClr val="68D2DF"/>
                    </a:solidFill>
                    <a:effectLst/>
                    <a:uLnTx/>
                    <a:uFillTx/>
                    <a:latin typeface="Arial" panose="020B0604020202020204" pitchFamily="34" charset="0"/>
                    <a:ea typeface="+mn-ea"/>
                    <a:cs typeface="+mn-cs"/>
                  </a:rPr>
                  <a:t> BRCA1</a:t>
                </a:r>
                <a:r>
                  <a:rPr kumimoji="0" lang="ru-RU" sz="1200" b="0" i="0" u="none" strike="noStrike" kern="0" cap="none" spc="0" normalizeH="0" baseline="0" noProof="0" dirty="0">
                    <a:ln>
                      <a:noFill/>
                    </a:ln>
                    <a:solidFill>
                      <a:srgbClr val="68D2DF"/>
                    </a:solidFill>
                    <a:effectLst/>
                    <a:uLnTx/>
                    <a:uFillTx/>
                    <a:latin typeface="Arial" panose="020B0604020202020204" pitchFamily="34" charset="0"/>
                    <a:ea typeface="+mn-ea"/>
                    <a:cs typeface="+mn-cs"/>
                  </a:rPr>
                  <a:t>: </a:t>
                </a:r>
                <a:r>
                  <a:rPr kumimoji="0" lang="ru-RU" sz="1200" b="1" i="0" u="none" strike="noStrike" kern="0" cap="none" spc="0" normalizeH="0" baseline="0" noProof="0" dirty="0">
                    <a:ln>
                      <a:noFill/>
                    </a:ln>
                    <a:solidFill>
                      <a:srgbClr val="68D2DF"/>
                    </a:solidFill>
                    <a:effectLst/>
                    <a:uLnTx/>
                    <a:uFillTx/>
                    <a:latin typeface="Arial" panose="020B0604020202020204" pitchFamily="34" charset="0"/>
                    <a:ea typeface="+mn-ea"/>
                    <a:cs typeface="+mn-cs"/>
                  </a:rPr>
                  <a:t>1,2 % </a:t>
                </a:r>
                <a:endParaRPr kumimoji="0" lang="en-GB" altLang="en-US" sz="2800" b="1" i="0" u="none" strike="noStrike" kern="0" cap="none" spc="0" normalizeH="0" baseline="0" noProof="0" dirty="0">
                  <a:ln>
                    <a:noFill/>
                  </a:ln>
                  <a:solidFill>
                    <a:srgbClr val="68D2DF"/>
                  </a:solidFill>
                  <a:effectLst/>
                  <a:uLnTx/>
                  <a:uFillTx/>
                  <a:latin typeface="Arial" panose="020B0604020202020204" pitchFamily="34" charset="0"/>
                  <a:ea typeface="+mn-ea"/>
                  <a:cs typeface="+mn-cs"/>
                </a:endParaRPr>
              </a:p>
            </p:txBody>
          </p:sp>
          <p:sp>
            <p:nvSpPr>
              <p:cNvPr id="43" name="Rectangle 104">
                <a:extLst>
                  <a:ext uri="{FF2B5EF4-FFF2-40B4-BE49-F238E27FC236}">
                    <a16:creationId xmlns:a16="http://schemas.microsoft.com/office/drawing/2014/main" id="{47844921-EED6-3EF6-7A1F-CB8ED30ABB9B}"/>
                  </a:ext>
                </a:extLst>
              </p:cNvPr>
              <p:cNvSpPr>
                <a:spLocks noChangeArrowheads="1"/>
              </p:cNvSpPr>
              <p:nvPr/>
            </p:nvSpPr>
            <p:spPr bwMode="auto">
              <a:xfrm>
                <a:off x="2886689" y="5819494"/>
                <a:ext cx="1242451" cy="206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rtlCol="0"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8" rtl="0" eaLnBrk="0" fontAlgn="base" latinLnBrk="0" hangingPunct="0">
                  <a:lnSpc>
                    <a:spcPct val="100000"/>
                  </a:lnSpc>
                  <a:spcBef>
                    <a:spcPct val="0"/>
                  </a:spcBef>
                  <a:spcAft>
                    <a:spcPct val="0"/>
                  </a:spcAft>
                  <a:buClrTx/>
                  <a:buSzTx/>
                  <a:buFontTx/>
                  <a:buNone/>
                  <a:tabLst/>
                  <a:defRPr/>
                </a:pPr>
                <a:r>
                  <a:rPr kumimoji="0" lang="ru-RU" sz="1200" b="0" i="0" u="none" strike="noStrike" kern="0" cap="none" spc="0" normalizeH="0" baseline="0" noProof="0" dirty="0">
                    <a:ln>
                      <a:noFill/>
                    </a:ln>
                    <a:solidFill>
                      <a:srgbClr val="F0AB00"/>
                    </a:solidFill>
                    <a:effectLst/>
                    <a:uLnTx/>
                    <a:uFillTx/>
                    <a:latin typeface="Arial" panose="020B0604020202020204" pitchFamily="34" charset="0"/>
                    <a:ea typeface="+mn-ea"/>
                    <a:cs typeface="+mn-cs"/>
                  </a:rPr>
                  <a:t>только </a:t>
                </a:r>
                <a:r>
                  <a:rPr kumimoji="0" lang="ru-RU" sz="1200" b="1" i="1" u="none" strike="noStrike" kern="0" cap="none" spc="0" normalizeH="0" baseline="0" noProof="0" dirty="0">
                    <a:ln>
                      <a:noFill/>
                    </a:ln>
                    <a:solidFill>
                      <a:srgbClr val="F0AB00"/>
                    </a:solidFill>
                    <a:effectLst/>
                    <a:uLnTx/>
                    <a:uFillTx/>
                    <a:latin typeface="Arial" panose="020B0604020202020204" pitchFamily="34" charset="0"/>
                    <a:ea typeface="+mn-ea"/>
                    <a:cs typeface="+mn-cs"/>
                  </a:rPr>
                  <a:t>ATM</a:t>
                </a:r>
                <a:r>
                  <a:rPr kumimoji="0" lang="ru-RU" sz="1200" b="0" i="0" u="none" strike="noStrike" kern="0" cap="none" spc="0" normalizeH="0" baseline="0" noProof="0" dirty="0">
                    <a:ln>
                      <a:noFill/>
                    </a:ln>
                    <a:solidFill>
                      <a:srgbClr val="F0AB00"/>
                    </a:solidFill>
                    <a:effectLst/>
                    <a:uLnTx/>
                    <a:uFillTx/>
                    <a:latin typeface="Arial" panose="020B0604020202020204" pitchFamily="34" charset="0"/>
                    <a:ea typeface="+mn-ea"/>
                    <a:cs typeface="+mn-cs"/>
                  </a:rPr>
                  <a:t>: </a:t>
                </a:r>
                <a:r>
                  <a:rPr kumimoji="0" lang="ru-RU" sz="1200" b="1" i="0" u="none" strike="noStrike" kern="0" cap="none" spc="0" normalizeH="0" baseline="0" noProof="0" dirty="0">
                    <a:ln>
                      <a:noFill/>
                    </a:ln>
                    <a:solidFill>
                      <a:srgbClr val="F0AB00"/>
                    </a:solidFill>
                    <a:effectLst/>
                    <a:uLnTx/>
                    <a:uFillTx/>
                    <a:latin typeface="Arial" panose="020B0604020202020204" pitchFamily="34" charset="0"/>
                    <a:ea typeface="+mn-ea"/>
                    <a:cs typeface="+mn-cs"/>
                  </a:rPr>
                  <a:t>6,3 % </a:t>
                </a:r>
                <a:endParaRPr kumimoji="0" lang="en-GB" altLang="en-US" sz="2800" b="1" i="0" u="none" strike="noStrike" kern="0" cap="none" spc="0" normalizeH="0" baseline="0" noProof="0" dirty="0">
                  <a:ln>
                    <a:noFill/>
                  </a:ln>
                  <a:solidFill>
                    <a:srgbClr val="F0AB00"/>
                  </a:solidFill>
                  <a:effectLst/>
                  <a:uLnTx/>
                  <a:uFillTx/>
                  <a:latin typeface="Arial" panose="020B0604020202020204" pitchFamily="34" charset="0"/>
                  <a:ea typeface="+mn-ea"/>
                  <a:cs typeface="+mn-cs"/>
                </a:endParaRPr>
              </a:p>
            </p:txBody>
          </p:sp>
          <p:sp>
            <p:nvSpPr>
              <p:cNvPr id="44" name="Rectangle 92">
                <a:extLst>
                  <a:ext uri="{FF2B5EF4-FFF2-40B4-BE49-F238E27FC236}">
                    <a16:creationId xmlns:a16="http://schemas.microsoft.com/office/drawing/2014/main" id="{444FA62F-4FF4-4501-2165-89F76C594DFE}"/>
                  </a:ext>
                </a:extLst>
              </p:cNvPr>
              <p:cNvSpPr>
                <a:spLocks noChangeArrowheads="1"/>
              </p:cNvSpPr>
              <p:nvPr/>
            </p:nvSpPr>
            <p:spPr bwMode="auto">
              <a:xfrm>
                <a:off x="3228253" y="6168860"/>
                <a:ext cx="1348221" cy="206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rtlCol="0"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8" rtl="0" eaLnBrk="0" fontAlgn="base" latinLnBrk="0" hangingPunct="0">
                  <a:lnSpc>
                    <a:spcPct val="100000"/>
                  </a:lnSpc>
                  <a:spcBef>
                    <a:spcPct val="0"/>
                  </a:spcBef>
                  <a:spcAft>
                    <a:spcPct val="0"/>
                  </a:spcAft>
                  <a:buClrTx/>
                  <a:buSzTx/>
                  <a:buFontTx/>
                  <a:buNone/>
                  <a:tabLst/>
                  <a:defRPr/>
                </a:pPr>
                <a:r>
                  <a:rPr kumimoji="0" lang="ru-RU" sz="1200" b="0" i="0" u="none" strike="noStrike" kern="0" cap="none" spc="0" normalizeH="0" baseline="0" noProof="0" dirty="0">
                    <a:ln>
                      <a:noFill/>
                    </a:ln>
                    <a:solidFill>
                      <a:srgbClr val="68D2DF"/>
                    </a:solidFill>
                    <a:effectLst/>
                    <a:uLnTx/>
                    <a:uFillTx/>
                    <a:latin typeface="Arial" panose="020B0604020202020204" pitchFamily="34" charset="0"/>
                    <a:ea typeface="+mn-ea"/>
                    <a:cs typeface="+mn-cs"/>
                  </a:rPr>
                  <a:t>только</a:t>
                </a:r>
                <a:r>
                  <a:rPr kumimoji="0" lang="ru-RU" sz="1200" b="1" i="1" u="none" strike="noStrike" kern="0" cap="none" spc="0" normalizeH="0" baseline="0" noProof="0" dirty="0">
                    <a:ln>
                      <a:noFill/>
                    </a:ln>
                    <a:solidFill>
                      <a:srgbClr val="68D2DF"/>
                    </a:solidFill>
                    <a:effectLst/>
                    <a:uLnTx/>
                    <a:uFillTx/>
                    <a:latin typeface="Arial" panose="020B0604020202020204" pitchFamily="34" charset="0"/>
                    <a:ea typeface="+mn-ea"/>
                    <a:cs typeface="+mn-cs"/>
                  </a:rPr>
                  <a:t> CDK12: </a:t>
                </a:r>
                <a:r>
                  <a:rPr kumimoji="0" lang="ru-RU" sz="1200" b="1" i="0" u="none" strike="noStrike" kern="0" cap="none" spc="0" normalizeH="0" baseline="0" noProof="0" dirty="0">
                    <a:ln>
                      <a:noFill/>
                    </a:ln>
                    <a:solidFill>
                      <a:srgbClr val="68D2DF"/>
                    </a:solidFill>
                    <a:effectLst/>
                    <a:uLnTx/>
                    <a:uFillTx/>
                    <a:latin typeface="Arial" panose="020B0604020202020204" pitchFamily="34" charset="0"/>
                    <a:ea typeface="+mn-ea"/>
                    <a:cs typeface="+mn-cs"/>
                  </a:rPr>
                  <a:t>5,1 %</a:t>
                </a:r>
                <a:endParaRPr kumimoji="0" lang="en-GB" altLang="en-US" sz="2800" b="1" i="0" u="none" strike="noStrike" kern="0" cap="none" spc="0" normalizeH="0" baseline="0" noProof="0" dirty="0">
                  <a:ln>
                    <a:noFill/>
                  </a:ln>
                  <a:solidFill>
                    <a:srgbClr val="68D2DF"/>
                  </a:solidFill>
                  <a:effectLst/>
                  <a:uLnTx/>
                  <a:uFillTx/>
                  <a:latin typeface="Arial" panose="020B0604020202020204" pitchFamily="34" charset="0"/>
                  <a:ea typeface="+mn-ea"/>
                  <a:cs typeface="+mn-cs"/>
                </a:endParaRPr>
              </a:p>
            </p:txBody>
          </p:sp>
          <p:sp>
            <p:nvSpPr>
              <p:cNvPr id="45" name="Rectangle 89">
                <a:extLst>
                  <a:ext uri="{FF2B5EF4-FFF2-40B4-BE49-F238E27FC236}">
                    <a16:creationId xmlns:a16="http://schemas.microsoft.com/office/drawing/2014/main" id="{07AD0F6C-BB38-8E39-99F6-EE3CCEB30573}"/>
                  </a:ext>
                </a:extLst>
              </p:cNvPr>
              <p:cNvSpPr>
                <a:spLocks noChangeArrowheads="1"/>
              </p:cNvSpPr>
              <p:nvPr/>
            </p:nvSpPr>
            <p:spPr bwMode="auto">
              <a:xfrm>
                <a:off x="3536091" y="6426338"/>
                <a:ext cx="1155014" cy="206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rtlCol="0"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8" rtl="0" eaLnBrk="0" fontAlgn="base" latinLnBrk="0" hangingPunct="0">
                  <a:lnSpc>
                    <a:spcPct val="100000"/>
                  </a:lnSpc>
                  <a:spcBef>
                    <a:spcPct val="0"/>
                  </a:spcBef>
                  <a:spcAft>
                    <a:spcPct val="0"/>
                  </a:spcAft>
                  <a:buClrTx/>
                  <a:buSzTx/>
                  <a:buFontTx/>
                  <a:buNone/>
                  <a:tabLst/>
                  <a:defRPr/>
                </a:pPr>
                <a:r>
                  <a:rPr kumimoji="0" lang="ru-RU" sz="1200" b="0" i="0" u="none" strike="noStrike" kern="0" cap="none" spc="0" normalizeH="0" baseline="0" noProof="0" dirty="0">
                    <a:ln>
                      <a:noFill/>
                    </a:ln>
                    <a:solidFill>
                      <a:srgbClr val="3399FF"/>
                    </a:solidFill>
                    <a:effectLst/>
                    <a:uLnTx/>
                    <a:uFillTx/>
                    <a:latin typeface="Arial" panose="020B0604020202020204" pitchFamily="34" charset="0"/>
                    <a:ea typeface="+mn-ea"/>
                    <a:cs typeface="+mn-cs"/>
                  </a:rPr>
                  <a:t>только </a:t>
                </a:r>
                <a:r>
                  <a:rPr kumimoji="0" lang="ru-RU" sz="1200" b="1" i="1" u="none" strike="noStrike" kern="0" cap="none" spc="0" normalizeH="0" baseline="0" noProof="0" dirty="0">
                    <a:ln>
                      <a:noFill/>
                    </a:ln>
                    <a:solidFill>
                      <a:srgbClr val="3399FF"/>
                    </a:solidFill>
                    <a:effectLst/>
                    <a:uLnTx/>
                    <a:uFillTx/>
                    <a:latin typeface="Arial" panose="020B0604020202020204" pitchFamily="34" charset="0"/>
                    <a:ea typeface="+mn-ea"/>
                    <a:cs typeface="+mn-cs"/>
                  </a:rPr>
                  <a:t>CHEK2: </a:t>
                </a:r>
                <a:r>
                  <a:rPr kumimoji="0" lang="ru-RU" sz="1200" b="1" i="0" u="none" strike="noStrike" kern="0" cap="none" spc="0" normalizeH="0" baseline="0" noProof="0" dirty="0">
                    <a:ln>
                      <a:noFill/>
                    </a:ln>
                    <a:solidFill>
                      <a:srgbClr val="3399FF"/>
                    </a:solidFill>
                    <a:effectLst/>
                    <a:uLnTx/>
                    <a:uFillTx/>
                    <a:latin typeface="Arial" panose="020B0604020202020204" pitchFamily="34" charset="0"/>
                    <a:ea typeface="+mn-ea"/>
                    <a:cs typeface="+mn-cs"/>
                  </a:rPr>
                  <a:t>2,4 %</a:t>
                </a:r>
                <a:endParaRPr kumimoji="0" lang="en-GB" altLang="en-US" sz="2800" b="1" i="0" u="none" strike="noStrike" kern="0" cap="none" spc="0" normalizeH="0" baseline="0" noProof="0" dirty="0">
                  <a:ln>
                    <a:noFill/>
                  </a:ln>
                  <a:solidFill>
                    <a:srgbClr val="3399FF"/>
                  </a:solidFill>
                  <a:effectLst/>
                  <a:uLnTx/>
                  <a:uFillTx/>
                  <a:latin typeface="Arial" panose="020B0604020202020204" pitchFamily="34" charset="0"/>
                  <a:ea typeface="+mn-ea"/>
                  <a:cs typeface="+mn-cs"/>
                </a:endParaRPr>
              </a:p>
            </p:txBody>
          </p:sp>
          <p:sp>
            <p:nvSpPr>
              <p:cNvPr id="47" name="Rectangle 98">
                <a:extLst>
                  <a:ext uri="{FF2B5EF4-FFF2-40B4-BE49-F238E27FC236}">
                    <a16:creationId xmlns:a16="http://schemas.microsoft.com/office/drawing/2014/main" id="{0CAAF25F-FB40-EA51-6FC3-59DD60B3F75E}"/>
                  </a:ext>
                </a:extLst>
              </p:cNvPr>
              <p:cNvSpPr>
                <a:spLocks noChangeArrowheads="1"/>
              </p:cNvSpPr>
              <p:nvPr/>
            </p:nvSpPr>
            <p:spPr bwMode="auto">
              <a:xfrm>
                <a:off x="3455030" y="6667300"/>
                <a:ext cx="1348221" cy="206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rtlCol="0"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8" rtl="0" eaLnBrk="0" fontAlgn="base" latinLnBrk="0" hangingPunct="0">
                  <a:lnSpc>
                    <a:spcPct val="100000"/>
                  </a:lnSpc>
                  <a:spcBef>
                    <a:spcPct val="0"/>
                  </a:spcBef>
                  <a:spcAft>
                    <a:spcPct val="0"/>
                  </a:spcAft>
                  <a:buClrTx/>
                  <a:buSzTx/>
                  <a:buFontTx/>
                  <a:buNone/>
                  <a:tabLst/>
                  <a:defRPr/>
                </a:pPr>
                <a:r>
                  <a:rPr kumimoji="0" lang="ru-RU" sz="1200" b="1" i="0" u="none" strike="noStrike" kern="0" cap="none" spc="0" normalizeH="0" baseline="0" noProof="0" dirty="0">
                    <a:ln>
                      <a:noFill/>
                    </a:ln>
                    <a:solidFill>
                      <a:srgbClr val="56DFFF"/>
                    </a:solidFill>
                    <a:effectLst/>
                    <a:uLnTx/>
                    <a:uFillTx/>
                    <a:latin typeface="Arial" panose="020B0604020202020204" pitchFamily="34" charset="0"/>
                    <a:ea typeface="+mn-ea"/>
                    <a:cs typeface="+mn-cs"/>
                  </a:rPr>
                  <a:t>Гены с низкой частотой </a:t>
                </a:r>
                <a:br>
                  <a:rPr kumimoji="0" lang="en-US" sz="1200" b="1" i="0" u="none" strike="noStrike" kern="0" cap="none" spc="0" normalizeH="0" baseline="0" noProof="0" dirty="0">
                    <a:ln>
                      <a:noFill/>
                    </a:ln>
                    <a:solidFill>
                      <a:srgbClr val="56DFFF"/>
                    </a:solidFill>
                    <a:effectLst/>
                    <a:uLnTx/>
                    <a:uFillTx/>
                    <a:latin typeface="Arial" panose="020B0604020202020204" pitchFamily="34" charset="0"/>
                    <a:ea typeface="+mn-ea"/>
                    <a:cs typeface="+mn-cs"/>
                  </a:rPr>
                </a:br>
                <a:r>
                  <a:rPr kumimoji="0" lang="ru-RU" sz="1200" b="1" i="0" u="none" strike="noStrike" kern="0" cap="none" spc="0" normalizeH="0" baseline="0" noProof="0" dirty="0">
                    <a:ln>
                      <a:noFill/>
                    </a:ln>
                    <a:solidFill>
                      <a:srgbClr val="56DFFF"/>
                    </a:solidFill>
                    <a:effectLst/>
                    <a:uLnTx/>
                    <a:uFillTx/>
                    <a:latin typeface="Arial" panose="020B0604020202020204" pitchFamily="34" charset="0"/>
                    <a:ea typeface="+mn-ea"/>
                    <a:cs typeface="+mn-cs"/>
                  </a:rPr>
                  <a:t>встречаемости: 2,5 %</a:t>
                </a:r>
                <a:endParaRPr kumimoji="0" lang="en-GB" altLang="en-US" sz="2800" b="1" i="0" u="none" strike="noStrike" kern="0" cap="none" spc="0" normalizeH="0" baseline="0" noProof="0" dirty="0">
                  <a:ln>
                    <a:noFill/>
                  </a:ln>
                  <a:solidFill>
                    <a:srgbClr val="56DFFF"/>
                  </a:solidFill>
                  <a:effectLst/>
                  <a:uLnTx/>
                  <a:uFillTx/>
                  <a:latin typeface="Arial" panose="020B0604020202020204" pitchFamily="34" charset="0"/>
                  <a:ea typeface="+mn-ea"/>
                  <a:cs typeface="+mn-cs"/>
                </a:endParaRPr>
              </a:p>
            </p:txBody>
          </p:sp>
          <p:sp>
            <p:nvSpPr>
              <p:cNvPr id="48" name="Rectangle 101">
                <a:extLst>
                  <a:ext uri="{FF2B5EF4-FFF2-40B4-BE49-F238E27FC236}">
                    <a16:creationId xmlns:a16="http://schemas.microsoft.com/office/drawing/2014/main" id="{8EED2DD9-3230-64EF-3183-166159DB2766}"/>
                  </a:ext>
                </a:extLst>
              </p:cNvPr>
              <p:cNvSpPr>
                <a:spLocks noChangeArrowheads="1"/>
              </p:cNvSpPr>
              <p:nvPr/>
            </p:nvSpPr>
            <p:spPr bwMode="auto">
              <a:xfrm>
                <a:off x="3392671" y="6937422"/>
                <a:ext cx="1268678" cy="2066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rtlCol="0"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8" rtl="0" eaLnBrk="0" fontAlgn="base" latinLnBrk="0" hangingPunct="0">
                  <a:lnSpc>
                    <a:spcPct val="100000"/>
                  </a:lnSpc>
                  <a:spcBef>
                    <a:spcPct val="0"/>
                  </a:spcBef>
                  <a:spcAft>
                    <a:spcPct val="0"/>
                  </a:spcAft>
                  <a:buClrTx/>
                  <a:buSzTx/>
                  <a:buFontTx/>
                  <a:buNone/>
                  <a:tabLst/>
                  <a:defRPr/>
                </a:pPr>
                <a:r>
                  <a:rPr kumimoji="0" lang="ru-RU" sz="1200" b="1" i="0" u="none" strike="noStrike" kern="0" cap="none" spc="0" normalizeH="0" baseline="0" noProof="0" dirty="0">
                    <a:ln>
                      <a:noFill/>
                    </a:ln>
                    <a:solidFill>
                      <a:srgbClr val="235C5E"/>
                    </a:solidFill>
                    <a:effectLst/>
                    <a:uLnTx/>
                    <a:uFillTx/>
                    <a:latin typeface="Arial" panose="020B0604020202020204" pitchFamily="34" charset="0"/>
                    <a:ea typeface="+mn-ea"/>
                    <a:cs typeface="+mn-cs"/>
                  </a:rPr>
                  <a:t>Сочетанные мутации </a:t>
                </a:r>
                <a:br>
                  <a:rPr kumimoji="0" lang="en-US" sz="1200" b="1" i="0" u="none" strike="noStrike" kern="0" cap="none" spc="0" normalizeH="0" baseline="0" noProof="0" dirty="0">
                    <a:ln>
                      <a:noFill/>
                    </a:ln>
                    <a:solidFill>
                      <a:srgbClr val="235C5E"/>
                    </a:solidFill>
                    <a:effectLst/>
                    <a:uLnTx/>
                    <a:uFillTx/>
                    <a:latin typeface="Arial" panose="020B0604020202020204" pitchFamily="34" charset="0"/>
                    <a:ea typeface="+mn-ea"/>
                    <a:cs typeface="+mn-cs"/>
                  </a:rPr>
                </a:br>
                <a:r>
                  <a:rPr kumimoji="0" lang="ru-RU" sz="1200" b="1" i="0" u="none" strike="noStrike" kern="0" cap="none" spc="0" normalizeH="0" baseline="0" noProof="0" dirty="0">
                    <a:ln>
                      <a:noFill/>
                    </a:ln>
                    <a:solidFill>
                      <a:srgbClr val="235C5E"/>
                    </a:solidFill>
                    <a:effectLst/>
                    <a:uLnTx/>
                    <a:uFillTx/>
                    <a:latin typeface="Arial" panose="020B0604020202020204" pitchFamily="34" charset="0"/>
                    <a:ea typeface="+mn-ea"/>
                    <a:cs typeface="+mn-cs"/>
                  </a:rPr>
                  <a:t>генов: 4,0 % </a:t>
                </a:r>
                <a:endParaRPr kumimoji="0" lang="en-GB" altLang="en-US" sz="2800" b="1" i="0" u="none" strike="noStrike" kern="0" cap="none" spc="0" normalizeH="0" baseline="0" noProof="0" dirty="0">
                  <a:ln>
                    <a:noFill/>
                  </a:ln>
                  <a:solidFill>
                    <a:srgbClr val="235C5E"/>
                  </a:solidFill>
                  <a:effectLst/>
                  <a:uLnTx/>
                  <a:uFillTx/>
                  <a:latin typeface="Arial" panose="020B0604020202020204" pitchFamily="34" charset="0"/>
                  <a:ea typeface="+mn-ea"/>
                  <a:cs typeface="+mn-cs"/>
                </a:endParaRPr>
              </a:p>
            </p:txBody>
          </p:sp>
        </p:grpSp>
        <p:sp>
          <p:nvSpPr>
            <p:cNvPr id="39" name="TextBox 38">
              <a:extLst>
                <a:ext uri="{FF2B5EF4-FFF2-40B4-BE49-F238E27FC236}">
                  <a16:creationId xmlns:a16="http://schemas.microsoft.com/office/drawing/2014/main" id="{0594FE0D-2959-D8BA-809E-96E7B37F8375}"/>
                </a:ext>
              </a:extLst>
            </p:cNvPr>
            <p:cNvSpPr txBox="1"/>
            <p:nvPr/>
          </p:nvSpPr>
          <p:spPr>
            <a:xfrm>
              <a:off x="1053192" y="7076363"/>
              <a:ext cx="1379246" cy="521892"/>
            </a:xfrm>
            <a:prstGeom prst="rect">
              <a:avLst/>
            </a:prstGeom>
            <a:noFill/>
            <a:ln w="12700">
              <a:no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ru-RU"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Мутаций генов HRR не выявлено: ~</a:t>
              </a:r>
              <a:r>
                <a:rPr kumimoji="0" lang="ru-RU" sz="14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1,0 %</a:t>
              </a:r>
              <a:r>
                <a:rPr kumimoji="0" lang="ru-RU"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p>
          </p:txBody>
        </p:sp>
      </p:grpSp>
    </p:spTree>
    <p:extLst>
      <p:ext uri="{BB962C8B-B14F-4D97-AF65-F5344CB8AC3E}">
        <p14:creationId xmlns:p14="http://schemas.microsoft.com/office/powerpoint/2010/main" val="41558774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BB22D-40DD-40DE-A2B3-320F9616EC71}"/>
              </a:ext>
            </a:extLst>
          </p:cNvPr>
          <p:cNvSpPr>
            <a:spLocks noGrp="1"/>
          </p:cNvSpPr>
          <p:nvPr>
            <p:ph type="title"/>
          </p:nvPr>
        </p:nvSpPr>
        <p:spPr/>
        <p:txBody>
          <a:bodyPr rtlCol="0">
            <a:normAutofit fontScale="90000"/>
          </a:bodyPr>
          <a:lstStyle/>
          <a:p>
            <a:pPr algn="ctr"/>
            <a:endParaRPr lang="en-GB" sz="2800" b="1" dirty="0"/>
          </a:p>
        </p:txBody>
      </p:sp>
      <p:sp>
        <p:nvSpPr>
          <p:cNvPr id="4" name="Text Placeholder 3">
            <a:extLst>
              <a:ext uri="{FF2B5EF4-FFF2-40B4-BE49-F238E27FC236}">
                <a16:creationId xmlns:a16="http://schemas.microsoft.com/office/drawing/2014/main" id="{6D3EE71A-2422-409B-A5BC-E0B9EEE20EF5}"/>
              </a:ext>
            </a:extLst>
          </p:cNvPr>
          <p:cNvSpPr>
            <a:spLocks noGrp="1"/>
          </p:cNvSpPr>
          <p:nvPr>
            <p:ph type="body" sz="quarter" idx="111"/>
          </p:nvPr>
        </p:nvSpPr>
        <p:spPr>
          <a:xfrm>
            <a:off x="407988" y="6200774"/>
            <a:ext cx="9729787" cy="423961"/>
          </a:xfrm>
        </p:spPr>
        <p:txBody>
          <a:bodyPr rtlCol="0"/>
          <a:lstStyle/>
          <a:p>
            <a:pPr marL="0" rtl="0">
              <a:spcAft>
                <a:spcPts val="0"/>
              </a:spcAft>
            </a:pPr>
            <a:r>
              <a:rPr lang="ru" dirty="0">
                <a:latin typeface="Calibri" panose="020F0502020204030204" pitchFamily="34" charset="0"/>
                <a:cs typeface="Calibri" panose="020F0502020204030204" pitchFamily="34" charset="0"/>
              </a:rPr>
              <a:t>ДИ — доверительный интервал; ОР — отношение рисков; мес — месяцы; НД — не достигнуто; рВБП — выживаемость без радиологического прогрессирования.</a:t>
            </a:r>
          </a:p>
          <a:p>
            <a:pPr marL="0" rtl="0">
              <a:spcAft>
                <a:spcPts val="0"/>
              </a:spcAft>
            </a:pPr>
            <a:r>
              <a:rPr lang="ru" dirty="0">
                <a:latin typeface="Calibri" panose="020F0502020204030204" pitchFamily="34" charset="0"/>
                <a:cs typeface="Calibri" panose="020F0502020204030204" pitchFamily="34" charset="0"/>
              </a:rPr>
              <a:t>Saad F, et al. Представлено на конгрессе ASCO GU 2022, 17–19 февраля, Сан-Франциско, Калифорния. Устный доклад 1</a:t>
            </a:r>
            <a:r>
              <a:rPr lang="en-US" dirty="0">
                <a:latin typeface="Calibri" panose="020F0502020204030204" pitchFamily="34" charset="0"/>
                <a:cs typeface="Calibri" panose="020F0502020204030204" pitchFamily="34" charset="0"/>
              </a:rPr>
              <a:t>; </a:t>
            </a:r>
            <a:r>
              <a:rPr lang="en-GB" kern="0" dirty="0">
                <a:cs typeface="Arial" panose="020B0604020202020204" pitchFamily="34" charset="0"/>
              </a:rPr>
              <a:t>Clarke N</a:t>
            </a:r>
            <a:r>
              <a:rPr lang="en-GB" dirty="0"/>
              <a:t>, et al. </a:t>
            </a:r>
            <a:r>
              <a:rPr lang="en-GB" i="1" dirty="0"/>
              <a:t>New </a:t>
            </a:r>
            <a:r>
              <a:rPr lang="en-GB" i="1" dirty="0" err="1"/>
              <a:t>Engl</a:t>
            </a:r>
            <a:r>
              <a:rPr lang="en-GB" i="1" dirty="0"/>
              <a:t> J Med Evid </a:t>
            </a:r>
            <a:r>
              <a:rPr lang="en-US" b="0" dirty="0">
                <a:solidFill>
                  <a:srgbClr val="4D4D4D"/>
                </a:solidFill>
                <a:effectLst/>
                <a:latin typeface="ff-scala-sans-web-pro"/>
              </a:rPr>
              <a:t>Published June 3, 2022</a:t>
            </a:r>
            <a:r>
              <a:rPr lang="en-GB" dirty="0"/>
              <a:t>. </a:t>
            </a:r>
            <a:r>
              <a:rPr lang="en-US" dirty="0"/>
              <a:t>DOI: 10.1056/EVIDoa2200043</a:t>
            </a:r>
            <a:endParaRPr lang="ru" dirty="0">
              <a:latin typeface="Calibri" panose="020F0502020204030204" pitchFamily="34" charset="0"/>
              <a:cs typeface="Calibri" panose="020F0502020204030204" pitchFamily="34" charset="0"/>
            </a:endParaRPr>
          </a:p>
        </p:txBody>
      </p:sp>
      <p:graphicFrame>
        <p:nvGraphicFramePr>
          <p:cNvPr id="181" name="Table 4">
            <a:extLst>
              <a:ext uri="{FF2B5EF4-FFF2-40B4-BE49-F238E27FC236}">
                <a16:creationId xmlns:a16="http://schemas.microsoft.com/office/drawing/2014/main" id="{DD90C73D-1572-4EE9-BBAA-3F5E154CD45D}"/>
              </a:ext>
            </a:extLst>
          </p:cNvPr>
          <p:cNvGraphicFramePr>
            <a:graphicFrameLocks noGrp="1"/>
          </p:cNvGraphicFramePr>
          <p:nvPr>
            <p:extLst>
              <p:ext uri="{D42A27DB-BD31-4B8C-83A1-F6EECF244321}">
                <p14:modId xmlns:p14="http://schemas.microsoft.com/office/powerpoint/2010/main" val="3749191082"/>
              </p:ext>
            </p:extLst>
          </p:nvPr>
        </p:nvGraphicFramePr>
        <p:xfrm>
          <a:off x="678518" y="1535095"/>
          <a:ext cx="10702638" cy="1809195"/>
        </p:xfrm>
        <a:graphic>
          <a:graphicData uri="http://schemas.openxmlformats.org/drawingml/2006/table">
            <a:tbl>
              <a:tblPr firstRow="1" bandRow="1"/>
              <a:tblGrid>
                <a:gridCol w="5234072">
                  <a:extLst>
                    <a:ext uri="{9D8B030D-6E8A-4147-A177-3AD203B41FA5}">
                      <a16:colId xmlns:a16="http://schemas.microsoft.com/office/drawing/2014/main" val="162591529"/>
                    </a:ext>
                  </a:extLst>
                </a:gridCol>
                <a:gridCol w="2785141">
                  <a:extLst>
                    <a:ext uri="{9D8B030D-6E8A-4147-A177-3AD203B41FA5}">
                      <a16:colId xmlns:a16="http://schemas.microsoft.com/office/drawing/2014/main" val="211796807"/>
                    </a:ext>
                  </a:extLst>
                </a:gridCol>
                <a:gridCol w="2683425">
                  <a:extLst>
                    <a:ext uri="{9D8B030D-6E8A-4147-A177-3AD203B41FA5}">
                      <a16:colId xmlns:a16="http://schemas.microsoft.com/office/drawing/2014/main" val="3508867054"/>
                    </a:ext>
                  </a:extLst>
                </a:gridCol>
              </a:tblGrid>
              <a:tr h="646141">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rtl="0"/>
                      <a:endParaRPr lang="en-GB" sz="1400" dirty="0">
                        <a:solidFill>
                          <a:schemeClr val="bg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rtl="0"/>
                      <a:r>
                        <a:rPr lang="ru" sz="1400" dirty="0">
                          <a:solidFill>
                            <a:schemeClr val="tx1"/>
                          </a:solidFill>
                          <a:latin typeface="+mn-lt"/>
                          <a:cs typeface="Arial" panose="020B0604020202020204" pitchFamily="34" charset="0"/>
                        </a:rPr>
                        <a:t>Олапариб + абиратерон</a:t>
                      </a:r>
                    </a:p>
                    <a:p>
                      <a:pPr algn="ctr" rtl="0"/>
                      <a:r>
                        <a:rPr lang="ru" sz="1400" dirty="0">
                          <a:solidFill>
                            <a:schemeClr val="tx1"/>
                          </a:solidFill>
                          <a:latin typeface="+mn-lt"/>
                          <a:cs typeface="Arial" panose="020B0604020202020204" pitchFamily="34" charset="0"/>
                        </a:rPr>
                        <a:t>(n = 399)</a:t>
                      </a:r>
                      <a:endParaRPr lang="en-GB" sz="1400" dirty="0">
                        <a:solidFill>
                          <a:schemeClr val="tx1"/>
                        </a:solidFill>
                        <a:latin typeface="+mn-lt"/>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rtl="0"/>
                      <a:r>
                        <a:rPr lang="ru" sz="1400" dirty="0">
                          <a:solidFill>
                            <a:schemeClr val="bg1"/>
                          </a:solidFill>
                          <a:latin typeface="+mn-lt"/>
                          <a:cs typeface="Arial" panose="020B0604020202020204" pitchFamily="34" charset="0"/>
                        </a:rPr>
                        <a:t>Плацебо + абиратерон</a:t>
                      </a:r>
                    </a:p>
                    <a:p>
                      <a:pPr algn="ctr" rtl="0"/>
                      <a:r>
                        <a:rPr lang="ru" sz="1400" dirty="0">
                          <a:solidFill>
                            <a:schemeClr val="bg1"/>
                          </a:solidFill>
                          <a:latin typeface="+mn-lt"/>
                          <a:cs typeface="Arial" panose="020B0604020202020204" pitchFamily="34" charset="0"/>
                        </a:rPr>
                        <a:t>(n = 397)</a:t>
                      </a:r>
                      <a:endParaRPr lang="en-GB" sz="1400" dirty="0">
                        <a:solidFill>
                          <a:schemeClr val="bg1"/>
                        </a:solidFill>
                        <a:latin typeface="+mn-lt"/>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690983419"/>
                  </a:ext>
                </a:extLst>
              </a:tr>
              <a:tr h="1163054">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 sz="1400" b="1" dirty="0">
                          <a:solidFill>
                            <a:schemeClr val="tx1"/>
                          </a:solidFill>
                          <a:latin typeface="+mn-lt"/>
                          <a:cs typeface="Arial" panose="020B0604020202020204" pitchFamily="34" charset="0"/>
                        </a:rPr>
                        <a:t>Статус мутации НRR</a:t>
                      </a:r>
                      <a:endParaRPr lang="ru" sz="1400" b="1" baseline="30000" dirty="0">
                        <a:solidFill>
                          <a:schemeClr val="tx1"/>
                        </a:solidFill>
                        <a:latin typeface="+mn-lt"/>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ru" sz="1400" dirty="0">
                          <a:solidFill>
                            <a:schemeClr val="tx1"/>
                          </a:solidFill>
                          <a:latin typeface="+mn-lt"/>
                          <a:cs typeface="Arial" panose="020B0604020202020204" pitchFamily="34" charset="0"/>
                        </a:rPr>
                        <a:t>Наличие мутации генов HRR</a:t>
                      </a:r>
                      <a:endParaRPr lang="en-US" sz="1400" dirty="0">
                        <a:solidFill>
                          <a:schemeClr val="tx1"/>
                        </a:solidFill>
                        <a:latin typeface="+mn-lt"/>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ru" sz="1400" dirty="0">
                          <a:solidFill>
                            <a:schemeClr val="tx1"/>
                          </a:solidFill>
                          <a:latin typeface="+mn-lt"/>
                          <a:cs typeface="Arial" panose="020B0604020202020204" pitchFamily="34" charset="0"/>
                        </a:rPr>
                        <a:t>Отсутствие мутаций генов HRR</a:t>
                      </a:r>
                      <a:endParaRPr lang="en-US" sz="1400" dirty="0">
                        <a:solidFill>
                          <a:schemeClr val="tx1"/>
                        </a:solidFill>
                        <a:latin typeface="+mn-lt"/>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ru" sz="1400" dirty="0">
                          <a:solidFill>
                            <a:schemeClr val="tx1"/>
                          </a:solidFill>
                          <a:latin typeface="+mn-lt"/>
                          <a:cs typeface="Arial" panose="020B0604020202020204" pitchFamily="34" charset="0"/>
                        </a:rPr>
                        <a:t>Статус мутации генов НRR неизвестен</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latinLnBrk="0" hangingPunct="1">
                        <a:lnSpc>
                          <a:spcPct val="100000"/>
                        </a:lnSpc>
                        <a:spcAft>
                          <a:spcPts val="0"/>
                        </a:spcAft>
                      </a:pPr>
                      <a:r>
                        <a:rPr lang="ru" sz="1400" b="1" kern="1200" dirty="0">
                          <a:solidFill>
                            <a:schemeClr val="tx1"/>
                          </a:solidFill>
                          <a:latin typeface="+mn-lt"/>
                          <a:ea typeface="+mn-ea"/>
                          <a:cs typeface="Arial" panose="020B0604020202020204" pitchFamily="34" charset="0"/>
                        </a:rPr>
                        <a:t> </a:t>
                      </a:r>
                    </a:p>
                    <a:p>
                      <a:pPr marL="0" algn="ctr" defTabSz="914400" rtl="0" eaLnBrk="1" latinLnBrk="0" hangingPunct="1">
                        <a:lnSpc>
                          <a:spcPct val="100000"/>
                        </a:lnSpc>
                        <a:spcAft>
                          <a:spcPts val="0"/>
                        </a:spcAft>
                      </a:pPr>
                      <a:r>
                        <a:rPr lang="ru" sz="1400" b="1" kern="1200" dirty="0">
                          <a:solidFill>
                            <a:schemeClr val="tx1"/>
                          </a:solidFill>
                          <a:latin typeface="+mn-lt"/>
                          <a:ea typeface="+mn-ea"/>
                          <a:cs typeface="Arial" panose="020B0604020202020204" pitchFamily="34" charset="0"/>
                        </a:rPr>
                        <a:t>111 (27,8)</a:t>
                      </a:r>
                    </a:p>
                    <a:p>
                      <a:pPr marL="0" algn="ctr" defTabSz="914400" rtl="0" eaLnBrk="1" latinLnBrk="0" hangingPunct="1">
                        <a:lnSpc>
                          <a:spcPct val="100000"/>
                        </a:lnSpc>
                        <a:spcAft>
                          <a:spcPts val="0"/>
                        </a:spcAft>
                      </a:pPr>
                      <a:r>
                        <a:rPr lang="ru" sz="1400" b="1" kern="1200" dirty="0">
                          <a:solidFill>
                            <a:schemeClr val="tx1"/>
                          </a:solidFill>
                          <a:latin typeface="+mn-lt"/>
                          <a:ea typeface="+mn-ea"/>
                          <a:cs typeface="Arial" panose="020B0604020202020204" pitchFamily="34" charset="0"/>
                        </a:rPr>
                        <a:t>279 (69,9)</a:t>
                      </a:r>
                    </a:p>
                    <a:p>
                      <a:pPr marL="0" algn="ctr" defTabSz="914400" rtl="0" eaLnBrk="1" latinLnBrk="0" hangingPunct="1">
                        <a:lnSpc>
                          <a:spcPct val="100000"/>
                        </a:lnSpc>
                        <a:spcAft>
                          <a:spcPts val="0"/>
                        </a:spcAft>
                      </a:pPr>
                      <a:r>
                        <a:rPr lang="ru" sz="1400" b="1" kern="1200" dirty="0">
                          <a:solidFill>
                            <a:schemeClr val="tx1"/>
                          </a:solidFill>
                          <a:latin typeface="+mn-lt"/>
                          <a:ea typeface="+mn-ea"/>
                          <a:cs typeface="Arial" panose="020B0604020202020204" pitchFamily="34" charset="0"/>
                        </a:rPr>
                        <a:t>  9 (2,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alpha val="30196"/>
                      </a:scheme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latinLnBrk="0" hangingPunct="1">
                        <a:lnSpc>
                          <a:spcPct val="100000"/>
                        </a:lnSpc>
                        <a:spcAft>
                          <a:spcPts val="0"/>
                        </a:spcAft>
                      </a:pPr>
                      <a:r>
                        <a:rPr lang="ru" sz="1400" b="1" kern="1200" dirty="0">
                          <a:solidFill>
                            <a:schemeClr val="tx1"/>
                          </a:solidFill>
                          <a:latin typeface="+mn-lt"/>
                          <a:ea typeface="+mn-ea"/>
                          <a:cs typeface="Arial" panose="020B0604020202020204" pitchFamily="34" charset="0"/>
                        </a:rPr>
                        <a:t>  </a:t>
                      </a:r>
                    </a:p>
                    <a:p>
                      <a:pPr marL="0" algn="ctr" defTabSz="914400" rtl="0" eaLnBrk="1" latinLnBrk="0" hangingPunct="1">
                        <a:lnSpc>
                          <a:spcPct val="100000"/>
                        </a:lnSpc>
                        <a:spcAft>
                          <a:spcPts val="0"/>
                        </a:spcAft>
                      </a:pPr>
                      <a:r>
                        <a:rPr lang="ru" sz="1400" b="1" kern="1200" dirty="0">
                          <a:solidFill>
                            <a:schemeClr val="tx1"/>
                          </a:solidFill>
                          <a:latin typeface="+mn-lt"/>
                          <a:ea typeface="+mn-ea"/>
                          <a:cs typeface="Arial" panose="020B0604020202020204" pitchFamily="34" charset="0"/>
                        </a:rPr>
                        <a:t>115 (29,0)</a:t>
                      </a:r>
                    </a:p>
                    <a:p>
                      <a:pPr marL="0" algn="ctr" defTabSz="914400" rtl="0" eaLnBrk="1" latinLnBrk="0" hangingPunct="1">
                        <a:lnSpc>
                          <a:spcPct val="100000"/>
                        </a:lnSpc>
                        <a:spcAft>
                          <a:spcPts val="0"/>
                        </a:spcAft>
                      </a:pPr>
                      <a:r>
                        <a:rPr lang="ru" sz="1400" b="1" kern="1200" dirty="0">
                          <a:solidFill>
                            <a:schemeClr val="tx1"/>
                          </a:solidFill>
                          <a:latin typeface="+mn-lt"/>
                          <a:ea typeface="+mn-ea"/>
                          <a:cs typeface="Arial" panose="020B0604020202020204" pitchFamily="34" charset="0"/>
                        </a:rPr>
                        <a:t>273 (68,8)</a:t>
                      </a:r>
                    </a:p>
                    <a:p>
                      <a:pPr marL="0" algn="ctr" defTabSz="914400" rtl="0" eaLnBrk="1" latinLnBrk="0" hangingPunct="1">
                        <a:lnSpc>
                          <a:spcPct val="100000"/>
                        </a:lnSpc>
                        <a:spcAft>
                          <a:spcPts val="0"/>
                        </a:spcAft>
                      </a:pPr>
                      <a:r>
                        <a:rPr lang="ru" sz="1400" b="1" kern="1200" dirty="0">
                          <a:solidFill>
                            <a:schemeClr val="tx1"/>
                          </a:solidFill>
                          <a:latin typeface="+mn-lt"/>
                          <a:ea typeface="+mn-ea"/>
                          <a:cs typeface="Arial" panose="020B0604020202020204" pitchFamily="34" charset="0"/>
                        </a:rPr>
                        <a:t>  9 (2,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30196"/>
                      </a:schemeClr>
                    </a:solidFill>
                  </a:tcPr>
                </a:tc>
                <a:extLst>
                  <a:ext uri="{0D108BD9-81ED-4DB2-BD59-A6C34878D82A}">
                    <a16:rowId xmlns:a16="http://schemas.microsoft.com/office/drawing/2014/main" val="1943077457"/>
                  </a:ext>
                </a:extLst>
              </a:tr>
            </a:tbl>
          </a:graphicData>
        </a:graphic>
      </p:graphicFrame>
      <p:sp>
        <p:nvSpPr>
          <p:cNvPr id="183" name="Rectangle 182">
            <a:extLst>
              <a:ext uri="{FF2B5EF4-FFF2-40B4-BE49-F238E27FC236}">
                <a16:creationId xmlns:a16="http://schemas.microsoft.com/office/drawing/2014/main" id="{7BE70036-8BA3-44AD-8D80-480C0582ED99}"/>
              </a:ext>
            </a:extLst>
          </p:cNvPr>
          <p:cNvSpPr/>
          <p:nvPr/>
        </p:nvSpPr>
        <p:spPr>
          <a:xfrm>
            <a:off x="678518" y="3653942"/>
            <a:ext cx="10702638" cy="2314467"/>
          </a:xfrm>
          <a:prstGeom prst="rect">
            <a:avLst/>
          </a:prstGeom>
          <a:noFill/>
          <a:ln w="57150"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4236F1E3-A699-4BB9-B776-8CD9AB6F83F1}"/>
              </a:ext>
            </a:extLst>
          </p:cNvPr>
          <p:cNvGrpSpPr/>
          <p:nvPr/>
        </p:nvGrpSpPr>
        <p:grpSpPr>
          <a:xfrm>
            <a:off x="722083" y="3973876"/>
            <a:ext cx="11041158" cy="1888250"/>
            <a:chOff x="722083" y="4409813"/>
            <a:chExt cx="11041158" cy="1888250"/>
          </a:xfrm>
        </p:grpSpPr>
        <p:sp>
          <p:nvSpPr>
            <p:cNvPr id="69" name="TextBox 68">
              <a:extLst>
                <a:ext uri="{FF2B5EF4-FFF2-40B4-BE49-F238E27FC236}">
                  <a16:creationId xmlns:a16="http://schemas.microsoft.com/office/drawing/2014/main" id="{357D67B6-D0BB-4B0B-8623-2D5EF448CDB8}"/>
                </a:ext>
              </a:extLst>
            </p:cNvPr>
            <p:cNvSpPr txBox="1"/>
            <p:nvPr/>
          </p:nvSpPr>
          <p:spPr>
            <a:xfrm>
              <a:off x="4906706" y="5836398"/>
              <a:ext cx="3438817" cy="461665"/>
            </a:xfrm>
            <a:prstGeom prst="rect">
              <a:avLst/>
            </a:prstGeom>
            <a:noFill/>
          </p:spPr>
          <p:txBody>
            <a:bodyPr wrap="square" rtlCol="0">
              <a:spAutoFit/>
            </a:bodyPr>
            <a:lstStyle/>
            <a:p>
              <a:pPr algn="ctr" rtl="0"/>
              <a:r>
                <a:rPr lang="ru" sz="1200" b="1" dirty="0">
                  <a:solidFill>
                    <a:schemeClr val="accent5"/>
                  </a:solidFill>
                </a:rPr>
                <a:t>В пользу комбинации олапариб + абиратерон</a:t>
              </a:r>
            </a:p>
          </p:txBody>
        </p:sp>
        <p:sp>
          <p:nvSpPr>
            <p:cNvPr id="70" name="TextBox 69">
              <a:extLst>
                <a:ext uri="{FF2B5EF4-FFF2-40B4-BE49-F238E27FC236}">
                  <a16:creationId xmlns:a16="http://schemas.microsoft.com/office/drawing/2014/main" id="{7C168039-D031-4CD4-B570-F663C410BC1A}"/>
                </a:ext>
              </a:extLst>
            </p:cNvPr>
            <p:cNvSpPr txBox="1"/>
            <p:nvPr/>
          </p:nvSpPr>
          <p:spPr>
            <a:xfrm>
              <a:off x="8324424" y="5836397"/>
              <a:ext cx="3438817" cy="461665"/>
            </a:xfrm>
            <a:prstGeom prst="rect">
              <a:avLst/>
            </a:prstGeom>
            <a:noFill/>
          </p:spPr>
          <p:txBody>
            <a:bodyPr wrap="square" rtlCol="0">
              <a:spAutoFit/>
            </a:bodyPr>
            <a:lstStyle/>
            <a:p>
              <a:pPr algn="ctr" rtl="0"/>
              <a:r>
                <a:rPr lang="ru" sz="1200" b="1" dirty="0">
                  <a:solidFill>
                    <a:srgbClr val="FFC000"/>
                  </a:solidFill>
                </a:rPr>
                <a:t>В пользу комбинации плацебо + абиратерон</a:t>
              </a:r>
            </a:p>
          </p:txBody>
        </p:sp>
        <p:sp>
          <p:nvSpPr>
            <p:cNvPr id="71" name="TextBox 70">
              <a:extLst>
                <a:ext uri="{FF2B5EF4-FFF2-40B4-BE49-F238E27FC236}">
                  <a16:creationId xmlns:a16="http://schemas.microsoft.com/office/drawing/2014/main" id="{8B9B066E-4CC0-49C1-9ADD-E858E25D5BAA}"/>
                </a:ext>
              </a:extLst>
            </p:cNvPr>
            <p:cNvSpPr txBox="1"/>
            <p:nvPr/>
          </p:nvSpPr>
          <p:spPr>
            <a:xfrm>
              <a:off x="8132893" y="5636857"/>
              <a:ext cx="425261" cy="261610"/>
            </a:xfrm>
            <a:prstGeom prst="rect">
              <a:avLst/>
            </a:prstGeom>
            <a:noFill/>
          </p:spPr>
          <p:txBody>
            <a:bodyPr wrap="square" rtlCol="0">
              <a:spAutoFit/>
            </a:bodyPr>
            <a:lstStyle/>
            <a:p>
              <a:pPr algn="ctr" rtl="0"/>
              <a:r>
                <a:rPr lang="ru" sz="1100" b="1" dirty="0"/>
                <a:t>1</a:t>
              </a:r>
            </a:p>
          </p:txBody>
        </p:sp>
        <p:cxnSp>
          <p:nvCxnSpPr>
            <p:cNvPr id="72" name="Straight Arrow Connector 71">
              <a:extLst>
                <a:ext uri="{FF2B5EF4-FFF2-40B4-BE49-F238E27FC236}">
                  <a16:creationId xmlns:a16="http://schemas.microsoft.com/office/drawing/2014/main" id="{F9360085-FACD-47F9-A999-B3EDA900FA34}"/>
                </a:ext>
              </a:extLst>
            </p:cNvPr>
            <p:cNvCxnSpPr>
              <a:cxnSpLocks/>
            </p:cNvCxnSpPr>
            <p:nvPr/>
          </p:nvCxnSpPr>
          <p:spPr>
            <a:xfrm>
              <a:off x="8534374" y="5756870"/>
              <a:ext cx="1803103"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66C47B7A-CF90-413B-BD43-61DE97854653}"/>
                </a:ext>
              </a:extLst>
            </p:cNvPr>
            <p:cNvCxnSpPr>
              <a:cxnSpLocks/>
            </p:cNvCxnSpPr>
            <p:nvPr/>
          </p:nvCxnSpPr>
          <p:spPr>
            <a:xfrm flipH="1" flipV="1">
              <a:off x="6419643" y="5760221"/>
              <a:ext cx="1803103"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282AF6B2-E227-475B-B173-D13B39E9938F}"/>
                </a:ext>
              </a:extLst>
            </p:cNvPr>
            <p:cNvSpPr txBox="1"/>
            <p:nvPr/>
          </p:nvSpPr>
          <p:spPr>
            <a:xfrm>
              <a:off x="5551899" y="5596628"/>
              <a:ext cx="558414" cy="253916"/>
            </a:xfrm>
            <a:prstGeom prst="rect">
              <a:avLst/>
            </a:prstGeom>
            <a:noFill/>
          </p:spPr>
          <p:txBody>
            <a:bodyPr wrap="square" rtlCol="0">
              <a:spAutoFit/>
            </a:bodyPr>
            <a:lstStyle/>
            <a:p>
              <a:pPr algn="ctr" rtl="0"/>
              <a:r>
                <a:rPr lang="ru" sz="1050" b="1" dirty="0"/>
                <a:t>0,1</a:t>
              </a:r>
            </a:p>
          </p:txBody>
        </p:sp>
        <p:sp>
          <p:nvSpPr>
            <p:cNvPr id="75" name="TextBox 74">
              <a:extLst>
                <a:ext uri="{FF2B5EF4-FFF2-40B4-BE49-F238E27FC236}">
                  <a16:creationId xmlns:a16="http://schemas.microsoft.com/office/drawing/2014/main" id="{03FABDEC-9192-4BAA-BD09-B623957BE333}"/>
                </a:ext>
              </a:extLst>
            </p:cNvPr>
            <p:cNvSpPr txBox="1"/>
            <p:nvPr/>
          </p:nvSpPr>
          <p:spPr>
            <a:xfrm>
              <a:off x="10502625" y="5596628"/>
              <a:ext cx="710104" cy="253916"/>
            </a:xfrm>
            <a:prstGeom prst="rect">
              <a:avLst/>
            </a:prstGeom>
            <a:noFill/>
          </p:spPr>
          <p:txBody>
            <a:bodyPr wrap="square" rtlCol="0">
              <a:spAutoFit/>
            </a:bodyPr>
            <a:lstStyle/>
            <a:p>
              <a:pPr algn="ctr" rtl="0"/>
              <a:r>
                <a:rPr lang="ru" sz="1050" b="1"/>
                <a:t>10</a:t>
              </a:r>
            </a:p>
          </p:txBody>
        </p:sp>
        <p:sp>
          <p:nvSpPr>
            <p:cNvPr id="76" name="Rectangle 75">
              <a:extLst>
                <a:ext uri="{FF2B5EF4-FFF2-40B4-BE49-F238E27FC236}">
                  <a16:creationId xmlns:a16="http://schemas.microsoft.com/office/drawing/2014/main" id="{B61C483F-0D42-4CED-9CB7-CC3D86295976}"/>
                </a:ext>
              </a:extLst>
            </p:cNvPr>
            <p:cNvSpPr/>
            <p:nvPr/>
          </p:nvSpPr>
          <p:spPr>
            <a:xfrm>
              <a:off x="7684216" y="5048139"/>
              <a:ext cx="433062" cy="500983"/>
            </a:xfrm>
            <a:prstGeom prst="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600" dirty="0"/>
            </a:p>
          </p:txBody>
        </p:sp>
        <p:sp>
          <p:nvSpPr>
            <p:cNvPr id="77" name="TextBox 76">
              <a:extLst>
                <a:ext uri="{FF2B5EF4-FFF2-40B4-BE49-F238E27FC236}">
                  <a16:creationId xmlns:a16="http://schemas.microsoft.com/office/drawing/2014/main" id="{35E02493-4C09-4F10-8500-2EAD5B928449}"/>
                </a:ext>
              </a:extLst>
            </p:cNvPr>
            <p:cNvSpPr txBox="1"/>
            <p:nvPr/>
          </p:nvSpPr>
          <p:spPr>
            <a:xfrm>
              <a:off x="9581845" y="4501461"/>
              <a:ext cx="1081119" cy="246221"/>
            </a:xfrm>
            <a:prstGeom prst="rect">
              <a:avLst/>
            </a:prstGeom>
            <a:noFill/>
          </p:spPr>
          <p:txBody>
            <a:bodyPr wrap="square" rtlCol="0">
              <a:spAutoFit/>
            </a:bodyPr>
            <a:lstStyle/>
            <a:p>
              <a:pPr algn="ctr" rtl="0"/>
              <a:r>
                <a:rPr lang="ru" sz="1000" b="1" dirty="0"/>
                <a:t>ОР (95% ДИ)</a:t>
              </a:r>
              <a:endParaRPr lang="en-GB" sz="1000" b="1" dirty="0"/>
            </a:p>
          </p:txBody>
        </p:sp>
        <p:cxnSp>
          <p:nvCxnSpPr>
            <p:cNvPr id="78" name="Straight Connector 77">
              <a:extLst>
                <a:ext uri="{FF2B5EF4-FFF2-40B4-BE49-F238E27FC236}">
                  <a16:creationId xmlns:a16="http://schemas.microsoft.com/office/drawing/2014/main" id="{AF93999A-7B59-4AFC-B37C-BBA92C576716}"/>
                </a:ext>
              </a:extLst>
            </p:cNvPr>
            <p:cNvCxnSpPr>
              <a:cxnSpLocks/>
            </p:cNvCxnSpPr>
            <p:nvPr/>
          </p:nvCxnSpPr>
          <p:spPr>
            <a:xfrm flipV="1">
              <a:off x="8345523" y="4809923"/>
              <a:ext cx="2080" cy="802710"/>
            </a:xfrm>
            <a:prstGeom prst="line">
              <a:avLst/>
            </a:prstGeom>
            <a:ln w="28575">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79" name="Line 119">
              <a:extLst>
                <a:ext uri="{FF2B5EF4-FFF2-40B4-BE49-F238E27FC236}">
                  <a16:creationId xmlns:a16="http://schemas.microsoft.com/office/drawing/2014/main" id="{C124B82C-431C-4992-A5B7-6E8FE04C15C7}"/>
                </a:ext>
              </a:extLst>
            </p:cNvPr>
            <p:cNvSpPr>
              <a:spLocks noChangeShapeType="1"/>
            </p:cNvSpPr>
            <p:nvPr/>
          </p:nvSpPr>
          <p:spPr bwMode="auto">
            <a:xfrm>
              <a:off x="6575473" y="5572290"/>
              <a:ext cx="0" cy="24871"/>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80" name="Line 120">
              <a:extLst>
                <a:ext uri="{FF2B5EF4-FFF2-40B4-BE49-F238E27FC236}">
                  <a16:creationId xmlns:a16="http://schemas.microsoft.com/office/drawing/2014/main" id="{38A3D474-A0E4-447A-845B-9A0ACA2F6035}"/>
                </a:ext>
              </a:extLst>
            </p:cNvPr>
            <p:cNvSpPr>
              <a:spLocks noChangeShapeType="1"/>
            </p:cNvSpPr>
            <p:nvPr/>
          </p:nvSpPr>
          <p:spPr bwMode="auto">
            <a:xfrm>
              <a:off x="7052398" y="5572290"/>
              <a:ext cx="0" cy="24871"/>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81" name="Line 121">
              <a:extLst>
                <a:ext uri="{FF2B5EF4-FFF2-40B4-BE49-F238E27FC236}">
                  <a16:creationId xmlns:a16="http://schemas.microsoft.com/office/drawing/2014/main" id="{626F9F5B-0A89-4DF7-B605-C798D424F9D8}"/>
                </a:ext>
              </a:extLst>
            </p:cNvPr>
            <p:cNvSpPr>
              <a:spLocks noChangeShapeType="1"/>
            </p:cNvSpPr>
            <p:nvPr/>
          </p:nvSpPr>
          <p:spPr bwMode="auto">
            <a:xfrm>
              <a:off x="7374385" y="5572290"/>
              <a:ext cx="0" cy="24871"/>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82" name="Line 122">
              <a:extLst>
                <a:ext uri="{FF2B5EF4-FFF2-40B4-BE49-F238E27FC236}">
                  <a16:creationId xmlns:a16="http://schemas.microsoft.com/office/drawing/2014/main" id="{EF412B1B-0156-4143-8613-21DF8E9A2FCD}"/>
                </a:ext>
              </a:extLst>
            </p:cNvPr>
            <p:cNvSpPr>
              <a:spLocks noChangeShapeType="1"/>
            </p:cNvSpPr>
            <p:nvPr/>
          </p:nvSpPr>
          <p:spPr bwMode="auto">
            <a:xfrm>
              <a:off x="7587427" y="5572290"/>
              <a:ext cx="0" cy="24871"/>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83" name="Line 123">
              <a:extLst>
                <a:ext uri="{FF2B5EF4-FFF2-40B4-BE49-F238E27FC236}">
                  <a16:creationId xmlns:a16="http://schemas.microsoft.com/office/drawing/2014/main" id="{F80D3D9B-C9CC-48A7-8EBF-17FB38F0E5FB}"/>
                </a:ext>
              </a:extLst>
            </p:cNvPr>
            <p:cNvSpPr>
              <a:spLocks noChangeShapeType="1"/>
            </p:cNvSpPr>
            <p:nvPr/>
          </p:nvSpPr>
          <p:spPr bwMode="auto">
            <a:xfrm>
              <a:off x="7776260" y="5572290"/>
              <a:ext cx="0" cy="24871"/>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84" name="Line 124">
              <a:extLst>
                <a:ext uri="{FF2B5EF4-FFF2-40B4-BE49-F238E27FC236}">
                  <a16:creationId xmlns:a16="http://schemas.microsoft.com/office/drawing/2014/main" id="{43E075FB-E421-4826-AB7E-771006FA06B1}"/>
                </a:ext>
              </a:extLst>
            </p:cNvPr>
            <p:cNvSpPr>
              <a:spLocks noChangeShapeType="1"/>
            </p:cNvSpPr>
            <p:nvPr/>
          </p:nvSpPr>
          <p:spPr bwMode="auto">
            <a:xfrm>
              <a:off x="7957831" y="5572290"/>
              <a:ext cx="0" cy="24871"/>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85" name="Line 125">
              <a:extLst>
                <a:ext uri="{FF2B5EF4-FFF2-40B4-BE49-F238E27FC236}">
                  <a16:creationId xmlns:a16="http://schemas.microsoft.com/office/drawing/2014/main" id="{F3A84FF2-F892-4D21-8137-58B9CDD99267}"/>
                </a:ext>
              </a:extLst>
            </p:cNvPr>
            <p:cNvSpPr>
              <a:spLocks noChangeShapeType="1"/>
            </p:cNvSpPr>
            <p:nvPr/>
          </p:nvSpPr>
          <p:spPr bwMode="auto">
            <a:xfrm>
              <a:off x="8120036" y="5572290"/>
              <a:ext cx="0" cy="24871"/>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86" name="Line 126">
              <a:extLst>
                <a:ext uri="{FF2B5EF4-FFF2-40B4-BE49-F238E27FC236}">
                  <a16:creationId xmlns:a16="http://schemas.microsoft.com/office/drawing/2014/main" id="{7A018C49-2752-424A-BC8F-8AC9C32A6086}"/>
                </a:ext>
              </a:extLst>
            </p:cNvPr>
            <p:cNvSpPr>
              <a:spLocks noChangeShapeType="1"/>
            </p:cNvSpPr>
            <p:nvPr/>
          </p:nvSpPr>
          <p:spPr bwMode="auto">
            <a:xfrm>
              <a:off x="8253186" y="5572290"/>
              <a:ext cx="0" cy="24871"/>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87" name="Line 127">
              <a:extLst>
                <a:ext uri="{FF2B5EF4-FFF2-40B4-BE49-F238E27FC236}">
                  <a16:creationId xmlns:a16="http://schemas.microsoft.com/office/drawing/2014/main" id="{F589BB50-2230-4460-8080-12E53C0C3DBE}"/>
                </a:ext>
              </a:extLst>
            </p:cNvPr>
            <p:cNvSpPr>
              <a:spLocks noChangeShapeType="1"/>
            </p:cNvSpPr>
            <p:nvPr/>
          </p:nvSpPr>
          <p:spPr bwMode="auto">
            <a:xfrm>
              <a:off x="9110201" y="5572290"/>
              <a:ext cx="0" cy="24871"/>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88" name="Line 128">
              <a:extLst>
                <a:ext uri="{FF2B5EF4-FFF2-40B4-BE49-F238E27FC236}">
                  <a16:creationId xmlns:a16="http://schemas.microsoft.com/office/drawing/2014/main" id="{71A25C13-0B97-4810-95F2-DFA362DF6DD1}"/>
                </a:ext>
              </a:extLst>
            </p:cNvPr>
            <p:cNvSpPr>
              <a:spLocks noChangeShapeType="1"/>
            </p:cNvSpPr>
            <p:nvPr/>
          </p:nvSpPr>
          <p:spPr bwMode="auto">
            <a:xfrm>
              <a:off x="9565340" y="5572290"/>
              <a:ext cx="0" cy="24871"/>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89" name="Line 129">
              <a:extLst>
                <a:ext uri="{FF2B5EF4-FFF2-40B4-BE49-F238E27FC236}">
                  <a16:creationId xmlns:a16="http://schemas.microsoft.com/office/drawing/2014/main" id="{6842ADB3-62C9-4F87-BE6E-74A8C7C9D870}"/>
                </a:ext>
              </a:extLst>
            </p:cNvPr>
            <p:cNvSpPr>
              <a:spLocks noChangeShapeType="1"/>
            </p:cNvSpPr>
            <p:nvPr/>
          </p:nvSpPr>
          <p:spPr bwMode="auto">
            <a:xfrm>
              <a:off x="9882484" y="5572290"/>
              <a:ext cx="0" cy="24871"/>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90" name="Line 130">
              <a:extLst>
                <a:ext uri="{FF2B5EF4-FFF2-40B4-BE49-F238E27FC236}">
                  <a16:creationId xmlns:a16="http://schemas.microsoft.com/office/drawing/2014/main" id="{40817748-F629-4262-AD97-54B998006124}"/>
                </a:ext>
              </a:extLst>
            </p:cNvPr>
            <p:cNvSpPr>
              <a:spLocks noChangeShapeType="1"/>
            </p:cNvSpPr>
            <p:nvPr/>
          </p:nvSpPr>
          <p:spPr bwMode="auto">
            <a:xfrm>
              <a:off x="10122158" y="5572290"/>
              <a:ext cx="0" cy="24871"/>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91" name="Line 131">
              <a:extLst>
                <a:ext uri="{FF2B5EF4-FFF2-40B4-BE49-F238E27FC236}">
                  <a16:creationId xmlns:a16="http://schemas.microsoft.com/office/drawing/2014/main" id="{73499FA4-DE16-45C0-885A-EB08B763A2EE}"/>
                </a:ext>
              </a:extLst>
            </p:cNvPr>
            <p:cNvSpPr>
              <a:spLocks noChangeShapeType="1"/>
            </p:cNvSpPr>
            <p:nvPr/>
          </p:nvSpPr>
          <p:spPr bwMode="auto">
            <a:xfrm>
              <a:off x="10310991" y="5572290"/>
              <a:ext cx="0" cy="24871"/>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92" name="Line 132">
              <a:extLst>
                <a:ext uri="{FF2B5EF4-FFF2-40B4-BE49-F238E27FC236}">
                  <a16:creationId xmlns:a16="http://schemas.microsoft.com/office/drawing/2014/main" id="{1635422D-306A-4EC4-9E3D-4794D2B8F4E4}"/>
                </a:ext>
              </a:extLst>
            </p:cNvPr>
            <p:cNvSpPr>
              <a:spLocks noChangeShapeType="1"/>
            </p:cNvSpPr>
            <p:nvPr/>
          </p:nvSpPr>
          <p:spPr bwMode="auto">
            <a:xfrm>
              <a:off x="10499826" y="5572290"/>
              <a:ext cx="0" cy="24871"/>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93" name="Line 133">
              <a:extLst>
                <a:ext uri="{FF2B5EF4-FFF2-40B4-BE49-F238E27FC236}">
                  <a16:creationId xmlns:a16="http://schemas.microsoft.com/office/drawing/2014/main" id="{05761482-4141-4102-A403-C147038B38D5}"/>
                </a:ext>
              </a:extLst>
            </p:cNvPr>
            <p:cNvSpPr>
              <a:spLocks noChangeShapeType="1"/>
            </p:cNvSpPr>
            <p:nvPr/>
          </p:nvSpPr>
          <p:spPr bwMode="auto">
            <a:xfrm>
              <a:off x="10632977" y="5572290"/>
              <a:ext cx="0" cy="24871"/>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94" name="Line 134">
              <a:extLst>
                <a:ext uri="{FF2B5EF4-FFF2-40B4-BE49-F238E27FC236}">
                  <a16:creationId xmlns:a16="http://schemas.microsoft.com/office/drawing/2014/main" id="{D237BFDC-6851-40DC-A986-EA962B7C9156}"/>
                </a:ext>
              </a:extLst>
            </p:cNvPr>
            <p:cNvSpPr>
              <a:spLocks noChangeShapeType="1"/>
            </p:cNvSpPr>
            <p:nvPr/>
          </p:nvSpPr>
          <p:spPr bwMode="auto">
            <a:xfrm>
              <a:off x="10766129" y="5572290"/>
              <a:ext cx="0" cy="24871"/>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95" name="Line 135">
              <a:extLst>
                <a:ext uri="{FF2B5EF4-FFF2-40B4-BE49-F238E27FC236}">
                  <a16:creationId xmlns:a16="http://schemas.microsoft.com/office/drawing/2014/main" id="{597CF493-F479-44F8-ABE2-9A71073144E4}"/>
                </a:ext>
              </a:extLst>
            </p:cNvPr>
            <p:cNvSpPr>
              <a:spLocks noChangeShapeType="1"/>
            </p:cNvSpPr>
            <p:nvPr/>
          </p:nvSpPr>
          <p:spPr bwMode="auto">
            <a:xfrm>
              <a:off x="8347603" y="5569526"/>
              <a:ext cx="0" cy="538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96" name="Line 136">
              <a:extLst>
                <a:ext uri="{FF2B5EF4-FFF2-40B4-BE49-F238E27FC236}">
                  <a16:creationId xmlns:a16="http://schemas.microsoft.com/office/drawing/2014/main" id="{BDBFBE17-EAAC-4402-8BD0-B5824D803CFA}"/>
                </a:ext>
              </a:extLst>
            </p:cNvPr>
            <p:cNvSpPr>
              <a:spLocks noChangeShapeType="1"/>
            </p:cNvSpPr>
            <p:nvPr/>
          </p:nvSpPr>
          <p:spPr bwMode="auto">
            <a:xfrm>
              <a:off x="10867810" y="5569526"/>
              <a:ext cx="0" cy="538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200" name="TextBox 199">
              <a:extLst>
                <a:ext uri="{FF2B5EF4-FFF2-40B4-BE49-F238E27FC236}">
                  <a16:creationId xmlns:a16="http://schemas.microsoft.com/office/drawing/2014/main" id="{070B4051-2E9F-44D3-837E-FBDD84B80147}"/>
                </a:ext>
              </a:extLst>
            </p:cNvPr>
            <p:cNvSpPr txBox="1"/>
            <p:nvPr/>
          </p:nvSpPr>
          <p:spPr>
            <a:xfrm>
              <a:off x="934684" y="4861239"/>
              <a:ext cx="3573101" cy="215444"/>
            </a:xfrm>
            <a:prstGeom prst="rect">
              <a:avLst/>
            </a:prstGeom>
            <a:noFill/>
          </p:spPr>
          <p:txBody>
            <a:bodyPr wrap="square" lIns="0" tIns="0" rIns="0" bIns="0" rtlCol="0">
              <a:spAutoFit/>
            </a:bodyPr>
            <a:lstStyle/>
            <a:p>
              <a:pPr rtl="0"/>
              <a:r>
                <a:rPr lang="ru" sz="1400" b="1" dirty="0"/>
                <a:t>Статус мутации НRR</a:t>
              </a:r>
              <a:endParaRPr lang="en-GB" sz="1400" b="1" dirty="0"/>
            </a:p>
          </p:txBody>
        </p:sp>
        <p:sp>
          <p:nvSpPr>
            <p:cNvPr id="201" name="TextBox 200">
              <a:extLst>
                <a:ext uri="{FF2B5EF4-FFF2-40B4-BE49-F238E27FC236}">
                  <a16:creationId xmlns:a16="http://schemas.microsoft.com/office/drawing/2014/main" id="{9FE91C7E-5F21-4109-B435-61BE2CCE6846}"/>
                </a:ext>
              </a:extLst>
            </p:cNvPr>
            <p:cNvSpPr txBox="1"/>
            <p:nvPr/>
          </p:nvSpPr>
          <p:spPr>
            <a:xfrm>
              <a:off x="722083" y="5152046"/>
              <a:ext cx="3573101" cy="215444"/>
            </a:xfrm>
            <a:prstGeom prst="rect">
              <a:avLst/>
            </a:prstGeom>
            <a:noFill/>
          </p:spPr>
          <p:txBody>
            <a:bodyPr wrap="square" lIns="0" tIns="0" rIns="0" bIns="0" rtlCol="0">
              <a:spAutoFit/>
            </a:bodyPr>
            <a:lstStyle/>
            <a:p>
              <a:pPr rtl="0"/>
              <a:r>
                <a:rPr lang="ru" sz="1050" dirty="0"/>
                <a:t>       </a:t>
              </a:r>
              <a:r>
                <a:rPr lang="ru" sz="1400" dirty="0"/>
                <a:t>Наличие мутации генов HRR</a:t>
              </a:r>
              <a:endParaRPr lang="en-GB" sz="1400" dirty="0"/>
            </a:p>
          </p:txBody>
        </p:sp>
        <p:grpSp>
          <p:nvGrpSpPr>
            <p:cNvPr id="202" name="Group 201">
              <a:extLst>
                <a:ext uri="{FF2B5EF4-FFF2-40B4-BE49-F238E27FC236}">
                  <a16:creationId xmlns:a16="http://schemas.microsoft.com/office/drawing/2014/main" id="{CB5BC84A-929C-4A08-B26E-A65CE3FD1DE1}"/>
                </a:ext>
              </a:extLst>
            </p:cNvPr>
            <p:cNvGrpSpPr/>
            <p:nvPr/>
          </p:nvGrpSpPr>
          <p:grpSpPr>
            <a:xfrm>
              <a:off x="7205102" y="5211960"/>
              <a:ext cx="810182" cy="69851"/>
              <a:chOff x="5476960" y="5889524"/>
              <a:chExt cx="405214" cy="60500"/>
            </a:xfrm>
            <a:solidFill>
              <a:schemeClr val="tx1"/>
            </a:solidFill>
          </p:grpSpPr>
          <p:sp>
            <p:nvSpPr>
              <p:cNvPr id="232" name="Line 225">
                <a:extLst>
                  <a:ext uri="{FF2B5EF4-FFF2-40B4-BE49-F238E27FC236}">
                    <a16:creationId xmlns:a16="http://schemas.microsoft.com/office/drawing/2014/main" id="{6D688EE4-62EE-4272-8576-BDACD3D6CA04}"/>
                  </a:ext>
                </a:extLst>
              </p:cNvPr>
              <p:cNvSpPr>
                <a:spLocks noChangeShapeType="1"/>
              </p:cNvSpPr>
              <p:nvPr/>
            </p:nvSpPr>
            <p:spPr bwMode="auto">
              <a:xfrm>
                <a:off x="5476960" y="5917920"/>
                <a:ext cx="405214" cy="0"/>
              </a:xfrm>
              <a:prstGeom prst="line">
                <a:avLst/>
              </a:prstGeom>
              <a:grpFill/>
              <a:ln w="12700" cap="flat">
                <a:solidFill>
                  <a:schemeClr val="tx1"/>
                </a:solidFill>
                <a:prstDash val="solid"/>
                <a:miter lim="800000"/>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233" name="Line 226">
                <a:extLst>
                  <a:ext uri="{FF2B5EF4-FFF2-40B4-BE49-F238E27FC236}">
                    <a16:creationId xmlns:a16="http://schemas.microsoft.com/office/drawing/2014/main" id="{B617365F-2110-4401-A5BB-4749D746325B}"/>
                  </a:ext>
                </a:extLst>
              </p:cNvPr>
              <p:cNvSpPr>
                <a:spLocks noChangeShapeType="1"/>
              </p:cNvSpPr>
              <p:nvPr/>
            </p:nvSpPr>
            <p:spPr bwMode="auto">
              <a:xfrm>
                <a:off x="5476960" y="5889524"/>
                <a:ext cx="0" cy="60497"/>
              </a:xfrm>
              <a:prstGeom prst="line">
                <a:avLst/>
              </a:prstGeom>
              <a:grpFill/>
              <a:ln w="12700" cap="flat">
                <a:solidFill>
                  <a:schemeClr val="tx1"/>
                </a:solidFill>
                <a:prstDash val="solid"/>
                <a:miter lim="800000"/>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234" name="Line 227">
                <a:extLst>
                  <a:ext uri="{FF2B5EF4-FFF2-40B4-BE49-F238E27FC236}">
                    <a16:creationId xmlns:a16="http://schemas.microsoft.com/office/drawing/2014/main" id="{511DA29C-E81A-4265-B50E-8955C84811F5}"/>
                  </a:ext>
                </a:extLst>
              </p:cNvPr>
              <p:cNvSpPr>
                <a:spLocks noChangeShapeType="1"/>
              </p:cNvSpPr>
              <p:nvPr/>
            </p:nvSpPr>
            <p:spPr bwMode="auto">
              <a:xfrm>
                <a:off x="5882174" y="5889527"/>
                <a:ext cx="0" cy="60497"/>
              </a:xfrm>
              <a:prstGeom prst="line">
                <a:avLst/>
              </a:prstGeom>
              <a:grpFill/>
              <a:ln w="12700" cap="flat">
                <a:solidFill>
                  <a:schemeClr val="tx1"/>
                </a:solidFill>
                <a:prstDash val="solid"/>
                <a:miter lim="800000"/>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235" name="Oval 228">
                <a:extLst>
                  <a:ext uri="{FF2B5EF4-FFF2-40B4-BE49-F238E27FC236}">
                    <a16:creationId xmlns:a16="http://schemas.microsoft.com/office/drawing/2014/main" id="{95A492BF-55BC-424F-B97D-029A8F5853C1}"/>
                  </a:ext>
                </a:extLst>
              </p:cNvPr>
              <p:cNvSpPr>
                <a:spLocks noChangeArrowheads="1"/>
              </p:cNvSpPr>
              <p:nvPr/>
            </p:nvSpPr>
            <p:spPr bwMode="auto">
              <a:xfrm>
                <a:off x="5659785" y="5900604"/>
                <a:ext cx="27477" cy="45720"/>
              </a:xfrm>
              <a:prstGeom prst="ellipse">
                <a:avLst/>
              </a:prstGeom>
              <a:grpFill/>
              <a:ln>
                <a:solidFill>
                  <a:schemeClr val="tx1"/>
                </a:solidFill>
              </a:ln>
            </p:spPr>
            <p:txBody>
              <a:bodyPr vert="horz" wrap="square" lIns="91440" tIns="45720" rIns="91440" bIns="45720" numCol="1" rtlCol="0" anchor="t" anchorCtr="0" compatLnSpc="1">
                <a:prstTxWarp prst="textNoShape">
                  <a:avLst/>
                </a:prstTxWarp>
              </a:bodyPr>
              <a:lstStyle/>
              <a:p>
                <a:pPr rtl="0"/>
                <a:endParaRPr lang="en-GB" dirty="0"/>
              </a:p>
            </p:txBody>
          </p:sp>
        </p:grpSp>
        <p:sp>
          <p:nvSpPr>
            <p:cNvPr id="203" name="TextBox 202">
              <a:extLst>
                <a:ext uri="{FF2B5EF4-FFF2-40B4-BE49-F238E27FC236}">
                  <a16:creationId xmlns:a16="http://schemas.microsoft.com/office/drawing/2014/main" id="{C0C1EF04-034E-44AA-B32D-D5D27E6E6E83}"/>
                </a:ext>
              </a:extLst>
            </p:cNvPr>
            <p:cNvSpPr txBox="1"/>
            <p:nvPr/>
          </p:nvSpPr>
          <p:spPr>
            <a:xfrm>
              <a:off x="9380337" y="5152046"/>
              <a:ext cx="1484135" cy="189680"/>
            </a:xfrm>
            <a:prstGeom prst="rect">
              <a:avLst/>
            </a:prstGeom>
            <a:noFill/>
          </p:spPr>
          <p:txBody>
            <a:bodyPr wrap="square" lIns="0" tIns="0" rIns="0" bIns="0" rtlCol="0">
              <a:spAutoFit/>
            </a:bodyPr>
            <a:lstStyle/>
            <a:p>
              <a:pPr algn="ctr" rtl="0"/>
              <a:r>
                <a:rPr lang="ru" sz="1050" b="1"/>
                <a:t>0,50 (0,34‒0,73)</a:t>
              </a:r>
              <a:endParaRPr lang="en-GB" sz="1050" b="1" dirty="0"/>
            </a:p>
          </p:txBody>
        </p:sp>
        <p:sp>
          <p:nvSpPr>
            <p:cNvPr id="204" name="TextBox 203">
              <a:extLst>
                <a:ext uri="{FF2B5EF4-FFF2-40B4-BE49-F238E27FC236}">
                  <a16:creationId xmlns:a16="http://schemas.microsoft.com/office/drawing/2014/main" id="{508F049B-C027-4C74-81AF-A3324F6E52CF}"/>
                </a:ext>
              </a:extLst>
            </p:cNvPr>
            <p:cNvSpPr txBox="1"/>
            <p:nvPr/>
          </p:nvSpPr>
          <p:spPr>
            <a:xfrm>
              <a:off x="4401716" y="5154004"/>
              <a:ext cx="1304724" cy="161583"/>
            </a:xfrm>
            <a:prstGeom prst="rect">
              <a:avLst/>
            </a:prstGeom>
            <a:noFill/>
          </p:spPr>
          <p:txBody>
            <a:bodyPr wrap="square" lIns="0" tIns="0" rIns="0" bIns="0" rtlCol="0">
              <a:spAutoFit/>
            </a:bodyPr>
            <a:lstStyle/>
            <a:p>
              <a:pPr algn="ctr" rtl="0"/>
              <a:r>
                <a:rPr lang="ru" sz="1050" b="1" dirty="0">
                  <a:solidFill>
                    <a:schemeClr val="accent1"/>
                  </a:solidFill>
                </a:rPr>
                <a:t>НД</a:t>
              </a:r>
            </a:p>
          </p:txBody>
        </p:sp>
        <p:sp>
          <p:nvSpPr>
            <p:cNvPr id="205" name="TextBox 204">
              <a:extLst>
                <a:ext uri="{FF2B5EF4-FFF2-40B4-BE49-F238E27FC236}">
                  <a16:creationId xmlns:a16="http://schemas.microsoft.com/office/drawing/2014/main" id="{79B8F836-2FAE-42BC-AAFB-D84DE9D52DF7}"/>
                </a:ext>
              </a:extLst>
            </p:cNvPr>
            <p:cNvSpPr txBox="1"/>
            <p:nvPr/>
          </p:nvSpPr>
          <p:spPr>
            <a:xfrm>
              <a:off x="5498304" y="5152571"/>
              <a:ext cx="331518" cy="161583"/>
            </a:xfrm>
            <a:prstGeom prst="rect">
              <a:avLst/>
            </a:prstGeom>
            <a:noFill/>
          </p:spPr>
          <p:txBody>
            <a:bodyPr wrap="square" lIns="0" tIns="0" rIns="0" bIns="0" rtlCol="0">
              <a:spAutoFit/>
            </a:bodyPr>
            <a:lstStyle/>
            <a:p>
              <a:pPr algn="ctr" rtl="0"/>
              <a:r>
                <a:rPr lang="ru" sz="1050" b="1" dirty="0">
                  <a:solidFill>
                    <a:schemeClr val="accent2"/>
                  </a:solidFill>
                </a:rPr>
                <a:t>13,9</a:t>
              </a:r>
            </a:p>
          </p:txBody>
        </p:sp>
        <p:sp>
          <p:nvSpPr>
            <p:cNvPr id="206" name="Line 117">
              <a:extLst>
                <a:ext uri="{FF2B5EF4-FFF2-40B4-BE49-F238E27FC236}">
                  <a16:creationId xmlns:a16="http://schemas.microsoft.com/office/drawing/2014/main" id="{FEBA12D4-09B0-44A8-97D3-BECA64EFE0E6}"/>
                </a:ext>
              </a:extLst>
            </p:cNvPr>
            <p:cNvSpPr>
              <a:spLocks noChangeShapeType="1"/>
            </p:cNvSpPr>
            <p:nvPr/>
          </p:nvSpPr>
          <p:spPr bwMode="auto">
            <a:xfrm>
              <a:off x="5829821" y="5569526"/>
              <a:ext cx="5047675" cy="0"/>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rtlCol="0" anchor="t" anchorCtr="0" compatLnSpc="1">
              <a:prstTxWarp prst="textNoShape">
                <a:avLst/>
              </a:prstTxWarp>
            </a:bodyPr>
            <a:lstStyle/>
            <a:p>
              <a:pPr rtl="0"/>
              <a:endParaRPr lang="en-GB" sz="2000" dirty="0"/>
            </a:p>
          </p:txBody>
        </p:sp>
        <p:sp>
          <p:nvSpPr>
            <p:cNvPr id="207" name="TextBox 206">
              <a:extLst>
                <a:ext uri="{FF2B5EF4-FFF2-40B4-BE49-F238E27FC236}">
                  <a16:creationId xmlns:a16="http://schemas.microsoft.com/office/drawing/2014/main" id="{55D59DEB-CB19-4206-A0BC-0AFCEC7300B7}"/>
                </a:ext>
              </a:extLst>
            </p:cNvPr>
            <p:cNvSpPr txBox="1"/>
            <p:nvPr/>
          </p:nvSpPr>
          <p:spPr>
            <a:xfrm>
              <a:off x="722083" y="5339231"/>
              <a:ext cx="4040328" cy="215444"/>
            </a:xfrm>
            <a:prstGeom prst="rect">
              <a:avLst/>
            </a:prstGeom>
            <a:noFill/>
          </p:spPr>
          <p:txBody>
            <a:bodyPr wrap="square" lIns="0" tIns="0" rIns="0" bIns="0" rtlCol="0">
              <a:spAutoFit/>
            </a:bodyPr>
            <a:lstStyle/>
            <a:p>
              <a:pPr rtl="0"/>
              <a:r>
                <a:rPr lang="ru" sz="1400" dirty="0"/>
                <a:t>     Отсутствие мутаций генов HRR</a:t>
              </a:r>
              <a:endParaRPr lang="en-GB" sz="1400" dirty="0"/>
            </a:p>
          </p:txBody>
        </p:sp>
        <p:grpSp>
          <p:nvGrpSpPr>
            <p:cNvPr id="208" name="Group 207">
              <a:extLst>
                <a:ext uri="{FF2B5EF4-FFF2-40B4-BE49-F238E27FC236}">
                  <a16:creationId xmlns:a16="http://schemas.microsoft.com/office/drawing/2014/main" id="{8A297A20-F79B-4BDF-A248-8C5805A02D45}"/>
                </a:ext>
              </a:extLst>
            </p:cNvPr>
            <p:cNvGrpSpPr/>
            <p:nvPr/>
          </p:nvGrpSpPr>
          <p:grpSpPr>
            <a:xfrm>
              <a:off x="7805461" y="5398690"/>
              <a:ext cx="504434" cy="70763"/>
              <a:chOff x="5629880" y="5889524"/>
              <a:chExt cx="252294" cy="61290"/>
            </a:xfrm>
            <a:solidFill>
              <a:schemeClr val="tx1"/>
            </a:solidFill>
          </p:grpSpPr>
          <p:sp>
            <p:nvSpPr>
              <p:cNvPr id="228" name="Line 225">
                <a:extLst>
                  <a:ext uri="{FF2B5EF4-FFF2-40B4-BE49-F238E27FC236}">
                    <a16:creationId xmlns:a16="http://schemas.microsoft.com/office/drawing/2014/main" id="{9A6B849C-B892-4300-B92E-A1CCA4CFEE0C}"/>
                  </a:ext>
                </a:extLst>
              </p:cNvPr>
              <p:cNvSpPr>
                <a:spLocks noChangeShapeType="1"/>
              </p:cNvSpPr>
              <p:nvPr/>
            </p:nvSpPr>
            <p:spPr bwMode="auto">
              <a:xfrm>
                <a:off x="5629880" y="5917920"/>
                <a:ext cx="252293" cy="0"/>
              </a:xfrm>
              <a:prstGeom prst="line">
                <a:avLst/>
              </a:prstGeom>
              <a:grpFill/>
              <a:ln w="12700" cap="flat">
                <a:solidFill>
                  <a:schemeClr val="tx1"/>
                </a:solidFill>
                <a:prstDash val="solid"/>
                <a:miter lim="800000"/>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229" name="Line 226">
                <a:extLst>
                  <a:ext uri="{FF2B5EF4-FFF2-40B4-BE49-F238E27FC236}">
                    <a16:creationId xmlns:a16="http://schemas.microsoft.com/office/drawing/2014/main" id="{BCD7BAC2-FFD3-473B-B979-C3A0E9DF5DC8}"/>
                  </a:ext>
                </a:extLst>
              </p:cNvPr>
              <p:cNvSpPr>
                <a:spLocks noChangeShapeType="1"/>
              </p:cNvSpPr>
              <p:nvPr/>
            </p:nvSpPr>
            <p:spPr bwMode="auto">
              <a:xfrm>
                <a:off x="5629881" y="5889524"/>
                <a:ext cx="0" cy="60497"/>
              </a:xfrm>
              <a:prstGeom prst="line">
                <a:avLst/>
              </a:prstGeom>
              <a:grpFill/>
              <a:ln w="12700" cap="flat">
                <a:solidFill>
                  <a:schemeClr val="tx1"/>
                </a:solidFill>
                <a:prstDash val="solid"/>
                <a:miter lim="800000"/>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230" name="Line 227">
                <a:extLst>
                  <a:ext uri="{FF2B5EF4-FFF2-40B4-BE49-F238E27FC236}">
                    <a16:creationId xmlns:a16="http://schemas.microsoft.com/office/drawing/2014/main" id="{8DAC9EA8-2DB5-4991-A598-CC477FEA86B3}"/>
                  </a:ext>
                </a:extLst>
              </p:cNvPr>
              <p:cNvSpPr>
                <a:spLocks noChangeShapeType="1"/>
              </p:cNvSpPr>
              <p:nvPr/>
            </p:nvSpPr>
            <p:spPr bwMode="auto">
              <a:xfrm>
                <a:off x="5882174" y="5889527"/>
                <a:ext cx="0" cy="60497"/>
              </a:xfrm>
              <a:prstGeom prst="line">
                <a:avLst/>
              </a:prstGeom>
              <a:grpFill/>
              <a:ln w="12700" cap="flat">
                <a:solidFill>
                  <a:schemeClr val="tx1"/>
                </a:solidFill>
                <a:prstDash val="solid"/>
                <a:miter lim="800000"/>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231" name="Oval 228">
                <a:extLst>
                  <a:ext uri="{FF2B5EF4-FFF2-40B4-BE49-F238E27FC236}">
                    <a16:creationId xmlns:a16="http://schemas.microsoft.com/office/drawing/2014/main" id="{7762C1CF-41A7-4199-8183-06ACE4EE1E0B}"/>
                  </a:ext>
                </a:extLst>
              </p:cNvPr>
              <p:cNvSpPr>
                <a:spLocks noChangeArrowheads="1"/>
              </p:cNvSpPr>
              <p:nvPr/>
            </p:nvSpPr>
            <p:spPr bwMode="auto">
              <a:xfrm>
                <a:off x="5725711" y="5891080"/>
                <a:ext cx="33818" cy="59734"/>
              </a:xfrm>
              <a:prstGeom prst="ellipse">
                <a:avLst/>
              </a:prstGeom>
              <a:grpFill/>
              <a:ln>
                <a:solidFill>
                  <a:schemeClr val="tx1"/>
                </a:solidFill>
              </a:ln>
            </p:spPr>
            <p:txBody>
              <a:bodyPr vert="horz" wrap="square" lIns="91440" tIns="45720" rIns="91440" bIns="45720" numCol="1" rtlCol="0" anchor="t" anchorCtr="0" compatLnSpc="1">
                <a:prstTxWarp prst="textNoShape">
                  <a:avLst/>
                </a:prstTxWarp>
              </a:bodyPr>
              <a:lstStyle/>
              <a:p>
                <a:pPr rtl="0"/>
                <a:endParaRPr lang="en-GB" dirty="0"/>
              </a:p>
            </p:txBody>
          </p:sp>
        </p:grpSp>
        <p:sp>
          <p:nvSpPr>
            <p:cNvPr id="209" name="TextBox 208">
              <a:extLst>
                <a:ext uri="{FF2B5EF4-FFF2-40B4-BE49-F238E27FC236}">
                  <a16:creationId xmlns:a16="http://schemas.microsoft.com/office/drawing/2014/main" id="{91D7A46E-AFB5-4016-83C3-7414F10694B3}"/>
                </a:ext>
              </a:extLst>
            </p:cNvPr>
            <p:cNvSpPr txBox="1"/>
            <p:nvPr/>
          </p:nvSpPr>
          <p:spPr>
            <a:xfrm>
              <a:off x="9380337" y="5339231"/>
              <a:ext cx="1484135" cy="189680"/>
            </a:xfrm>
            <a:prstGeom prst="rect">
              <a:avLst/>
            </a:prstGeom>
            <a:noFill/>
          </p:spPr>
          <p:txBody>
            <a:bodyPr wrap="square" lIns="0" tIns="0" rIns="0" bIns="0" rtlCol="0">
              <a:spAutoFit/>
            </a:bodyPr>
            <a:lstStyle/>
            <a:p>
              <a:pPr algn="ctr" rtl="0"/>
              <a:r>
                <a:rPr lang="ru" sz="1050" b="1"/>
                <a:t>0,76 (0,60‒0,97)</a:t>
              </a:r>
              <a:endParaRPr lang="en-GB" sz="1050" b="1" dirty="0"/>
            </a:p>
          </p:txBody>
        </p:sp>
        <p:sp>
          <p:nvSpPr>
            <p:cNvPr id="210" name="TextBox 209">
              <a:extLst>
                <a:ext uri="{FF2B5EF4-FFF2-40B4-BE49-F238E27FC236}">
                  <a16:creationId xmlns:a16="http://schemas.microsoft.com/office/drawing/2014/main" id="{051ADCD2-6FE1-412D-8650-C5C99662C507}"/>
                </a:ext>
              </a:extLst>
            </p:cNvPr>
            <p:cNvSpPr txBox="1"/>
            <p:nvPr/>
          </p:nvSpPr>
          <p:spPr>
            <a:xfrm>
              <a:off x="4401716" y="5341189"/>
              <a:ext cx="1304724" cy="161583"/>
            </a:xfrm>
            <a:prstGeom prst="rect">
              <a:avLst/>
            </a:prstGeom>
            <a:noFill/>
          </p:spPr>
          <p:txBody>
            <a:bodyPr wrap="square" lIns="0" tIns="0" rIns="0" bIns="0" rtlCol="0">
              <a:spAutoFit/>
            </a:bodyPr>
            <a:lstStyle/>
            <a:p>
              <a:pPr algn="ctr" rtl="0"/>
              <a:r>
                <a:rPr lang="ru" sz="1050" b="1">
                  <a:solidFill>
                    <a:schemeClr val="accent1"/>
                  </a:solidFill>
                </a:rPr>
                <a:t>24,1</a:t>
              </a:r>
            </a:p>
          </p:txBody>
        </p:sp>
        <p:sp>
          <p:nvSpPr>
            <p:cNvPr id="211" name="TextBox 210">
              <a:extLst>
                <a:ext uri="{FF2B5EF4-FFF2-40B4-BE49-F238E27FC236}">
                  <a16:creationId xmlns:a16="http://schemas.microsoft.com/office/drawing/2014/main" id="{237BCAA0-C95D-4949-8D97-52998B59BB66}"/>
                </a:ext>
              </a:extLst>
            </p:cNvPr>
            <p:cNvSpPr txBox="1"/>
            <p:nvPr/>
          </p:nvSpPr>
          <p:spPr>
            <a:xfrm>
              <a:off x="4917381" y="5339756"/>
              <a:ext cx="1510973" cy="161583"/>
            </a:xfrm>
            <a:prstGeom prst="rect">
              <a:avLst/>
            </a:prstGeom>
            <a:noFill/>
          </p:spPr>
          <p:txBody>
            <a:bodyPr wrap="square" lIns="0" tIns="0" rIns="0" bIns="0" rtlCol="0">
              <a:spAutoFit/>
            </a:bodyPr>
            <a:lstStyle/>
            <a:p>
              <a:pPr algn="ctr" rtl="0"/>
              <a:r>
                <a:rPr lang="ru" sz="1050" b="1">
                  <a:solidFill>
                    <a:schemeClr val="accent2"/>
                  </a:solidFill>
                </a:rPr>
                <a:t>19,0</a:t>
              </a:r>
            </a:p>
          </p:txBody>
        </p:sp>
        <p:sp>
          <p:nvSpPr>
            <p:cNvPr id="224" name="TextBox 223">
              <a:extLst>
                <a:ext uri="{FF2B5EF4-FFF2-40B4-BE49-F238E27FC236}">
                  <a16:creationId xmlns:a16="http://schemas.microsoft.com/office/drawing/2014/main" id="{CA5DBC9F-2571-45A3-8F9B-968BFA80FB8F}"/>
                </a:ext>
              </a:extLst>
            </p:cNvPr>
            <p:cNvSpPr txBox="1"/>
            <p:nvPr/>
          </p:nvSpPr>
          <p:spPr>
            <a:xfrm>
              <a:off x="3739751" y="5154004"/>
              <a:ext cx="1012900" cy="189680"/>
            </a:xfrm>
            <a:prstGeom prst="rect">
              <a:avLst/>
            </a:prstGeom>
            <a:noFill/>
          </p:spPr>
          <p:txBody>
            <a:bodyPr wrap="square" lIns="0" tIns="0" rIns="0" bIns="0" rtlCol="0">
              <a:spAutoFit/>
            </a:bodyPr>
            <a:lstStyle/>
            <a:p>
              <a:pPr algn="ctr" rtl="0"/>
              <a:r>
                <a:rPr lang="ru" sz="1050"/>
                <a:t>226</a:t>
              </a:r>
            </a:p>
          </p:txBody>
        </p:sp>
        <p:sp>
          <p:nvSpPr>
            <p:cNvPr id="225" name="TextBox 224">
              <a:extLst>
                <a:ext uri="{FF2B5EF4-FFF2-40B4-BE49-F238E27FC236}">
                  <a16:creationId xmlns:a16="http://schemas.microsoft.com/office/drawing/2014/main" id="{69E6AE8A-804F-416F-BC7C-A3179752C510}"/>
                </a:ext>
              </a:extLst>
            </p:cNvPr>
            <p:cNvSpPr txBox="1"/>
            <p:nvPr/>
          </p:nvSpPr>
          <p:spPr>
            <a:xfrm>
              <a:off x="3739751" y="5341189"/>
              <a:ext cx="1012900" cy="189680"/>
            </a:xfrm>
            <a:prstGeom prst="rect">
              <a:avLst/>
            </a:prstGeom>
            <a:noFill/>
          </p:spPr>
          <p:txBody>
            <a:bodyPr wrap="square" lIns="0" tIns="0" rIns="0" bIns="0" rtlCol="0">
              <a:spAutoFit/>
            </a:bodyPr>
            <a:lstStyle/>
            <a:p>
              <a:pPr algn="ctr" rtl="0"/>
              <a:r>
                <a:rPr lang="ru" sz="1050"/>
                <a:t>570</a:t>
              </a:r>
            </a:p>
          </p:txBody>
        </p:sp>
        <p:sp>
          <p:nvSpPr>
            <p:cNvPr id="226" name="TextBox 225">
              <a:extLst>
                <a:ext uri="{FF2B5EF4-FFF2-40B4-BE49-F238E27FC236}">
                  <a16:creationId xmlns:a16="http://schemas.microsoft.com/office/drawing/2014/main" id="{C8720B17-BA40-4CF2-98E6-F2D0062CF245}"/>
                </a:ext>
              </a:extLst>
            </p:cNvPr>
            <p:cNvSpPr txBox="1"/>
            <p:nvPr/>
          </p:nvSpPr>
          <p:spPr>
            <a:xfrm>
              <a:off x="3507135" y="4411136"/>
              <a:ext cx="1478131" cy="469683"/>
            </a:xfrm>
            <a:prstGeom prst="rect">
              <a:avLst/>
            </a:prstGeom>
            <a:noFill/>
          </p:spPr>
          <p:txBody>
            <a:bodyPr wrap="square" rtlCol="0">
              <a:spAutoFit/>
            </a:bodyPr>
            <a:lstStyle>
              <a:defPPr>
                <a:defRPr lang="en-US"/>
              </a:defPPr>
              <a:lvl1pPr algn="ctr">
                <a:defRPr sz="1000" b="1"/>
              </a:lvl1pPr>
            </a:lstStyle>
            <a:p>
              <a:pPr rtl="0"/>
              <a:r>
                <a:rPr lang="ru"/>
                <a:t>Количество </a:t>
              </a:r>
              <a:br>
                <a:rPr lang="en-US" dirty="0"/>
              </a:br>
              <a:r>
                <a:rPr lang="ru"/>
                <a:t>пациентов, n</a:t>
              </a:r>
              <a:endParaRPr lang="en-GB" dirty="0"/>
            </a:p>
          </p:txBody>
        </p:sp>
        <p:sp>
          <p:nvSpPr>
            <p:cNvPr id="227" name="TextBox 226">
              <a:extLst>
                <a:ext uri="{FF2B5EF4-FFF2-40B4-BE49-F238E27FC236}">
                  <a16:creationId xmlns:a16="http://schemas.microsoft.com/office/drawing/2014/main" id="{0F993D4B-5616-4327-A0A5-CB98B0D4CF4C}"/>
                </a:ext>
              </a:extLst>
            </p:cNvPr>
            <p:cNvSpPr txBox="1"/>
            <p:nvPr/>
          </p:nvSpPr>
          <p:spPr>
            <a:xfrm>
              <a:off x="4444311" y="4409813"/>
              <a:ext cx="1805241" cy="400110"/>
            </a:xfrm>
            <a:prstGeom prst="rect">
              <a:avLst/>
            </a:prstGeom>
            <a:noFill/>
          </p:spPr>
          <p:txBody>
            <a:bodyPr wrap="square" rtlCol="0">
              <a:spAutoFit/>
            </a:bodyPr>
            <a:lstStyle/>
            <a:p>
              <a:pPr algn="ctr" rtl="0"/>
              <a:r>
                <a:rPr lang="ru" sz="1000" b="1" dirty="0"/>
                <a:t>Медиана рВБП, </a:t>
              </a:r>
              <a:br>
                <a:rPr lang="en-US" sz="1000" b="1" dirty="0"/>
              </a:br>
              <a:r>
                <a:rPr lang="ru" sz="1000" b="1" dirty="0"/>
                <a:t>мес.</a:t>
              </a:r>
              <a:endParaRPr lang="en-GB" sz="1000" b="1" dirty="0"/>
            </a:p>
          </p:txBody>
        </p:sp>
      </p:grpSp>
      <p:sp>
        <p:nvSpPr>
          <p:cNvPr id="6" name="TextBox 5">
            <a:extLst>
              <a:ext uri="{FF2B5EF4-FFF2-40B4-BE49-F238E27FC236}">
                <a16:creationId xmlns:a16="http://schemas.microsoft.com/office/drawing/2014/main" id="{298CB308-5B80-FBE5-D403-B63A84D55357}"/>
              </a:ext>
            </a:extLst>
          </p:cNvPr>
          <p:cNvSpPr txBox="1"/>
          <p:nvPr/>
        </p:nvSpPr>
        <p:spPr>
          <a:xfrm>
            <a:off x="610966" y="230855"/>
            <a:ext cx="11475889" cy="830997"/>
          </a:xfrm>
          <a:prstGeom prst="rect">
            <a:avLst/>
          </a:prstGeom>
          <a:noFill/>
        </p:spPr>
        <p:txBody>
          <a:bodyPr wrap="square">
            <a:spAutoFit/>
          </a:bodyPr>
          <a:lstStyle/>
          <a:p>
            <a:r>
              <a:rPr lang="ru" sz="2400" b="1" i="1" dirty="0"/>
              <a:t>Увеличение медианы рВБП при применении олапариба с абиратероном отмечалось независимо от статуса мутаций генов HRR</a:t>
            </a:r>
            <a:endParaRPr lang="ru-RU" sz="2400" b="1" i="1" dirty="0"/>
          </a:p>
        </p:txBody>
      </p:sp>
      <p:sp>
        <p:nvSpPr>
          <p:cNvPr id="8" name="Oval 7">
            <a:extLst>
              <a:ext uri="{FF2B5EF4-FFF2-40B4-BE49-F238E27FC236}">
                <a16:creationId xmlns:a16="http://schemas.microsoft.com/office/drawing/2014/main" id="{52E715AD-D2D6-9F65-3A4E-8E1A1D079D47}"/>
              </a:ext>
            </a:extLst>
          </p:cNvPr>
          <p:cNvSpPr/>
          <p:nvPr/>
        </p:nvSpPr>
        <p:spPr>
          <a:xfrm>
            <a:off x="6575473" y="3513711"/>
            <a:ext cx="2949742" cy="2536143"/>
          </a:xfrm>
          <a:prstGeom prst="ellipse">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769167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DB58B-70B7-44CD-8688-91B81259B427}"/>
              </a:ext>
            </a:extLst>
          </p:cNvPr>
          <p:cNvSpPr>
            <a:spLocks noGrp="1"/>
          </p:cNvSpPr>
          <p:nvPr>
            <p:ph type="title"/>
          </p:nvPr>
        </p:nvSpPr>
        <p:spPr>
          <a:xfrm>
            <a:off x="0" y="352522"/>
            <a:ext cx="12192000" cy="777873"/>
          </a:xfrm>
        </p:spPr>
        <p:txBody>
          <a:bodyPr/>
          <a:lstStyle/>
          <a:p>
            <a:r>
              <a:rPr lang="ru-RU" dirty="0"/>
              <a:t>Линпарза</a:t>
            </a:r>
            <a:r>
              <a:rPr lang="ru-RU" baseline="30000" dirty="0"/>
              <a:t>®</a:t>
            </a:r>
            <a:r>
              <a:rPr lang="ru-RU" dirty="0"/>
              <a:t> (таблетки, покрытые пленочной оболочкой, 100 и 150 мг) показания к применению в раке предстательной железы  в России:</a:t>
            </a:r>
          </a:p>
        </p:txBody>
      </p:sp>
      <p:sp>
        <p:nvSpPr>
          <p:cNvPr id="4" name="Footer Placeholder 3">
            <a:extLst>
              <a:ext uri="{FF2B5EF4-FFF2-40B4-BE49-F238E27FC236}">
                <a16:creationId xmlns:a16="http://schemas.microsoft.com/office/drawing/2014/main" id="{A57D5794-B570-4224-82DD-4F741D8FD7A6}"/>
              </a:ext>
            </a:extLst>
          </p:cNvPr>
          <p:cNvSpPr>
            <a:spLocks noGrp="1"/>
          </p:cNvSpPr>
          <p:nvPr>
            <p:ph type="ftr" sz="quarter" idx="10"/>
          </p:nvPr>
        </p:nvSpPr>
        <p:spPr>
          <a:xfrm>
            <a:off x="552448" y="6116541"/>
            <a:ext cx="10222663" cy="640716"/>
          </a:xfrm>
        </p:spPr>
        <p:txBody>
          <a:bodyPr/>
          <a:lstStyle/>
          <a:p>
            <a:pPr defTabSz="609585">
              <a:defRPr/>
            </a:pPr>
            <a:r>
              <a:rPr lang="ru-RU" sz="1200" dirty="0">
                <a:solidFill>
                  <a:schemeClr val="accent6"/>
                </a:solidFill>
                <a:latin typeface="Arial"/>
              </a:rPr>
              <a:t>Инструкция по медицинскому применению препарата Линпарза</a:t>
            </a:r>
            <a:r>
              <a:rPr lang="ru-RU" sz="1200" baseline="30000" dirty="0">
                <a:solidFill>
                  <a:schemeClr val="accent6"/>
                </a:solidFill>
                <a:latin typeface="Arial"/>
              </a:rPr>
              <a:t>®</a:t>
            </a:r>
            <a:r>
              <a:rPr lang="ru-RU" sz="1200" dirty="0">
                <a:solidFill>
                  <a:schemeClr val="accent6"/>
                </a:solidFill>
                <a:latin typeface="Arial"/>
              </a:rPr>
              <a:t>, таблетки, покрытые пленочной оболочкой, 100 и150 мг (ЛП-005941  от 26.11.2019) с учетом изм.5  от 06.02.2023</a:t>
            </a:r>
          </a:p>
        </p:txBody>
      </p:sp>
      <p:pic>
        <p:nvPicPr>
          <p:cNvPr id="8" name="Picture 7">
            <a:extLst>
              <a:ext uri="{FF2B5EF4-FFF2-40B4-BE49-F238E27FC236}">
                <a16:creationId xmlns:a16="http://schemas.microsoft.com/office/drawing/2014/main" id="{16AC94E6-88F6-642F-64F1-D38886C18107}"/>
              </a:ext>
            </a:extLst>
          </p:cNvPr>
          <p:cNvPicPr>
            <a:picLocks noChangeAspect="1"/>
          </p:cNvPicPr>
          <p:nvPr/>
        </p:nvPicPr>
        <p:blipFill>
          <a:blip r:embed="rId2"/>
          <a:stretch>
            <a:fillRect/>
          </a:stretch>
        </p:blipFill>
        <p:spPr>
          <a:xfrm>
            <a:off x="552448" y="1771649"/>
            <a:ext cx="11078077" cy="3923297"/>
          </a:xfrm>
          <a:prstGeom prst="rect">
            <a:avLst/>
          </a:prstGeom>
        </p:spPr>
      </p:pic>
    </p:spTree>
    <p:extLst>
      <p:ext uri="{BB962C8B-B14F-4D97-AF65-F5344CB8AC3E}">
        <p14:creationId xmlns:p14="http://schemas.microsoft.com/office/powerpoint/2010/main" val="18081892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DB58B-70B7-44CD-8688-91B81259B427}"/>
              </a:ext>
            </a:extLst>
          </p:cNvPr>
          <p:cNvSpPr>
            <a:spLocks noGrp="1"/>
          </p:cNvSpPr>
          <p:nvPr>
            <p:ph type="title"/>
          </p:nvPr>
        </p:nvSpPr>
        <p:spPr>
          <a:xfrm>
            <a:off x="112295" y="100743"/>
            <a:ext cx="11678652" cy="1182914"/>
          </a:xfrm>
        </p:spPr>
        <p:txBody>
          <a:bodyPr/>
          <a:lstStyle/>
          <a:p>
            <a:r>
              <a:rPr lang="ru-RU" dirty="0" err="1"/>
              <a:t>Линпарза</a:t>
            </a:r>
            <a:r>
              <a:rPr lang="ru-RU" baseline="30000" dirty="0"/>
              <a:t>®</a:t>
            </a:r>
            <a:r>
              <a:rPr lang="ru-RU" dirty="0"/>
              <a:t> продолжительность терапии  в раке предстательной железы  в России:</a:t>
            </a:r>
          </a:p>
        </p:txBody>
      </p:sp>
      <p:sp>
        <p:nvSpPr>
          <p:cNvPr id="4" name="Footer Placeholder 3">
            <a:extLst>
              <a:ext uri="{FF2B5EF4-FFF2-40B4-BE49-F238E27FC236}">
                <a16:creationId xmlns:a16="http://schemas.microsoft.com/office/drawing/2014/main" id="{A57D5794-B570-4224-82DD-4F741D8FD7A6}"/>
              </a:ext>
            </a:extLst>
          </p:cNvPr>
          <p:cNvSpPr>
            <a:spLocks noGrp="1"/>
          </p:cNvSpPr>
          <p:nvPr>
            <p:ph type="ftr" sz="quarter" idx="10"/>
          </p:nvPr>
        </p:nvSpPr>
        <p:spPr>
          <a:xfrm>
            <a:off x="552448" y="6116541"/>
            <a:ext cx="10222663" cy="640716"/>
          </a:xfrm>
        </p:spPr>
        <p:txBody>
          <a:bodyPr/>
          <a:lstStyle/>
          <a:p>
            <a:pPr defTabSz="609585">
              <a:defRPr/>
            </a:pPr>
            <a:r>
              <a:rPr lang="ru-RU" sz="1200" dirty="0">
                <a:solidFill>
                  <a:schemeClr val="accent6"/>
                </a:solidFill>
                <a:latin typeface="Arial"/>
              </a:rPr>
              <a:t>Инструкция по медицинскому применению препарата Линпарза</a:t>
            </a:r>
            <a:r>
              <a:rPr lang="ru-RU" sz="1200" baseline="30000" dirty="0">
                <a:solidFill>
                  <a:schemeClr val="accent6"/>
                </a:solidFill>
                <a:latin typeface="Arial"/>
              </a:rPr>
              <a:t>®</a:t>
            </a:r>
            <a:r>
              <a:rPr lang="ru-RU" sz="1200" dirty="0">
                <a:solidFill>
                  <a:schemeClr val="accent6"/>
                </a:solidFill>
                <a:latin typeface="Arial"/>
              </a:rPr>
              <a:t>, таблетки, покрытые пленочной оболочкой, 100 и150 мг (ЛП-005941  от 26.11.2019) с учетом изм.5  от 06.02.2023</a:t>
            </a:r>
          </a:p>
        </p:txBody>
      </p:sp>
      <p:pic>
        <p:nvPicPr>
          <p:cNvPr id="5" name="Picture 4">
            <a:extLst>
              <a:ext uri="{FF2B5EF4-FFF2-40B4-BE49-F238E27FC236}">
                <a16:creationId xmlns:a16="http://schemas.microsoft.com/office/drawing/2014/main" id="{7A2EE6F0-B87B-31FF-AA7E-47E2DE824A33}"/>
              </a:ext>
            </a:extLst>
          </p:cNvPr>
          <p:cNvPicPr>
            <a:picLocks noChangeAspect="1"/>
          </p:cNvPicPr>
          <p:nvPr/>
        </p:nvPicPr>
        <p:blipFill>
          <a:blip r:embed="rId2"/>
          <a:stretch>
            <a:fillRect/>
          </a:stretch>
        </p:blipFill>
        <p:spPr>
          <a:xfrm>
            <a:off x="552448" y="4112158"/>
            <a:ext cx="10853489" cy="1182914"/>
          </a:xfrm>
          <a:prstGeom prst="rect">
            <a:avLst/>
          </a:prstGeom>
        </p:spPr>
      </p:pic>
      <p:pic>
        <p:nvPicPr>
          <p:cNvPr id="10" name="Picture 9">
            <a:extLst>
              <a:ext uri="{FF2B5EF4-FFF2-40B4-BE49-F238E27FC236}">
                <a16:creationId xmlns:a16="http://schemas.microsoft.com/office/drawing/2014/main" id="{60FF4601-81FC-3204-251D-C314299BA200}"/>
              </a:ext>
            </a:extLst>
          </p:cNvPr>
          <p:cNvPicPr>
            <a:picLocks noChangeAspect="1"/>
          </p:cNvPicPr>
          <p:nvPr/>
        </p:nvPicPr>
        <p:blipFill>
          <a:blip r:embed="rId3"/>
          <a:stretch>
            <a:fillRect/>
          </a:stretch>
        </p:blipFill>
        <p:spPr>
          <a:xfrm>
            <a:off x="552448" y="5295072"/>
            <a:ext cx="3657600" cy="689429"/>
          </a:xfrm>
          <a:prstGeom prst="rect">
            <a:avLst/>
          </a:prstGeom>
        </p:spPr>
      </p:pic>
      <p:pic>
        <p:nvPicPr>
          <p:cNvPr id="12" name="Picture 11">
            <a:extLst>
              <a:ext uri="{FF2B5EF4-FFF2-40B4-BE49-F238E27FC236}">
                <a16:creationId xmlns:a16="http://schemas.microsoft.com/office/drawing/2014/main" id="{F37C10F9-3E4C-5D92-0F31-ACEF35F62BDB}"/>
              </a:ext>
            </a:extLst>
          </p:cNvPr>
          <p:cNvPicPr>
            <a:picLocks noChangeAspect="1"/>
          </p:cNvPicPr>
          <p:nvPr/>
        </p:nvPicPr>
        <p:blipFill>
          <a:blip r:embed="rId4"/>
          <a:stretch>
            <a:fillRect/>
          </a:stretch>
        </p:blipFill>
        <p:spPr>
          <a:xfrm>
            <a:off x="552448" y="1480342"/>
            <a:ext cx="10725152" cy="2143125"/>
          </a:xfrm>
          <a:prstGeom prst="rect">
            <a:avLst/>
          </a:prstGeom>
        </p:spPr>
      </p:pic>
    </p:spTree>
    <p:extLst>
      <p:ext uri="{BB962C8B-B14F-4D97-AF65-F5344CB8AC3E}">
        <p14:creationId xmlns:p14="http://schemas.microsoft.com/office/powerpoint/2010/main" val="9622706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9128214-FE1C-4160-B3DB-36FB4AB7C432}"/>
              </a:ext>
            </a:extLst>
          </p:cNvPr>
          <p:cNvSpPr>
            <a:spLocks noGrp="1"/>
          </p:cNvSpPr>
          <p:nvPr>
            <p:ph type="title"/>
          </p:nvPr>
        </p:nvSpPr>
        <p:spPr>
          <a:xfrm>
            <a:off x="751840" y="-609600"/>
            <a:ext cx="10708640" cy="2296160"/>
          </a:xfrm>
        </p:spPr>
        <p:txBody>
          <a:bodyPr>
            <a:normAutofit fontScale="90000"/>
          </a:bodyPr>
          <a:lstStyle/>
          <a:p>
            <a:pPr algn="ctr"/>
            <a:br>
              <a:rPr lang="ru-RU" sz="3100" dirty="0">
                <a:solidFill>
                  <a:prstClr val="black"/>
                </a:solidFill>
                <a:latin typeface="Times New Roman" panose="02020603050405020304" pitchFamily="18" charset="0"/>
                <a:cs typeface="Times New Roman" panose="02020603050405020304" pitchFamily="18" charset="0"/>
              </a:rPr>
            </a:br>
            <a:br>
              <a:rPr lang="ru-RU" sz="3100" dirty="0">
                <a:solidFill>
                  <a:prstClr val="black"/>
                </a:solidFill>
                <a:latin typeface="Times New Roman" panose="02020603050405020304" pitchFamily="18" charset="0"/>
                <a:cs typeface="Times New Roman" panose="02020603050405020304" pitchFamily="18" charset="0"/>
              </a:rPr>
            </a:br>
            <a:r>
              <a:rPr lang="ru-RU" sz="3600" b="1" dirty="0">
                <a:solidFill>
                  <a:prstClr val="black"/>
                </a:solidFill>
                <a:cs typeface="Times New Roman" panose="02020603050405020304" pitchFamily="18" charset="0"/>
              </a:rPr>
              <a:t>Онкоурологическая заболеваемость в Челябинской </a:t>
            </a:r>
            <a:br>
              <a:rPr lang="ru-RU" sz="3600" b="1" dirty="0">
                <a:solidFill>
                  <a:prstClr val="black"/>
                </a:solidFill>
                <a:cs typeface="Times New Roman" panose="02020603050405020304" pitchFamily="18" charset="0"/>
              </a:rPr>
            </a:br>
            <a:r>
              <a:rPr lang="ru-RU" sz="3600" b="1" dirty="0">
                <a:solidFill>
                  <a:prstClr val="black"/>
                </a:solidFill>
                <a:cs typeface="Times New Roman" panose="02020603050405020304" pitchFamily="18" charset="0"/>
              </a:rPr>
              <a:t>области (количество заболевших)</a:t>
            </a:r>
            <a:br>
              <a:rPr lang="ru-RU" sz="3100" dirty="0">
                <a:solidFill>
                  <a:prstClr val="black"/>
                </a:solidFill>
                <a:latin typeface="Times New Roman" panose="02020603050405020304" pitchFamily="18" charset="0"/>
                <a:cs typeface="Times New Roman" panose="02020603050405020304" pitchFamily="18" charset="0"/>
              </a:rPr>
            </a:br>
            <a:br>
              <a:rPr lang="ru-RU" sz="2400" dirty="0">
                <a:solidFill>
                  <a:prstClr val="black"/>
                </a:solidFill>
                <a:latin typeface="Calibri" panose="020F0502020204030204"/>
              </a:rPr>
            </a:br>
            <a:endParaRPr lang="ru-RU" sz="2400" dirty="0"/>
          </a:p>
        </p:txBody>
      </p:sp>
      <p:graphicFrame>
        <p:nvGraphicFramePr>
          <p:cNvPr id="7" name="Рисунок 4"/>
          <p:cNvGraphicFramePr>
            <a:graphicFrameLocks noGrp="1"/>
          </p:cNvGraphicFramePr>
          <p:nvPr>
            <p:ph idx="1"/>
            <p:extLst>
              <p:ext uri="{D42A27DB-BD31-4B8C-83A1-F6EECF244321}">
                <p14:modId xmlns:p14="http://schemas.microsoft.com/office/powerpoint/2010/main" val="3977317180"/>
              </p:ext>
            </p:extLst>
          </p:nvPr>
        </p:nvGraphicFramePr>
        <p:xfrm>
          <a:off x="336550" y="1239520"/>
          <a:ext cx="11440160" cy="5285824"/>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F6D57C90-55B1-D270-171B-59E6B477C508}"/>
              </a:ext>
            </a:extLst>
          </p:cNvPr>
          <p:cNvSpPr txBox="1"/>
          <p:nvPr/>
        </p:nvSpPr>
        <p:spPr>
          <a:xfrm>
            <a:off x="0" y="6396335"/>
            <a:ext cx="9982200" cy="461665"/>
          </a:xfrm>
          <a:prstGeom prst="rect">
            <a:avLst/>
          </a:prstGeom>
          <a:noFill/>
        </p:spPr>
        <p:txBody>
          <a:bodyPr wrap="square" rtlCol="0">
            <a:spAutoFit/>
          </a:bodyPr>
          <a:lstStyle/>
          <a:p>
            <a:r>
              <a:rPr lang="ru-RU" sz="1200" dirty="0">
                <a:latin typeface="Times New Roman" panose="02020603050405020304" pitchFamily="18" charset="0"/>
                <a:cs typeface="Times New Roman" panose="02020603050405020304" pitchFamily="18" charset="0"/>
              </a:rPr>
              <a:t>Из личного архива Карнаух П.А.,</a:t>
            </a:r>
            <a:r>
              <a:rPr lang="ru-RU" sz="1200" dirty="0">
                <a:latin typeface="Times New Roman"/>
                <a:cs typeface="Times New Roman"/>
              </a:rPr>
              <a:t> Заведующая онкологическим отделением урологическим ГБУЗ «ЧОКЦО и ЯМ» г.  Челябинск, 2023 г</a:t>
            </a:r>
            <a:endParaRPr lang="ru-RU" sz="1200" dirty="0">
              <a:latin typeface="Times New Roman" panose="02020603050405020304" pitchFamily="18" charset="0"/>
              <a:cs typeface="Times New Roman" panose="02020603050405020304" pitchFamily="18" charset="0"/>
            </a:endParaRPr>
          </a:p>
          <a:p>
            <a:endParaRPr lang="ru-RU"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4099969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1111C9-23C3-B23E-5028-37385024229B}"/>
              </a:ext>
            </a:extLst>
          </p:cNvPr>
          <p:cNvSpPr>
            <a:spLocks noGrp="1"/>
          </p:cNvSpPr>
          <p:nvPr>
            <p:ph type="body" sz="quarter" idx="11"/>
          </p:nvPr>
        </p:nvSpPr>
        <p:spPr>
          <a:xfrm>
            <a:off x="1673742" y="1398716"/>
            <a:ext cx="8844516" cy="1951037"/>
          </a:xfrm>
        </p:spPr>
        <p:txBody>
          <a:bodyPr/>
          <a:lstStyle/>
          <a:p>
            <a:pPr algn="ctr"/>
            <a:r>
              <a:rPr lang="ru-RU" dirty="0"/>
              <a:t>Спасибо за внимание</a:t>
            </a:r>
          </a:p>
        </p:txBody>
      </p:sp>
    </p:spTree>
    <p:extLst>
      <p:ext uri="{BB962C8B-B14F-4D97-AF65-F5344CB8AC3E}">
        <p14:creationId xmlns:p14="http://schemas.microsoft.com/office/powerpoint/2010/main" val="12981233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Диаграмма 3"/>
          <p:cNvGraphicFramePr/>
          <p:nvPr>
            <p:extLst>
              <p:ext uri="{D42A27DB-BD31-4B8C-83A1-F6EECF244321}">
                <p14:modId xmlns:p14="http://schemas.microsoft.com/office/powerpoint/2010/main" val="3040642611"/>
              </p:ext>
            </p:extLst>
          </p:nvPr>
        </p:nvGraphicFramePr>
        <p:xfrm>
          <a:off x="912814" y="1447773"/>
          <a:ext cx="10788189" cy="4753695"/>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776281" y="447056"/>
            <a:ext cx="10924722" cy="1077218"/>
          </a:xfrm>
          <a:prstGeom prst="rect">
            <a:avLst/>
          </a:prstGeom>
          <a:noFill/>
        </p:spPr>
        <p:txBody>
          <a:bodyPr wrap="none" rtlCol="0">
            <a:spAutoFit/>
          </a:bodyPr>
          <a:lstStyle/>
          <a:p>
            <a:pPr algn="ctr"/>
            <a:r>
              <a:rPr lang="ru-RU" sz="3200" b="1" dirty="0">
                <a:latin typeface="+mj-lt"/>
                <a:cs typeface="Times New Roman" panose="02020603050405020304" pitchFamily="18" charset="0"/>
              </a:rPr>
              <a:t>Онкоурологическая заболеваемость в Челябинской </a:t>
            </a:r>
          </a:p>
          <a:p>
            <a:pPr algn="ctr"/>
            <a:r>
              <a:rPr lang="ru-RU" sz="3200" b="1" dirty="0">
                <a:latin typeface="+mj-lt"/>
                <a:cs typeface="Times New Roman" panose="02020603050405020304" pitchFamily="18" charset="0"/>
              </a:rPr>
              <a:t>области</a:t>
            </a:r>
          </a:p>
        </p:txBody>
      </p:sp>
      <p:sp>
        <p:nvSpPr>
          <p:cNvPr id="2" name="TextBox 1">
            <a:extLst>
              <a:ext uri="{FF2B5EF4-FFF2-40B4-BE49-F238E27FC236}">
                <a16:creationId xmlns:a16="http://schemas.microsoft.com/office/drawing/2014/main" id="{94AE7CFF-0560-0784-617B-1478306450BD}"/>
              </a:ext>
            </a:extLst>
          </p:cNvPr>
          <p:cNvSpPr txBox="1"/>
          <p:nvPr/>
        </p:nvSpPr>
        <p:spPr>
          <a:xfrm>
            <a:off x="0" y="6243379"/>
            <a:ext cx="9921240" cy="461665"/>
          </a:xfrm>
          <a:prstGeom prst="rect">
            <a:avLst/>
          </a:prstGeom>
          <a:noFill/>
        </p:spPr>
        <p:txBody>
          <a:bodyPr wrap="square" rtlCol="0">
            <a:spAutoFit/>
          </a:bodyPr>
          <a:lstStyle/>
          <a:p>
            <a:r>
              <a:rPr lang="ru-RU" sz="1200" dirty="0">
                <a:latin typeface="Times New Roman" panose="02020603050405020304" pitchFamily="18" charset="0"/>
                <a:cs typeface="Times New Roman" panose="02020603050405020304" pitchFamily="18" charset="0"/>
              </a:rPr>
              <a:t>Из личного архива Карнаух П.А.,</a:t>
            </a:r>
            <a:r>
              <a:rPr lang="ru-RU" sz="1200" dirty="0">
                <a:latin typeface="Times New Roman"/>
                <a:cs typeface="Times New Roman"/>
              </a:rPr>
              <a:t> Заведующая онкологическим отделением урологическим ГБУЗ «ЧОКЦО и ЯМ» г.  Челябинск, 2023 г</a:t>
            </a:r>
            <a:endParaRPr lang="ru-RU" sz="1200" dirty="0">
              <a:latin typeface="Times New Roman" panose="02020603050405020304" pitchFamily="18" charset="0"/>
              <a:cs typeface="Times New Roman" panose="02020603050405020304" pitchFamily="18" charset="0"/>
            </a:endParaRPr>
          </a:p>
          <a:p>
            <a:endParaRPr lang="ru-RU"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834767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4A8CAF-7CD8-42D0-92E7-6B26AF36E71A}"/>
              </a:ext>
            </a:extLst>
          </p:cNvPr>
          <p:cNvSpPr>
            <a:spLocks noGrp="1"/>
          </p:cNvSpPr>
          <p:nvPr>
            <p:ph type="title"/>
          </p:nvPr>
        </p:nvSpPr>
        <p:spPr>
          <a:xfrm>
            <a:off x="407988" y="273114"/>
            <a:ext cx="11376025" cy="1007427"/>
          </a:xfrm>
        </p:spPr>
        <p:txBody>
          <a:bodyPr rtlCol="0">
            <a:normAutofit/>
          </a:bodyPr>
          <a:lstStyle/>
          <a:p>
            <a:pPr>
              <a:lnSpc>
                <a:spcPct val="100000"/>
              </a:lnSpc>
              <a:spcBef>
                <a:spcPts val="1000"/>
              </a:spcBef>
              <a:spcAft>
                <a:spcPts val="200"/>
              </a:spcAft>
            </a:pPr>
            <a:r>
              <a:rPr lang="ru" sz="2400" b="1" i="1" dirty="0">
                <a:latin typeface="+mn-lt"/>
                <a:ea typeface="+mn-ea"/>
                <a:cs typeface="+mn-cs"/>
              </a:rPr>
              <a:t>Ожидается, что смертность от рака предстательной железы удвоится в ближайшие 20 лет</a:t>
            </a:r>
            <a:endParaRPr lang="en-GB" sz="2400" b="1" i="1" dirty="0">
              <a:latin typeface="+mn-lt"/>
              <a:ea typeface="+mn-ea"/>
              <a:cs typeface="+mn-cs"/>
            </a:endParaRPr>
          </a:p>
        </p:txBody>
      </p:sp>
      <p:sp>
        <p:nvSpPr>
          <p:cNvPr id="4" name="Text Placeholder 3">
            <a:extLst>
              <a:ext uri="{FF2B5EF4-FFF2-40B4-BE49-F238E27FC236}">
                <a16:creationId xmlns:a16="http://schemas.microsoft.com/office/drawing/2014/main" id="{D475D68A-8BAF-4695-BE92-DC5E8C68D686}"/>
              </a:ext>
            </a:extLst>
          </p:cNvPr>
          <p:cNvSpPr>
            <a:spLocks noGrp="1"/>
          </p:cNvSpPr>
          <p:nvPr>
            <p:ph type="body" sz="quarter" idx="111"/>
          </p:nvPr>
        </p:nvSpPr>
        <p:spPr>
          <a:xfrm>
            <a:off x="314424" y="6246000"/>
            <a:ext cx="9834449" cy="503993"/>
          </a:xfrm>
        </p:spPr>
        <p:txBody>
          <a:bodyPr rtlCol="0"/>
          <a:lstStyle/>
          <a:p>
            <a:pPr rtl="0"/>
            <a:r>
              <a:rPr lang="ru" dirty="0">
                <a:solidFill>
                  <a:srgbClr val="000000">
                    <a:lumMod val="50000"/>
                    <a:lumOff val="50000"/>
                  </a:srgbClr>
                </a:solidFill>
                <a:latin typeface="Calibri" panose="020F0502020204030204" pitchFamily="34" charset="0"/>
                <a:cs typeface="Calibri" panose="020F0502020204030204" pitchFamily="34" charset="0"/>
              </a:rPr>
              <a:t> GLOBOCAN 2020 Statistics. http://gco.iarc.fr (по состоянию на февраль 2022 г.)</a:t>
            </a:r>
            <a:endParaRPr lang="en-GB" dirty="0">
              <a:latin typeface="Calibri" panose="020F050202020403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3D3F45D2-7EB6-458D-A782-A3F62F7CEC94}"/>
              </a:ext>
            </a:extLst>
          </p:cNvPr>
          <p:cNvSpPr/>
          <p:nvPr/>
        </p:nvSpPr>
        <p:spPr>
          <a:xfrm>
            <a:off x="590843" y="1393110"/>
            <a:ext cx="4805809" cy="738664"/>
          </a:xfrm>
          <a:prstGeom prst="rect">
            <a:avLst/>
          </a:prstGeom>
        </p:spPr>
        <p:txBody>
          <a:bodyPr wrap="squar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lang="ru" sz="1400" b="1" i="0" u="none" strike="noStrike" kern="1200" cap="none" spc="0" normalizeH="0" noProof="0" dirty="0">
                <a:ln>
                  <a:noFill/>
                </a:ln>
                <a:effectLst/>
                <a:uLnTx/>
                <a:uFillTx/>
                <a:latin typeface="Arial"/>
                <a:ea typeface="+mn-ea"/>
                <a:cs typeface="+mn-cs"/>
              </a:rPr>
              <a:t>Расчетное количество</a:t>
            </a:r>
            <a:r>
              <a:rPr lang="ru" sz="1400" b="1" i="0" u="none" strike="noStrike" kern="1200" cap="none" spc="0" normalizeH="0" noProof="0" dirty="0">
                <a:ln>
                  <a:noFill/>
                </a:ln>
                <a:solidFill>
                  <a:srgbClr val="00B0F0"/>
                </a:solidFill>
                <a:effectLst/>
                <a:uLnTx/>
                <a:uFillTx/>
                <a:latin typeface="Arial"/>
                <a:ea typeface="+mn-ea"/>
                <a:cs typeface="+mn-cs"/>
              </a:rPr>
              <a:t> новых случаев рака предстательной железы</a:t>
            </a:r>
            <a:r>
              <a:rPr lang="ru" sz="1400" b="1" i="0" u="none" strike="noStrike" kern="1200" cap="none" spc="0" normalizeH="0" noProof="0" dirty="0">
                <a:ln>
                  <a:noFill/>
                </a:ln>
                <a:effectLst/>
                <a:uLnTx/>
                <a:uFillTx/>
                <a:latin typeface="Arial"/>
                <a:ea typeface="+mn-ea"/>
                <a:cs typeface="+mn-cs"/>
              </a:rPr>
              <a:t> в мире среди мужчин всех возрастных групп в период с 2020 по 2040 гг.</a:t>
            </a:r>
            <a:endParaRPr kumimoji="0" lang="en-GB" sz="1400" b="1" i="0" u="none" strike="noStrike" kern="1200" cap="none" spc="0" normalizeH="0" baseline="30000" noProof="0" dirty="0">
              <a:ln>
                <a:noFill/>
              </a:ln>
              <a:effectLst/>
              <a:uLnTx/>
              <a:uFillTx/>
              <a:latin typeface="Arial"/>
              <a:ea typeface="+mn-ea"/>
              <a:cs typeface="+mn-cs"/>
            </a:endParaRPr>
          </a:p>
        </p:txBody>
      </p:sp>
      <p:sp>
        <p:nvSpPr>
          <p:cNvPr id="16" name="Rectangle 15">
            <a:extLst>
              <a:ext uri="{FF2B5EF4-FFF2-40B4-BE49-F238E27FC236}">
                <a16:creationId xmlns:a16="http://schemas.microsoft.com/office/drawing/2014/main" id="{863F358A-1B78-4D7B-9F65-F3DE04D43565}"/>
              </a:ext>
            </a:extLst>
          </p:cNvPr>
          <p:cNvSpPr/>
          <p:nvPr/>
        </p:nvSpPr>
        <p:spPr>
          <a:xfrm>
            <a:off x="6450406" y="1393110"/>
            <a:ext cx="4950056" cy="738664"/>
          </a:xfrm>
          <a:prstGeom prst="rect">
            <a:avLst/>
          </a:prstGeom>
        </p:spPr>
        <p:txBody>
          <a:bodyPr wrap="squar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lang="ru" sz="1400" b="1" i="0" u="none" strike="noStrike" kern="1200" cap="none" spc="0" normalizeH="0" noProof="0" dirty="0">
                <a:ln>
                  <a:noFill/>
                </a:ln>
                <a:solidFill>
                  <a:srgbClr val="830051">
                    <a:lumMod val="50000"/>
                  </a:srgbClr>
                </a:solidFill>
                <a:effectLst/>
                <a:uLnTx/>
                <a:uFillTx/>
                <a:latin typeface="Arial"/>
                <a:ea typeface="+mn-ea"/>
                <a:cs typeface="+mn-cs"/>
              </a:rPr>
              <a:t>Расчетное количество</a:t>
            </a:r>
            <a:r>
              <a:rPr lang="ru" sz="1400" b="1" i="0" u="none" strike="noStrike" kern="1200" cap="none" spc="0" normalizeH="0" noProof="0" dirty="0">
                <a:ln>
                  <a:noFill/>
                </a:ln>
                <a:solidFill>
                  <a:srgbClr val="FF0000"/>
                </a:solidFill>
                <a:effectLst/>
                <a:uLnTx/>
                <a:uFillTx/>
                <a:latin typeface="Arial"/>
                <a:ea typeface="+mn-ea"/>
                <a:cs typeface="+mn-cs"/>
              </a:rPr>
              <a:t> случаев смерти от рака предстательной железы</a:t>
            </a:r>
            <a:r>
              <a:rPr lang="ru" sz="1400" b="1" i="0" u="none" strike="noStrike" kern="1200" cap="none" spc="0" normalizeH="0" noProof="0" dirty="0">
                <a:ln>
                  <a:noFill/>
                </a:ln>
                <a:solidFill>
                  <a:srgbClr val="830051">
                    <a:lumMod val="50000"/>
                  </a:srgbClr>
                </a:solidFill>
                <a:effectLst/>
                <a:uLnTx/>
                <a:uFillTx/>
                <a:latin typeface="Arial"/>
                <a:ea typeface="+mn-ea"/>
                <a:cs typeface="+mn-cs"/>
              </a:rPr>
              <a:t> в мире среди мужчин всех возрастных групп в период с 2020 по 2040 гг.</a:t>
            </a:r>
            <a:endParaRPr kumimoji="0" lang="en-GB" sz="1400" b="1" i="0" u="none" strike="noStrike" kern="1200" cap="none" spc="0" normalizeH="0" baseline="30000" noProof="0" dirty="0">
              <a:ln>
                <a:noFill/>
              </a:ln>
              <a:solidFill>
                <a:srgbClr val="830051">
                  <a:lumMod val="50000"/>
                </a:srgbClr>
              </a:solidFill>
              <a:effectLst/>
              <a:uLnTx/>
              <a:uFillTx/>
              <a:latin typeface="Arial"/>
              <a:ea typeface="+mn-ea"/>
              <a:cs typeface="+mn-cs"/>
            </a:endParaRPr>
          </a:p>
        </p:txBody>
      </p:sp>
      <p:pic>
        <p:nvPicPr>
          <p:cNvPr id="18" name="Picture 17" descr="A picture containing text&#10;&#10;Description automatically generated">
            <a:extLst>
              <a:ext uri="{FF2B5EF4-FFF2-40B4-BE49-F238E27FC236}">
                <a16:creationId xmlns:a16="http://schemas.microsoft.com/office/drawing/2014/main" id="{1813FF98-080C-4D52-94C4-DD899C2F076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450406" y="2263738"/>
            <a:ext cx="2991491" cy="1427938"/>
          </a:xfrm>
          <a:prstGeom prst="rect">
            <a:avLst/>
          </a:prstGeom>
        </p:spPr>
      </p:pic>
      <p:pic>
        <p:nvPicPr>
          <p:cNvPr id="20" name="Picture 19" descr="A picture containing text&#10;&#10;Description automatically generated">
            <a:extLst>
              <a:ext uri="{FF2B5EF4-FFF2-40B4-BE49-F238E27FC236}">
                <a16:creationId xmlns:a16="http://schemas.microsoft.com/office/drawing/2014/main" id="{2694CC32-D37C-4A0A-AE1F-CCA7F0A7AA2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8696057" y="2263737"/>
            <a:ext cx="2514803" cy="1282340"/>
          </a:xfrm>
          <a:prstGeom prst="rect">
            <a:avLst/>
          </a:prstGeom>
        </p:spPr>
      </p:pic>
      <p:pic>
        <p:nvPicPr>
          <p:cNvPr id="22" name="Picture 21" descr="A picture containing text&#10;&#10;Description automatically generated">
            <a:extLst>
              <a:ext uri="{FF2B5EF4-FFF2-40B4-BE49-F238E27FC236}">
                <a16:creationId xmlns:a16="http://schemas.microsoft.com/office/drawing/2014/main" id="{73A2B17A-766A-46DE-B6E6-66D863076AD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723820" y="4191008"/>
            <a:ext cx="174735" cy="933357"/>
          </a:xfrm>
          <a:prstGeom prst="rect">
            <a:avLst/>
          </a:prstGeom>
        </p:spPr>
      </p:pic>
      <p:pic>
        <p:nvPicPr>
          <p:cNvPr id="24" name="Picture 23" descr="Diagram&#10;&#10;Description automatically generated">
            <a:extLst>
              <a:ext uri="{FF2B5EF4-FFF2-40B4-BE49-F238E27FC236}">
                <a16:creationId xmlns:a16="http://schemas.microsoft.com/office/drawing/2014/main" id="{564C8750-3BC5-46D0-A5EE-86ED62E3E92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88855" y="2263737"/>
            <a:ext cx="2600165" cy="2711763"/>
          </a:xfrm>
          <a:prstGeom prst="rect">
            <a:avLst/>
          </a:prstGeom>
          <a:noFill/>
        </p:spPr>
      </p:pic>
      <p:pic>
        <p:nvPicPr>
          <p:cNvPr id="25" name="Picture 24">
            <a:extLst>
              <a:ext uri="{FF2B5EF4-FFF2-40B4-BE49-F238E27FC236}">
                <a16:creationId xmlns:a16="http://schemas.microsoft.com/office/drawing/2014/main" id="{1CD336B1-DA66-4BF6-83F7-5E2D6EAD4BA5}"/>
              </a:ext>
            </a:extLst>
          </p:cNvPr>
          <p:cNvPicPr>
            <a:picLocks noChangeAspect="1"/>
          </p:cNvPicPr>
          <p:nvPr/>
        </p:nvPicPr>
        <p:blipFill rotWithShape="1">
          <a:blip r:embed="rId7"/>
          <a:srcRect l="58258" t="12210" r="13557" b="38572"/>
          <a:stretch/>
        </p:blipFill>
        <p:spPr>
          <a:xfrm>
            <a:off x="2750103" y="2263738"/>
            <a:ext cx="2830653" cy="2860628"/>
          </a:xfrm>
          <a:prstGeom prst="rect">
            <a:avLst/>
          </a:prstGeom>
        </p:spPr>
      </p:pic>
      <p:pic>
        <p:nvPicPr>
          <p:cNvPr id="27" name="Picture 26" descr="Diagram&#10;&#10;Description automatically generated">
            <a:extLst>
              <a:ext uri="{FF2B5EF4-FFF2-40B4-BE49-F238E27FC236}">
                <a16:creationId xmlns:a16="http://schemas.microsoft.com/office/drawing/2014/main" id="{C73096E6-C9C3-49C2-926A-1987ADFF93A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949543" y="5569337"/>
            <a:ext cx="183685" cy="665152"/>
          </a:xfrm>
          <a:prstGeom prst="rect">
            <a:avLst/>
          </a:prstGeom>
        </p:spPr>
      </p:pic>
      <p:sp>
        <p:nvSpPr>
          <p:cNvPr id="28" name="TextBox 27">
            <a:extLst>
              <a:ext uri="{FF2B5EF4-FFF2-40B4-BE49-F238E27FC236}">
                <a16:creationId xmlns:a16="http://schemas.microsoft.com/office/drawing/2014/main" id="{20E5BC57-B3DA-4DF5-97FD-35E77F6D4D31}"/>
              </a:ext>
            </a:extLst>
          </p:cNvPr>
          <p:cNvSpPr txBox="1"/>
          <p:nvPr/>
        </p:nvSpPr>
        <p:spPr>
          <a:xfrm>
            <a:off x="314424" y="6268203"/>
            <a:ext cx="2601886" cy="21544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ru" sz="800" b="0" i="0" u="none" strike="noStrike" kern="1200" cap="none" spc="0" normalizeH="0" noProof="0" dirty="0">
                <a:ln>
                  <a:noFill/>
                </a:ln>
                <a:solidFill>
                  <a:srgbClr val="000000">
                    <a:lumMod val="85000"/>
                    <a:lumOff val="15000"/>
                  </a:srgbClr>
                </a:solidFill>
                <a:effectLst/>
                <a:uLnTx/>
                <a:uFillTx/>
                <a:latin typeface="Arial"/>
                <a:ea typeface="+mn-ea"/>
                <a:cs typeface="+mn-cs"/>
              </a:rPr>
              <a:t>Рисунок по материалам GLOBOCAN</a:t>
            </a:r>
            <a:r>
              <a:rPr lang="ru" sz="800" b="0" i="0" u="none" strike="noStrike" kern="1200" cap="none" spc="0" normalizeH="0" baseline="30000" noProof="0" dirty="0">
                <a:ln>
                  <a:noFill/>
                </a:ln>
                <a:solidFill>
                  <a:srgbClr val="000000">
                    <a:lumMod val="85000"/>
                    <a:lumOff val="15000"/>
                  </a:srgbClr>
                </a:solidFill>
                <a:effectLst/>
                <a:uLnTx/>
                <a:uFillTx/>
                <a:latin typeface="Arial"/>
                <a:ea typeface="+mn-ea"/>
                <a:cs typeface="+mn-cs"/>
              </a:rPr>
              <a:t>1</a:t>
            </a:r>
          </a:p>
        </p:txBody>
      </p:sp>
      <p:sp>
        <p:nvSpPr>
          <p:cNvPr id="29" name="TextBox 28">
            <a:extLst>
              <a:ext uri="{FF2B5EF4-FFF2-40B4-BE49-F238E27FC236}">
                <a16:creationId xmlns:a16="http://schemas.microsoft.com/office/drawing/2014/main" id="{BB1E0C51-5DFD-49C2-9120-03450B33FD32}"/>
              </a:ext>
            </a:extLst>
          </p:cNvPr>
          <p:cNvSpPr txBox="1"/>
          <p:nvPr/>
        </p:nvSpPr>
        <p:spPr>
          <a:xfrm>
            <a:off x="8183477" y="6234489"/>
            <a:ext cx="2661947" cy="21544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ru" sz="800" b="0" i="0" u="none" strike="noStrike" kern="1200" cap="none" spc="0" normalizeH="0" noProof="0" dirty="0">
                <a:ln>
                  <a:noFill/>
                </a:ln>
                <a:solidFill>
                  <a:srgbClr val="000000">
                    <a:lumMod val="85000"/>
                    <a:lumOff val="15000"/>
                  </a:srgbClr>
                </a:solidFill>
                <a:effectLst/>
                <a:uLnTx/>
                <a:uFillTx/>
                <a:latin typeface="Arial"/>
                <a:ea typeface="+mn-ea"/>
                <a:cs typeface="+mn-cs"/>
              </a:rPr>
              <a:t>Рисунок по материалам GLOBOCAN</a:t>
            </a:r>
            <a:r>
              <a:rPr lang="ru" sz="800" b="0" i="0" u="none" strike="noStrike" kern="1200" cap="none" spc="0" normalizeH="0" baseline="30000" noProof="0" dirty="0">
                <a:ln>
                  <a:noFill/>
                </a:ln>
                <a:solidFill>
                  <a:srgbClr val="000000">
                    <a:lumMod val="85000"/>
                    <a:lumOff val="15000"/>
                  </a:srgbClr>
                </a:solidFill>
                <a:effectLst/>
                <a:uLnTx/>
                <a:uFillTx/>
                <a:latin typeface="Arial"/>
                <a:ea typeface="+mn-ea"/>
                <a:cs typeface="+mn-cs"/>
              </a:rPr>
              <a:t>1</a:t>
            </a:r>
          </a:p>
        </p:txBody>
      </p:sp>
      <p:cxnSp>
        <p:nvCxnSpPr>
          <p:cNvPr id="5" name="Straight Connector 4">
            <a:extLst>
              <a:ext uri="{FF2B5EF4-FFF2-40B4-BE49-F238E27FC236}">
                <a16:creationId xmlns:a16="http://schemas.microsoft.com/office/drawing/2014/main" id="{AE0A911A-DF33-49FF-8BF6-8F70100551E0}"/>
              </a:ext>
            </a:extLst>
          </p:cNvPr>
          <p:cNvCxnSpPr>
            <a:stCxn id="2" idx="2"/>
          </p:cNvCxnSpPr>
          <p:nvPr/>
        </p:nvCxnSpPr>
        <p:spPr>
          <a:xfrm flipH="1">
            <a:off x="6096000" y="1281177"/>
            <a:ext cx="2" cy="4489038"/>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5" name="Picture 14" descr="Diagram&#10;&#10;Description automatically generated">
            <a:extLst>
              <a:ext uri="{FF2B5EF4-FFF2-40B4-BE49-F238E27FC236}">
                <a16:creationId xmlns:a16="http://schemas.microsoft.com/office/drawing/2014/main" id="{4A746AC0-E505-4DC5-AC2E-A368BC6A2B05}"/>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916310" y="5569337"/>
            <a:ext cx="183686" cy="665152"/>
          </a:xfrm>
          <a:prstGeom prst="rect">
            <a:avLst/>
          </a:prstGeom>
        </p:spPr>
      </p:pic>
      <p:sp>
        <p:nvSpPr>
          <p:cNvPr id="3" name="TextBox 2">
            <a:extLst>
              <a:ext uri="{FF2B5EF4-FFF2-40B4-BE49-F238E27FC236}">
                <a16:creationId xmlns:a16="http://schemas.microsoft.com/office/drawing/2014/main" id="{11E852C9-96B4-4026-9443-6B2553AA0125}"/>
              </a:ext>
            </a:extLst>
          </p:cNvPr>
          <p:cNvSpPr txBox="1"/>
          <p:nvPr/>
        </p:nvSpPr>
        <p:spPr>
          <a:xfrm>
            <a:off x="2128683" y="5778177"/>
            <a:ext cx="785793" cy="276999"/>
          </a:xfrm>
          <a:prstGeom prst="rect">
            <a:avLst/>
          </a:prstGeom>
          <a:noFill/>
        </p:spPr>
        <p:txBody>
          <a:bodyPr wrap="none" rtlCol="0">
            <a:spAutoFit/>
          </a:bodyPr>
          <a:lstStyle/>
          <a:p>
            <a:pPr algn="l" rtl="0">
              <a:spcAft>
                <a:spcPts val="600"/>
              </a:spcAft>
            </a:pPr>
            <a:r>
              <a:rPr lang="ru" sz="1200">
                <a:latin typeface="Arial" panose="020B0604020202020204" pitchFamily="34" charset="0"/>
                <a:cs typeface="Arial" panose="020B0604020202020204" pitchFamily="34" charset="0"/>
              </a:rPr>
              <a:t>= 50 000</a:t>
            </a:r>
          </a:p>
        </p:txBody>
      </p:sp>
      <p:sp>
        <p:nvSpPr>
          <p:cNvPr id="17" name="TextBox 16">
            <a:extLst>
              <a:ext uri="{FF2B5EF4-FFF2-40B4-BE49-F238E27FC236}">
                <a16:creationId xmlns:a16="http://schemas.microsoft.com/office/drawing/2014/main" id="{1F34343E-B506-431F-8AE5-2E05F5214DDF}"/>
              </a:ext>
            </a:extLst>
          </p:cNvPr>
          <p:cNvSpPr txBox="1"/>
          <p:nvPr/>
        </p:nvSpPr>
        <p:spPr>
          <a:xfrm>
            <a:off x="3099995" y="5778177"/>
            <a:ext cx="2780300" cy="276999"/>
          </a:xfrm>
          <a:prstGeom prst="rect">
            <a:avLst/>
          </a:prstGeom>
          <a:noFill/>
        </p:spPr>
        <p:txBody>
          <a:bodyPr wrap="square" rtlCol="0">
            <a:spAutoFit/>
          </a:bodyPr>
          <a:lstStyle/>
          <a:p>
            <a:pPr algn="l" rtl="0"/>
            <a:r>
              <a:rPr lang="ru" sz="1200" dirty="0">
                <a:latin typeface="Arial" panose="020B0604020202020204" pitchFamily="34" charset="0"/>
                <a:cs typeface="Arial" panose="020B0604020202020204" pitchFamily="34" charset="0"/>
              </a:rPr>
              <a:t>= демографические изменения</a:t>
            </a:r>
          </a:p>
        </p:txBody>
      </p:sp>
      <p:pic>
        <p:nvPicPr>
          <p:cNvPr id="19" name="Picture 18" descr="Diagram&#10;&#10;Description automatically generated">
            <a:extLst>
              <a:ext uri="{FF2B5EF4-FFF2-40B4-BE49-F238E27FC236}">
                <a16:creationId xmlns:a16="http://schemas.microsoft.com/office/drawing/2014/main" id="{9DF8E711-6403-4C7F-87EA-02B771C49F5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748102" y="4310348"/>
            <a:ext cx="183685" cy="665152"/>
          </a:xfrm>
          <a:prstGeom prst="rect">
            <a:avLst/>
          </a:prstGeom>
        </p:spPr>
      </p:pic>
      <p:sp>
        <p:nvSpPr>
          <p:cNvPr id="23" name="TextBox 22">
            <a:extLst>
              <a:ext uri="{FF2B5EF4-FFF2-40B4-BE49-F238E27FC236}">
                <a16:creationId xmlns:a16="http://schemas.microsoft.com/office/drawing/2014/main" id="{2BE92AE6-4C13-431A-92F8-4132F0FBF6D0}"/>
              </a:ext>
            </a:extLst>
          </p:cNvPr>
          <p:cNvSpPr txBox="1"/>
          <p:nvPr/>
        </p:nvSpPr>
        <p:spPr>
          <a:xfrm>
            <a:off x="7927242" y="4519188"/>
            <a:ext cx="785793" cy="276999"/>
          </a:xfrm>
          <a:prstGeom prst="rect">
            <a:avLst/>
          </a:prstGeom>
          <a:noFill/>
        </p:spPr>
        <p:txBody>
          <a:bodyPr wrap="none" rtlCol="0">
            <a:spAutoFit/>
          </a:bodyPr>
          <a:lstStyle/>
          <a:p>
            <a:pPr algn="l" rtl="0">
              <a:spcAft>
                <a:spcPts val="600"/>
              </a:spcAft>
            </a:pPr>
            <a:r>
              <a:rPr lang="ru" sz="1200">
                <a:latin typeface="Arial" panose="020B0604020202020204" pitchFamily="34" charset="0"/>
                <a:cs typeface="Arial" panose="020B0604020202020204" pitchFamily="34" charset="0"/>
              </a:rPr>
              <a:t>= 50 000</a:t>
            </a:r>
          </a:p>
        </p:txBody>
      </p:sp>
      <p:sp>
        <p:nvSpPr>
          <p:cNvPr id="26" name="TextBox 25">
            <a:extLst>
              <a:ext uri="{FF2B5EF4-FFF2-40B4-BE49-F238E27FC236}">
                <a16:creationId xmlns:a16="http://schemas.microsoft.com/office/drawing/2014/main" id="{D73B3206-C4FA-4FB2-8F5A-D43FB7514CFE}"/>
              </a:ext>
            </a:extLst>
          </p:cNvPr>
          <p:cNvSpPr txBox="1"/>
          <p:nvPr/>
        </p:nvSpPr>
        <p:spPr>
          <a:xfrm>
            <a:off x="8898555" y="4519188"/>
            <a:ext cx="3030848" cy="276999"/>
          </a:xfrm>
          <a:prstGeom prst="rect">
            <a:avLst/>
          </a:prstGeom>
          <a:noFill/>
        </p:spPr>
        <p:txBody>
          <a:bodyPr wrap="square" rtlCol="0">
            <a:spAutoFit/>
          </a:bodyPr>
          <a:lstStyle/>
          <a:p>
            <a:pPr algn="l" rtl="0"/>
            <a:r>
              <a:rPr lang="ru" sz="1200" dirty="0">
                <a:latin typeface="Arial" panose="020B0604020202020204" pitchFamily="34" charset="0"/>
                <a:cs typeface="Arial" panose="020B0604020202020204" pitchFamily="34" charset="0"/>
              </a:rPr>
              <a:t>= демографические изменения</a:t>
            </a:r>
          </a:p>
        </p:txBody>
      </p:sp>
      <p:sp>
        <p:nvSpPr>
          <p:cNvPr id="7" name="TextBox 6">
            <a:extLst>
              <a:ext uri="{FF2B5EF4-FFF2-40B4-BE49-F238E27FC236}">
                <a16:creationId xmlns:a16="http://schemas.microsoft.com/office/drawing/2014/main" id="{56A45ABF-A287-45B6-88B8-58109DF566FD}"/>
              </a:ext>
            </a:extLst>
          </p:cNvPr>
          <p:cNvSpPr txBox="1"/>
          <p:nvPr/>
        </p:nvSpPr>
        <p:spPr>
          <a:xfrm>
            <a:off x="1297984" y="2100337"/>
            <a:ext cx="697627" cy="369332"/>
          </a:xfrm>
          <a:prstGeom prst="rect">
            <a:avLst/>
          </a:prstGeom>
          <a:solidFill>
            <a:schemeClr val="bg1"/>
          </a:solidFill>
        </p:spPr>
        <p:txBody>
          <a:bodyPr wrap="none" rtlCol="0">
            <a:spAutoFit/>
          </a:bodyPr>
          <a:lstStyle/>
          <a:p>
            <a:pPr algn="l" rtl="0">
              <a:spcAft>
                <a:spcPts val="600"/>
              </a:spcAft>
            </a:pPr>
            <a:r>
              <a:rPr lang="ru" b="1">
                <a:latin typeface="Arial" panose="020B0604020202020204" pitchFamily="34" charset="0"/>
                <a:cs typeface="Arial" panose="020B0604020202020204" pitchFamily="34" charset="0"/>
              </a:rPr>
              <a:t>2020</a:t>
            </a:r>
          </a:p>
        </p:txBody>
      </p:sp>
      <p:sp>
        <p:nvSpPr>
          <p:cNvPr id="30" name="TextBox 29">
            <a:extLst>
              <a:ext uri="{FF2B5EF4-FFF2-40B4-BE49-F238E27FC236}">
                <a16:creationId xmlns:a16="http://schemas.microsoft.com/office/drawing/2014/main" id="{3935D6E9-BD2B-4D8C-A467-09BC99CCD826}"/>
              </a:ext>
            </a:extLst>
          </p:cNvPr>
          <p:cNvSpPr txBox="1"/>
          <p:nvPr/>
        </p:nvSpPr>
        <p:spPr>
          <a:xfrm>
            <a:off x="7373027" y="2100337"/>
            <a:ext cx="697627" cy="369332"/>
          </a:xfrm>
          <a:prstGeom prst="rect">
            <a:avLst/>
          </a:prstGeom>
          <a:solidFill>
            <a:schemeClr val="bg1"/>
          </a:solidFill>
        </p:spPr>
        <p:txBody>
          <a:bodyPr wrap="none" rtlCol="0">
            <a:spAutoFit/>
          </a:bodyPr>
          <a:lstStyle/>
          <a:p>
            <a:pPr algn="l" rtl="0">
              <a:spcAft>
                <a:spcPts val="600"/>
              </a:spcAft>
            </a:pPr>
            <a:r>
              <a:rPr lang="ru" b="1">
                <a:latin typeface="Arial" panose="020B0604020202020204" pitchFamily="34" charset="0"/>
                <a:cs typeface="Arial" panose="020B0604020202020204" pitchFamily="34" charset="0"/>
              </a:rPr>
              <a:t>2020</a:t>
            </a:r>
          </a:p>
        </p:txBody>
      </p:sp>
      <p:sp>
        <p:nvSpPr>
          <p:cNvPr id="31" name="TextBox 30">
            <a:extLst>
              <a:ext uri="{FF2B5EF4-FFF2-40B4-BE49-F238E27FC236}">
                <a16:creationId xmlns:a16="http://schemas.microsoft.com/office/drawing/2014/main" id="{0162841C-EE50-4121-9631-497A6918AB66}"/>
              </a:ext>
            </a:extLst>
          </p:cNvPr>
          <p:cNvSpPr txBox="1"/>
          <p:nvPr/>
        </p:nvSpPr>
        <p:spPr>
          <a:xfrm>
            <a:off x="4008045" y="2100337"/>
            <a:ext cx="697627" cy="369332"/>
          </a:xfrm>
          <a:prstGeom prst="rect">
            <a:avLst/>
          </a:prstGeom>
          <a:solidFill>
            <a:schemeClr val="bg1"/>
          </a:solidFill>
        </p:spPr>
        <p:txBody>
          <a:bodyPr wrap="none" rtlCol="0">
            <a:spAutoFit/>
          </a:bodyPr>
          <a:lstStyle/>
          <a:p>
            <a:pPr algn="l" rtl="0">
              <a:spcAft>
                <a:spcPts val="600"/>
              </a:spcAft>
            </a:pPr>
            <a:r>
              <a:rPr lang="ru" b="1">
                <a:latin typeface="Arial" panose="020B0604020202020204" pitchFamily="34" charset="0"/>
                <a:cs typeface="Arial" panose="020B0604020202020204" pitchFamily="34" charset="0"/>
              </a:rPr>
              <a:t>2040</a:t>
            </a:r>
          </a:p>
        </p:txBody>
      </p:sp>
      <p:sp>
        <p:nvSpPr>
          <p:cNvPr id="32" name="TextBox 31">
            <a:extLst>
              <a:ext uri="{FF2B5EF4-FFF2-40B4-BE49-F238E27FC236}">
                <a16:creationId xmlns:a16="http://schemas.microsoft.com/office/drawing/2014/main" id="{FB0CC22B-F7F7-46A8-BC5F-1329295D73D2}"/>
              </a:ext>
            </a:extLst>
          </p:cNvPr>
          <p:cNvSpPr txBox="1"/>
          <p:nvPr/>
        </p:nvSpPr>
        <p:spPr>
          <a:xfrm>
            <a:off x="9628751" y="2100337"/>
            <a:ext cx="697627" cy="369332"/>
          </a:xfrm>
          <a:prstGeom prst="rect">
            <a:avLst/>
          </a:prstGeom>
          <a:solidFill>
            <a:schemeClr val="bg1"/>
          </a:solidFill>
        </p:spPr>
        <p:txBody>
          <a:bodyPr wrap="none" rtlCol="0">
            <a:spAutoFit/>
          </a:bodyPr>
          <a:lstStyle/>
          <a:p>
            <a:pPr algn="l" rtl="0">
              <a:spcAft>
                <a:spcPts val="600"/>
              </a:spcAft>
            </a:pPr>
            <a:r>
              <a:rPr lang="ru" b="1">
                <a:latin typeface="Arial" panose="020B0604020202020204" pitchFamily="34" charset="0"/>
                <a:cs typeface="Arial" panose="020B0604020202020204" pitchFamily="34" charset="0"/>
              </a:rPr>
              <a:t>2040</a:t>
            </a:r>
          </a:p>
        </p:txBody>
      </p:sp>
      <p:sp>
        <p:nvSpPr>
          <p:cNvPr id="33" name="TextBox 32">
            <a:extLst>
              <a:ext uri="{FF2B5EF4-FFF2-40B4-BE49-F238E27FC236}">
                <a16:creationId xmlns:a16="http://schemas.microsoft.com/office/drawing/2014/main" id="{39A2E066-74F5-4E1C-9677-91F671DBA50F}"/>
              </a:ext>
            </a:extLst>
          </p:cNvPr>
          <p:cNvSpPr txBox="1"/>
          <p:nvPr/>
        </p:nvSpPr>
        <p:spPr>
          <a:xfrm>
            <a:off x="1037052" y="5091684"/>
            <a:ext cx="1040670" cy="461665"/>
          </a:xfrm>
          <a:prstGeom prst="rect">
            <a:avLst/>
          </a:prstGeom>
          <a:noFill/>
        </p:spPr>
        <p:txBody>
          <a:bodyPr wrap="none" rtlCol="0">
            <a:spAutoFit/>
          </a:bodyPr>
          <a:lstStyle/>
          <a:p>
            <a:pPr algn="l" rtl="0">
              <a:spcAft>
                <a:spcPts val="600"/>
              </a:spcAft>
            </a:pPr>
            <a:r>
              <a:rPr lang="ru" sz="2400" b="1" dirty="0">
                <a:solidFill>
                  <a:srgbClr val="000000"/>
                </a:solidFill>
                <a:latin typeface="Arial" panose="020B0604020202020204" pitchFamily="34" charset="0"/>
                <a:cs typeface="Arial" panose="020B0604020202020204" pitchFamily="34" charset="0"/>
              </a:rPr>
              <a:t>1,41 млн</a:t>
            </a:r>
          </a:p>
        </p:txBody>
      </p:sp>
      <p:sp>
        <p:nvSpPr>
          <p:cNvPr id="34" name="TextBox 33">
            <a:extLst>
              <a:ext uri="{FF2B5EF4-FFF2-40B4-BE49-F238E27FC236}">
                <a16:creationId xmlns:a16="http://schemas.microsoft.com/office/drawing/2014/main" id="{0DEC911C-244C-45D0-82AB-E80C80C51AF3}"/>
              </a:ext>
            </a:extLst>
          </p:cNvPr>
          <p:cNvSpPr txBox="1"/>
          <p:nvPr/>
        </p:nvSpPr>
        <p:spPr>
          <a:xfrm>
            <a:off x="3918622" y="5093153"/>
            <a:ext cx="1040670" cy="461665"/>
          </a:xfrm>
          <a:prstGeom prst="rect">
            <a:avLst/>
          </a:prstGeom>
          <a:noFill/>
        </p:spPr>
        <p:txBody>
          <a:bodyPr wrap="none" rtlCol="0">
            <a:spAutoFit/>
          </a:bodyPr>
          <a:lstStyle/>
          <a:p>
            <a:pPr algn="l" rtl="0">
              <a:spcAft>
                <a:spcPts val="600"/>
              </a:spcAft>
            </a:pPr>
            <a:r>
              <a:rPr lang="ru" sz="2400" b="1">
                <a:solidFill>
                  <a:srgbClr val="000000"/>
                </a:solidFill>
                <a:latin typeface="Arial" panose="020B0604020202020204" pitchFamily="34" charset="0"/>
                <a:cs typeface="Arial" panose="020B0604020202020204" pitchFamily="34" charset="0"/>
              </a:rPr>
              <a:t>2,24 млн</a:t>
            </a:r>
          </a:p>
        </p:txBody>
      </p:sp>
      <p:sp>
        <p:nvSpPr>
          <p:cNvPr id="35" name="TextBox 34">
            <a:extLst>
              <a:ext uri="{FF2B5EF4-FFF2-40B4-BE49-F238E27FC236}">
                <a16:creationId xmlns:a16="http://schemas.microsoft.com/office/drawing/2014/main" id="{3CBC8778-E351-49B5-8189-4930A2D43B9B}"/>
              </a:ext>
            </a:extLst>
          </p:cNvPr>
          <p:cNvSpPr txBox="1"/>
          <p:nvPr/>
        </p:nvSpPr>
        <p:spPr>
          <a:xfrm>
            <a:off x="7312726" y="3619618"/>
            <a:ext cx="870751" cy="461665"/>
          </a:xfrm>
          <a:prstGeom prst="rect">
            <a:avLst/>
          </a:prstGeom>
          <a:noFill/>
        </p:spPr>
        <p:txBody>
          <a:bodyPr wrap="none" rtlCol="0">
            <a:spAutoFit/>
          </a:bodyPr>
          <a:lstStyle/>
          <a:p>
            <a:pPr algn="l" rtl="0">
              <a:spcAft>
                <a:spcPts val="600"/>
              </a:spcAft>
            </a:pPr>
            <a:r>
              <a:rPr lang="ru" sz="2400" b="1" dirty="0">
                <a:solidFill>
                  <a:srgbClr val="000000"/>
                </a:solidFill>
                <a:latin typeface="Arial" panose="020B0604020202020204" pitchFamily="34" charset="0"/>
                <a:cs typeface="Arial" panose="020B0604020202020204" pitchFamily="34" charset="0"/>
              </a:rPr>
              <a:t>375 тыс.</a:t>
            </a:r>
          </a:p>
        </p:txBody>
      </p:sp>
      <p:sp>
        <p:nvSpPr>
          <p:cNvPr id="36" name="TextBox 35">
            <a:extLst>
              <a:ext uri="{FF2B5EF4-FFF2-40B4-BE49-F238E27FC236}">
                <a16:creationId xmlns:a16="http://schemas.microsoft.com/office/drawing/2014/main" id="{92DEAC68-D5A6-45A7-B227-DDF8552DD3BB}"/>
              </a:ext>
            </a:extLst>
          </p:cNvPr>
          <p:cNvSpPr txBox="1"/>
          <p:nvPr/>
        </p:nvSpPr>
        <p:spPr>
          <a:xfrm>
            <a:off x="9441897" y="3619618"/>
            <a:ext cx="870751" cy="461665"/>
          </a:xfrm>
          <a:prstGeom prst="rect">
            <a:avLst/>
          </a:prstGeom>
          <a:noFill/>
        </p:spPr>
        <p:txBody>
          <a:bodyPr wrap="none" rtlCol="0">
            <a:spAutoFit/>
          </a:bodyPr>
          <a:lstStyle/>
          <a:p>
            <a:pPr algn="l" rtl="0">
              <a:spcAft>
                <a:spcPts val="600"/>
              </a:spcAft>
            </a:pPr>
            <a:r>
              <a:rPr lang="ru" sz="2400" b="1" dirty="0">
                <a:solidFill>
                  <a:srgbClr val="000000"/>
                </a:solidFill>
                <a:latin typeface="Arial" panose="020B0604020202020204" pitchFamily="34" charset="0"/>
                <a:cs typeface="Arial" panose="020B0604020202020204" pitchFamily="34" charset="0"/>
              </a:rPr>
              <a:t>721 тыс.</a:t>
            </a:r>
          </a:p>
        </p:txBody>
      </p:sp>
    </p:spTree>
    <p:extLst>
      <p:ext uri="{BB962C8B-B14F-4D97-AF65-F5344CB8AC3E}">
        <p14:creationId xmlns:p14="http://schemas.microsoft.com/office/powerpoint/2010/main" val="3769111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74F4E-962A-42A3-93B5-4D8E1A0E2B39}"/>
              </a:ext>
            </a:extLst>
          </p:cNvPr>
          <p:cNvSpPr>
            <a:spLocks noGrp="1"/>
          </p:cNvSpPr>
          <p:nvPr>
            <p:ph type="title"/>
          </p:nvPr>
        </p:nvSpPr>
        <p:spPr>
          <a:xfrm>
            <a:off x="237432" y="336573"/>
            <a:ext cx="11648025" cy="1007427"/>
          </a:xfrm>
        </p:spPr>
        <p:txBody>
          <a:bodyPr rtlCol="0">
            <a:normAutofit/>
          </a:bodyPr>
          <a:lstStyle/>
          <a:p>
            <a:pPr>
              <a:lnSpc>
                <a:spcPct val="100000"/>
              </a:lnSpc>
              <a:spcBef>
                <a:spcPts val="1000"/>
              </a:spcBef>
              <a:spcAft>
                <a:spcPts val="200"/>
              </a:spcAft>
            </a:pPr>
            <a:r>
              <a:rPr lang="ru" sz="2400" b="1" i="1" dirty="0">
                <a:latin typeface="+mn-lt"/>
                <a:ea typeface="+mn-ea"/>
                <a:cs typeface="+mn-cs"/>
              </a:rPr>
              <a:t>Пятилетняя выживаемость пациентов с мКРРПЖ составляет ~ 30%</a:t>
            </a:r>
            <a:r>
              <a:rPr lang="ru" sz="2400" b="1" i="1" baseline="30000" dirty="0">
                <a:latin typeface="+mn-lt"/>
                <a:ea typeface="+mn-ea"/>
                <a:cs typeface="+mn-cs"/>
              </a:rPr>
              <a:t>1</a:t>
            </a:r>
            <a:endParaRPr lang="en-GB" sz="2400" b="1" i="1" baseline="30000" dirty="0">
              <a:latin typeface="+mn-lt"/>
              <a:ea typeface="+mn-ea"/>
              <a:cs typeface="+mn-cs"/>
            </a:endParaRPr>
          </a:p>
        </p:txBody>
      </p:sp>
      <p:sp>
        <p:nvSpPr>
          <p:cNvPr id="4" name="Text Placeholder 3">
            <a:extLst>
              <a:ext uri="{FF2B5EF4-FFF2-40B4-BE49-F238E27FC236}">
                <a16:creationId xmlns:a16="http://schemas.microsoft.com/office/drawing/2014/main" id="{683B1C65-9119-406C-B613-6067FBDC7737}"/>
              </a:ext>
            </a:extLst>
          </p:cNvPr>
          <p:cNvSpPr>
            <a:spLocks noGrp="1"/>
          </p:cNvSpPr>
          <p:nvPr>
            <p:ph type="body" sz="quarter" idx="111"/>
          </p:nvPr>
        </p:nvSpPr>
        <p:spPr>
          <a:xfrm>
            <a:off x="307976" y="6079387"/>
            <a:ext cx="9729787" cy="657225"/>
          </a:xfrm>
        </p:spPr>
        <p:txBody>
          <a:bodyPr rtlCol="0"/>
          <a:lstStyle/>
          <a:p>
            <a:pPr marL="0" indent="0" rtl="0"/>
            <a:r>
              <a:rPr lang="ru" b="0" dirty="0">
                <a:latin typeface="Calibri" panose="020F0502020204030204" pitchFamily="34" charset="0"/>
                <a:cs typeface="Calibri" panose="020F0502020204030204" pitchFamily="34" charset="0"/>
              </a:rPr>
              <a:t>мКРРПЖ — метастатический кастрационно-резистентный рак предстательной железы; мГЧРПЖ — метастатический гормоночувствительный рак предстательной железы; нмКРРПЖ — неметастатический кастрационно-резистентный рак предстательной железы</a:t>
            </a:r>
          </a:p>
          <a:p>
            <a:pPr marL="0" indent="0" rtl="0"/>
            <a:r>
              <a:rPr lang="ru" b="0" dirty="0">
                <a:latin typeface="Calibri" panose="020F0502020204030204" pitchFamily="34" charset="0"/>
                <a:cs typeface="Calibri" panose="020F0502020204030204" pitchFamily="34" charset="0"/>
              </a:rPr>
              <a:t>1. </a:t>
            </a:r>
            <a:r>
              <a:rPr lang="ru" dirty="0">
                <a:latin typeface="Calibri" panose="020F0502020204030204" pitchFamily="34" charset="0"/>
                <a:cs typeface="Calibri" panose="020F0502020204030204" pitchFamily="34" charset="0"/>
              </a:rPr>
              <a:t>American Cancer Society. Cancer Facts &amp; Figures 2020. Atlanta. American Cancer Society, 2020; 2. Bray F, et al. GLOBOCAN 2020 statistics. Доступно по ссылке: http://gco.iarc.fr (по состоянию на февраль 2022 г.); 3. Leitzmann MF, Rohmann </a:t>
            </a:r>
            <a:r>
              <a:rPr lang="ru" i="0" dirty="0">
                <a:latin typeface="Calibri" panose="020F0502020204030204" pitchFamily="34" charset="0"/>
                <a:cs typeface="Calibri" panose="020F0502020204030204" pitchFamily="34" charset="0"/>
              </a:rPr>
              <a:t>S.</a:t>
            </a:r>
            <a:r>
              <a:rPr lang="ru" i="1" dirty="0">
                <a:latin typeface="Calibri" panose="020F0502020204030204" pitchFamily="34" charset="0"/>
                <a:cs typeface="Calibri" panose="020F0502020204030204" pitchFamily="34" charset="0"/>
              </a:rPr>
              <a:t> Clin Epidemiol </a:t>
            </a:r>
            <a:r>
              <a:rPr lang="ru" dirty="0">
                <a:latin typeface="Calibri" panose="020F0502020204030204" pitchFamily="34" charset="0"/>
                <a:cs typeface="Calibri" panose="020F0502020204030204" pitchFamily="34" charset="0"/>
              </a:rPr>
              <a:t>2012;4:1-11; 4. Moul JW. </a:t>
            </a:r>
            <a:r>
              <a:rPr lang="ru" i="1" dirty="0">
                <a:latin typeface="Calibri" panose="020F0502020204030204" pitchFamily="34" charset="0"/>
                <a:cs typeface="Calibri" panose="020F0502020204030204" pitchFamily="34" charset="0"/>
              </a:rPr>
              <a:t>Rev Urol </a:t>
            </a:r>
            <a:r>
              <a:rPr lang="ru" dirty="0">
                <a:latin typeface="Calibri" panose="020F0502020204030204" pitchFamily="34" charset="0"/>
                <a:cs typeface="Calibri" panose="020F0502020204030204" pitchFamily="34" charset="0"/>
              </a:rPr>
              <a:t>2004;6:S10-S7; 5. Beltran H, et al. </a:t>
            </a:r>
            <a:r>
              <a:rPr lang="ru" i="1" dirty="0">
                <a:latin typeface="Calibri" panose="020F0502020204030204" pitchFamily="34" charset="0"/>
                <a:cs typeface="Calibri" panose="020F0502020204030204" pitchFamily="34" charset="0"/>
              </a:rPr>
              <a:t>Eur Urol </a:t>
            </a:r>
            <a:r>
              <a:rPr lang="ru" dirty="0">
                <a:latin typeface="Calibri" panose="020F0502020204030204" pitchFamily="34" charset="0"/>
                <a:cs typeface="Calibri" panose="020F0502020204030204" pitchFamily="34" charset="0"/>
              </a:rPr>
              <a:t>2011;60:279-90; 6. DeVita VT, et al. Principles and practice of oncology. Ed 9. Philadelphia, PA: Wolters Kluwer</a:t>
            </a:r>
            <a:endParaRPr lang="en-GB" dirty="0"/>
          </a:p>
        </p:txBody>
      </p:sp>
      <p:grpSp>
        <p:nvGrpSpPr>
          <p:cNvPr id="6" name="Group 5">
            <a:extLst>
              <a:ext uri="{FF2B5EF4-FFF2-40B4-BE49-F238E27FC236}">
                <a16:creationId xmlns:a16="http://schemas.microsoft.com/office/drawing/2014/main" id="{B604ECAF-9613-41E1-BFC3-340CF19CD19B}"/>
              </a:ext>
            </a:extLst>
          </p:cNvPr>
          <p:cNvGrpSpPr/>
          <p:nvPr/>
        </p:nvGrpSpPr>
        <p:grpSpPr>
          <a:xfrm>
            <a:off x="237432" y="1639228"/>
            <a:ext cx="11414850" cy="3175293"/>
            <a:chOff x="132012" y="1206000"/>
            <a:chExt cx="8561138" cy="2381470"/>
          </a:xfrm>
        </p:grpSpPr>
        <p:sp>
          <p:nvSpPr>
            <p:cNvPr id="7" name="Rounded Rectangle 4">
              <a:extLst>
                <a:ext uri="{FF2B5EF4-FFF2-40B4-BE49-F238E27FC236}">
                  <a16:creationId xmlns:a16="http://schemas.microsoft.com/office/drawing/2014/main" id="{65E6015E-EED9-4864-9224-37E923575215}"/>
                </a:ext>
              </a:extLst>
            </p:cNvPr>
            <p:cNvSpPr/>
            <p:nvPr/>
          </p:nvSpPr>
          <p:spPr>
            <a:xfrm>
              <a:off x="132012" y="2228834"/>
              <a:ext cx="2001957" cy="906440"/>
            </a:xfrm>
            <a:prstGeom prst="roundRect">
              <a:avLst/>
            </a:prstGeom>
            <a:solidFill>
              <a:srgbClr val="0935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ru" sz="1400" b="1" i="0" u="none" strike="noStrike" kern="1200" cap="none" spc="0" normalizeH="0" noProof="0" dirty="0">
                  <a:ln>
                    <a:noFill/>
                  </a:ln>
                  <a:solidFill>
                    <a:prstClr val="white"/>
                  </a:solidFill>
                  <a:effectLst/>
                  <a:uLnTx/>
                  <a:uFillTx/>
                  <a:cs typeface="Biome" panose="020B0502040204020203" pitchFamily="34" charset="0"/>
                </a:rPr>
                <a:t>Локализованный или местнораспространенный рак предстательной железы</a:t>
              </a:r>
            </a:p>
          </p:txBody>
        </p:sp>
        <p:sp>
          <p:nvSpPr>
            <p:cNvPr id="8" name="Rounded Rectangle 5">
              <a:extLst>
                <a:ext uri="{FF2B5EF4-FFF2-40B4-BE49-F238E27FC236}">
                  <a16:creationId xmlns:a16="http://schemas.microsoft.com/office/drawing/2014/main" id="{EBE96742-EC81-40FD-9BD2-1829881E3B28}"/>
                </a:ext>
              </a:extLst>
            </p:cNvPr>
            <p:cNvSpPr/>
            <p:nvPr/>
          </p:nvSpPr>
          <p:spPr>
            <a:xfrm>
              <a:off x="2469522" y="2413370"/>
              <a:ext cx="1304702" cy="588650"/>
            </a:xfrm>
            <a:prstGeom prst="roundRect">
              <a:avLst/>
            </a:prstGeom>
            <a:solidFill>
              <a:srgbClr val="0935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ru" sz="1400" b="1" i="0" u="none" strike="noStrike" kern="1200" cap="none" spc="0" normalizeH="0" noProof="0" dirty="0">
                  <a:ln>
                    <a:noFill/>
                  </a:ln>
                  <a:solidFill>
                    <a:prstClr val="white"/>
                  </a:solidFill>
                  <a:effectLst/>
                  <a:uLnTx/>
                  <a:uFillTx/>
                  <a:cs typeface="Biome" panose="020B0502040204020203" pitchFamily="34" charset="0"/>
                </a:rPr>
                <a:t>Биохимический рецидив</a:t>
              </a:r>
            </a:p>
          </p:txBody>
        </p:sp>
        <p:sp>
          <p:nvSpPr>
            <p:cNvPr id="9" name="Rounded Rectangle 6">
              <a:extLst>
                <a:ext uri="{FF2B5EF4-FFF2-40B4-BE49-F238E27FC236}">
                  <a16:creationId xmlns:a16="http://schemas.microsoft.com/office/drawing/2014/main" id="{1BAD0ECD-E110-46FA-A69A-582953A21115}"/>
                </a:ext>
              </a:extLst>
            </p:cNvPr>
            <p:cNvSpPr/>
            <p:nvPr/>
          </p:nvSpPr>
          <p:spPr>
            <a:xfrm>
              <a:off x="3940097" y="2997540"/>
              <a:ext cx="1211974" cy="589930"/>
            </a:xfrm>
            <a:prstGeom prst="roundRect">
              <a:avLst/>
            </a:prstGeom>
            <a:solidFill>
              <a:srgbClr val="0935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ru" sz="1400" b="1" i="0" u="none" strike="noStrike" kern="1200" cap="none" spc="0" normalizeH="0" noProof="0">
                  <a:ln>
                    <a:noFill/>
                  </a:ln>
                  <a:solidFill>
                    <a:prstClr val="white"/>
                  </a:solidFill>
                  <a:effectLst/>
                  <a:uLnTx/>
                  <a:uFillTx/>
                  <a:cs typeface="Biome" panose="020B0502040204020203" pitchFamily="34" charset="0"/>
                </a:rPr>
                <a:t>нмКРРПЖ</a:t>
              </a:r>
            </a:p>
          </p:txBody>
        </p:sp>
        <p:sp>
          <p:nvSpPr>
            <p:cNvPr id="10" name="Rounded Rectangle 7">
              <a:extLst>
                <a:ext uri="{FF2B5EF4-FFF2-40B4-BE49-F238E27FC236}">
                  <a16:creationId xmlns:a16="http://schemas.microsoft.com/office/drawing/2014/main" id="{A1AE2F35-CBC2-49FC-AABC-8F0ED1AD22F7}"/>
                </a:ext>
              </a:extLst>
            </p:cNvPr>
            <p:cNvSpPr/>
            <p:nvPr/>
          </p:nvSpPr>
          <p:spPr>
            <a:xfrm>
              <a:off x="3940097" y="1827920"/>
              <a:ext cx="1211974" cy="58993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ru" sz="1400" b="1" i="0" u="none" strike="noStrike" kern="1200" cap="none" spc="0" normalizeH="0" noProof="0" dirty="0">
                  <a:ln>
                    <a:noFill/>
                  </a:ln>
                  <a:solidFill>
                    <a:prstClr val="white"/>
                  </a:solidFill>
                  <a:effectLst/>
                  <a:uLnTx/>
                  <a:uFillTx/>
                  <a:cs typeface="Biome" panose="020B0502040204020203" pitchFamily="34" charset="0"/>
                </a:rPr>
                <a:t>Первичный прогрессирую</a:t>
              </a:r>
              <a:r>
                <a:rPr lang="en-US" sz="1400" b="1" i="0" u="none" strike="noStrike" kern="1200" cap="none" spc="0" normalizeH="0" noProof="0" dirty="0">
                  <a:ln>
                    <a:noFill/>
                  </a:ln>
                  <a:solidFill>
                    <a:prstClr val="white"/>
                  </a:solidFill>
                  <a:effectLst/>
                  <a:uLnTx/>
                  <a:uFillTx/>
                  <a:cs typeface="Biome" panose="020B0502040204020203" pitchFamily="34" charset="0"/>
                </a:rPr>
                <a:t>-</a:t>
              </a:r>
              <a:r>
                <a:rPr lang="ru" sz="1400" b="1" i="0" u="none" strike="noStrike" kern="1200" cap="none" spc="0" normalizeH="0" noProof="0" dirty="0">
                  <a:ln>
                    <a:noFill/>
                  </a:ln>
                  <a:solidFill>
                    <a:prstClr val="white"/>
                  </a:solidFill>
                  <a:effectLst/>
                  <a:uLnTx/>
                  <a:uFillTx/>
                  <a:cs typeface="Biome" panose="020B0502040204020203" pitchFamily="34" charset="0"/>
                </a:rPr>
                <a:t>щий мГЧРПЖ</a:t>
              </a:r>
              <a:endParaRPr kumimoji="0" lang="en-GB" sz="1400" b="1" i="0" u="none" strike="noStrike" kern="1200" cap="none" spc="0" normalizeH="0" baseline="0" noProof="0" dirty="0">
                <a:ln>
                  <a:noFill/>
                </a:ln>
                <a:solidFill>
                  <a:prstClr val="white"/>
                </a:solidFill>
                <a:effectLst/>
                <a:uLnTx/>
                <a:uFillTx/>
                <a:cs typeface="Biome" panose="020B0502040204020203" pitchFamily="34" charset="0"/>
              </a:endParaRPr>
            </a:p>
          </p:txBody>
        </p:sp>
        <p:sp>
          <p:nvSpPr>
            <p:cNvPr id="11" name="Rounded Rectangle 8">
              <a:extLst>
                <a:ext uri="{FF2B5EF4-FFF2-40B4-BE49-F238E27FC236}">
                  <a16:creationId xmlns:a16="http://schemas.microsoft.com/office/drawing/2014/main" id="{ED953B35-DF63-4CF8-A0ED-06D28BA06A35}"/>
                </a:ext>
              </a:extLst>
            </p:cNvPr>
            <p:cNvSpPr/>
            <p:nvPr/>
          </p:nvSpPr>
          <p:spPr>
            <a:xfrm>
              <a:off x="3940097" y="1206000"/>
              <a:ext cx="1211974" cy="58993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ru" sz="1400" b="1" i="0" u="none" strike="noStrike" kern="1200" cap="none" spc="0" normalizeH="0" noProof="0">
                  <a:ln>
                    <a:noFill/>
                  </a:ln>
                  <a:solidFill>
                    <a:prstClr val="white"/>
                  </a:solidFill>
                  <a:effectLst/>
                  <a:uLnTx/>
                  <a:uFillTx/>
                  <a:cs typeface="Biome" panose="020B0502040204020203" pitchFamily="34" charset="0"/>
                </a:rPr>
                <a:t>Впервые выявленный мГЧРПЖ</a:t>
              </a:r>
              <a:endParaRPr kumimoji="0" lang="en-GB" sz="1400" b="1" i="0" u="none" strike="noStrike" kern="1200" cap="none" spc="0" normalizeH="0" baseline="0" noProof="0" dirty="0">
                <a:ln>
                  <a:noFill/>
                </a:ln>
                <a:solidFill>
                  <a:prstClr val="white"/>
                </a:solidFill>
                <a:effectLst/>
                <a:uLnTx/>
                <a:uFillTx/>
                <a:cs typeface="Biome" panose="020B0502040204020203" pitchFamily="34" charset="0"/>
              </a:endParaRPr>
            </a:p>
          </p:txBody>
        </p:sp>
        <p:sp>
          <p:nvSpPr>
            <p:cNvPr id="12" name="Rounded Rectangle 9">
              <a:extLst>
                <a:ext uri="{FF2B5EF4-FFF2-40B4-BE49-F238E27FC236}">
                  <a16:creationId xmlns:a16="http://schemas.microsoft.com/office/drawing/2014/main" id="{81D444C7-01BD-43A8-8A89-C54E05CBB47E}"/>
                </a:ext>
              </a:extLst>
            </p:cNvPr>
            <p:cNvSpPr/>
            <p:nvPr/>
          </p:nvSpPr>
          <p:spPr>
            <a:xfrm>
              <a:off x="5444495" y="2413370"/>
              <a:ext cx="1211974" cy="58865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ru" sz="1400" b="1" i="0" u="none" strike="noStrike" kern="1200" cap="none" spc="0" normalizeH="0" noProof="0">
                  <a:ln>
                    <a:noFill/>
                  </a:ln>
                  <a:solidFill>
                    <a:prstClr val="white"/>
                  </a:solidFill>
                  <a:effectLst/>
                  <a:uLnTx/>
                  <a:uFillTx/>
                  <a:cs typeface="Biome" panose="020B0502040204020203" pitchFamily="34" charset="0"/>
                </a:rPr>
                <a:t>мКРРПЖ</a:t>
              </a:r>
            </a:p>
          </p:txBody>
        </p:sp>
        <p:sp>
          <p:nvSpPr>
            <p:cNvPr id="13" name="Rounded Rectangle 10">
              <a:extLst>
                <a:ext uri="{FF2B5EF4-FFF2-40B4-BE49-F238E27FC236}">
                  <a16:creationId xmlns:a16="http://schemas.microsoft.com/office/drawing/2014/main" id="{720F8010-2580-4C87-B7C4-1A77D0FD84A5}"/>
                </a:ext>
              </a:extLst>
            </p:cNvPr>
            <p:cNvSpPr/>
            <p:nvPr/>
          </p:nvSpPr>
          <p:spPr>
            <a:xfrm>
              <a:off x="7022880" y="2413370"/>
              <a:ext cx="1670270" cy="58865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ru" sz="1400" b="1" i="0" u="none" strike="noStrike" kern="1200" cap="none" spc="0" normalizeH="0" noProof="0">
                  <a:ln>
                    <a:noFill/>
                  </a:ln>
                  <a:solidFill>
                    <a:prstClr val="white"/>
                  </a:solidFill>
                  <a:effectLst/>
                  <a:uLnTx/>
                  <a:uFillTx/>
                  <a:cs typeface="Biome" panose="020B0502040204020203" pitchFamily="34" charset="0"/>
                </a:rPr>
                <a:t>Терминальная стадия заболевания</a:t>
              </a:r>
            </a:p>
            <a:p>
              <a:pPr marL="0" marR="0" lvl="0" indent="0" algn="ctr" defTabSz="1219170" rtl="0" eaLnBrk="1" fontAlgn="auto" latinLnBrk="0" hangingPunct="1">
                <a:lnSpc>
                  <a:spcPct val="100000"/>
                </a:lnSpc>
                <a:spcBef>
                  <a:spcPts val="0"/>
                </a:spcBef>
                <a:spcAft>
                  <a:spcPts val="0"/>
                </a:spcAft>
                <a:buClrTx/>
                <a:buSzTx/>
                <a:buFontTx/>
                <a:buNone/>
                <a:tabLst/>
                <a:defRPr/>
              </a:pPr>
              <a:r>
                <a:rPr lang="ru" sz="1400" b="1" i="0" u="none" strike="noStrike" kern="1200" cap="none" spc="0" normalizeH="0" noProof="0">
                  <a:ln>
                    <a:noFill/>
                  </a:ln>
                  <a:solidFill>
                    <a:prstClr val="white"/>
                  </a:solidFill>
                  <a:effectLst/>
                  <a:uLnTx/>
                  <a:uFillTx/>
                  <a:cs typeface="Biome" panose="020B0502040204020203" pitchFamily="34" charset="0"/>
                </a:rPr>
                <a:t>(летальный исход)</a:t>
              </a:r>
            </a:p>
          </p:txBody>
        </p:sp>
        <p:sp>
          <p:nvSpPr>
            <p:cNvPr id="16" name="Oval 15">
              <a:extLst>
                <a:ext uri="{FF2B5EF4-FFF2-40B4-BE49-F238E27FC236}">
                  <a16:creationId xmlns:a16="http://schemas.microsoft.com/office/drawing/2014/main" id="{A517E1B2-172C-4B7E-AD2E-249BC681AD2E}"/>
                </a:ext>
              </a:extLst>
            </p:cNvPr>
            <p:cNvSpPr/>
            <p:nvPr/>
          </p:nvSpPr>
          <p:spPr>
            <a:xfrm>
              <a:off x="5256737" y="1942969"/>
              <a:ext cx="1601778" cy="1574324"/>
            </a:xfrm>
            <a:prstGeom prst="ellipse">
              <a:avLst/>
            </a:prstGeom>
            <a:noFill/>
            <a:ln w="5715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cs typeface="Biome" panose="020B0502040204020203" pitchFamily="34" charset="0"/>
              </a:endParaRPr>
            </a:p>
          </p:txBody>
        </p:sp>
        <p:cxnSp>
          <p:nvCxnSpPr>
            <p:cNvPr id="18" name="Straight Arrow Connector 17">
              <a:extLst>
                <a:ext uri="{FF2B5EF4-FFF2-40B4-BE49-F238E27FC236}">
                  <a16:creationId xmlns:a16="http://schemas.microsoft.com/office/drawing/2014/main" id="{439D64B8-5D31-47F7-8282-1E806D7BF50F}"/>
                </a:ext>
              </a:extLst>
            </p:cNvPr>
            <p:cNvCxnSpPr>
              <a:cxnSpLocks/>
            </p:cNvCxnSpPr>
            <p:nvPr/>
          </p:nvCxnSpPr>
          <p:spPr>
            <a:xfrm flipV="1">
              <a:off x="2127068" y="2683928"/>
              <a:ext cx="342454" cy="0"/>
            </a:xfrm>
            <a:prstGeom prst="straightConnector1">
              <a:avLst/>
            </a:prstGeom>
            <a:ln w="28575">
              <a:solidFill>
                <a:schemeClr val="accent1"/>
              </a:solidFill>
              <a:prstDash val="dash"/>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603F4348-819A-4E72-9B29-03FA8D88C6F3}"/>
                </a:ext>
              </a:extLst>
            </p:cNvPr>
            <p:cNvCxnSpPr>
              <a:cxnSpLocks/>
            </p:cNvCxnSpPr>
            <p:nvPr/>
          </p:nvCxnSpPr>
          <p:spPr>
            <a:xfrm>
              <a:off x="3681496" y="2683928"/>
              <a:ext cx="1762999" cy="0"/>
            </a:xfrm>
            <a:prstGeom prst="straightConnector1">
              <a:avLst/>
            </a:prstGeom>
            <a:ln w="28575">
              <a:solidFill>
                <a:schemeClr val="accent1"/>
              </a:solidFill>
              <a:prstDash val="dash"/>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36254AEA-E798-439D-AF2C-2F0C0DA13DE4}"/>
                </a:ext>
              </a:extLst>
            </p:cNvPr>
            <p:cNvCxnSpPr>
              <a:cxnSpLocks/>
            </p:cNvCxnSpPr>
            <p:nvPr/>
          </p:nvCxnSpPr>
          <p:spPr>
            <a:xfrm flipV="1">
              <a:off x="3609714" y="2099118"/>
              <a:ext cx="330383" cy="294326"/>
            </a:xfrm>
            <a:prstGeom prst="straightConnector1">
              <a:avLst/>
            </a:prstGeom>
            <a:ln w="28575">
              <a:solidFill>
                <a:schemeClr val="accent1"/>
              </a:solidFill>
              <a:prstDash val="dash"/>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7BF05933-CC20-44EC-850B-5A5F10C11F67}"/>
                </a:ext>
              </a:extLst>
            </p:cNvPr>
            <p:cNvCxnSpPr>
              <a:cxnSpLocks/>
            </p:cNvCxnSpPr>
            <p:nvPr/>
          </p:nvCxnSpPr>
          <p:spPr>
            <a:xfrm>
              <a:off x="3609714" y="2973772"/>
              <a:ext cx="324041" cy="294326"/>
            </a:xfrm>
            <a:prstGeom prst="straightConnector1">
              <a:avLst/>
            </a:prstGeom>
            <a:ln w="28575">
              <a:solidFill>
                <a:schemeClr val="accent1"/>
              </a:solidFill>
              <a:prstDash val="dash"/>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9E704D22-77A8-4719-9057-BB280CB8EF4B}"/>
                </a:ext>
              </a:extLst>
            </p:cNvPr>
            <p:cNvCxnSpPr>
              <a:cxnSpLocks/>
            </p:cNvCxnSpPr>
            <p:nvPr/>
          </p:nvCxnSpPr>
          <p:spPr>
            <a:xfrm flipV="1">
              <a:off x="5159908" y="2973772"/>
              <a:ext cx="330383" cy="294326"/>
            </a:xfrm>
            <a:prstGeom prst="straightConnector1">
              <a:avLst/>
            </a:prstGeom>
            <a:ln w="28575">
              <a:solidFill>
                <a:schemeClr val="accent1"/>
              </a:solidFill>
              <a:prstDash val="dash"/>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BF4A4137-29DF-4DC4-B919-245F6FF7AE51}"/>
                </a:ext>
              </a:extLst>
            </p:cNvPr>
            <p:cNvCxnSpPr>
              <a:cxnSpLocks/>
            </p:cNvCxnSpPr>
            <p:nvPr/>
          </p:nvCxnSpPr>
          <p:spPr>
            <a:xfrm>
              <a:off x="5159908" y="2099118"/>
              <a:ext cx="324041" cy="294326"/>
            </a:xfrm>
            <a:prstGeom prst="straightConnector1">
              <a:avLst/>
            </a:prstGeom>
            <a:ln w="28575">
              <a:solidFill>
                <a:schemeClr val="accent1"/>
              </a:solidFill>
              <a:prstDash val="dash"/>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4" name="Elbow Connector 63">
              <a:extLst>
                <a:ext uri="{FF2B5EF4-FFF2-40B4-BE49-F238E27FC236}">
                  <a16:creationId xmlns:a16="http://schemas.microsoft.com/office/drawing/2014/main" id="{43E2D082-2858-4E6E-AA8B-343BDD04C4FA}"/>
                </a:ext>
              </a:extLst>
            </p:cNvPr>
            <p:cNvCxnSpPr>
              <a:cxnSpLocks/>
              <a:stCxn id="11" idx="3"/>
              <a:endCxn id="12" idx="0"/>
            </p:cNvCxnSpPr>
            <p:nvPr/>
          </p:nvCxnSpPr>
          <p:spPr>
            <a:xfrm>
              <a:off x="5152071" y="1500965"/>
              <a:ext cx="898411" cy="912405"/>
            </a:xfrm>
            <a:prstGeom prst="bentConnector2">
              <a:avLst/>
            </a:prstGeom>
            <a:ln w="28575">
              <a:solidFill>
                <a:schemeClr val="accent1"/>
              </a:solidFill>
              <a:prstDash val="dash"/>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FE8FD826-44C6-43D7-AA18-929BDEC8DA45}"/>
                </a:ext>
              </a:extLst>
            </p:cNvPr>
            <p:cNvCxnSpPr>
              <a:cxnSpLocks/>
              <a:stCxn id="12" idx="3"/>
              <a:endCxn id="13" idx="1"/>
            </p:cNvCxnSpPr>
            <p:nvPr/>
          </p:nvCxnSpPr>
          <p:spPr>
            <a:xfrm>
              <a:off x="6656469" y="2707695"/>
              <a:ext cx="366411" cy="0"/>
            </a:xfrm>
            <a:prstGeom prst="straightConnector1">
              <a:avLst/>
            </a:prstGeom>
            <a:ln w="28575">
              <a:solidFill>
                <a:schemeClr val="accent1"/>
              </a:solidFill>
              <a:prstDash val="dash"/>
              <a:tailEnd type="triangle" w="med" len="sm"/>
            </a:ln>
            <a:effectLst/>
          </p:spPr>
          <p:style>
            <a:lnRef idx="2">
              <a:schemeClr val="accent1"/>
            </a:lnRef>
            <a:fillRef idx="0">
              <a:schemeClr val="accent1"/>
            </a:fillRef>
            <a:effectRef idx="1">
              <a:schemeClr val="accent1"/>
            </a:effectRef>
            <a:fontRef idx="minor">
              <a:schemeClr val="tx1"/>
            </a:fontRef>
          </p:style>
        </p:cxnSp>
      </p:grpSp>
      <p:sp>
        <p:nvSpPr>
          <p:cNvPr id="27" name="Rectangle: Diagonal Corners Rounded 26">
            <a:extLst>
              <a:ext uri="{FF2B5EF4-FFF2-40B4-BE49-F238E27FC236}">
                <a16:creationId xmlns:a16="http://schemas.microsoft.com/office/drawing/2014/main" id="{36996A10-A3D0-4DB7-A704-59CC4742D8D9}"/>
              </a:ext>
            </a:extLst>
          </p:cNvPr>
          <p:cNvSpPr/>
          <p:nvPr/>
        </p:nvSpPr>
        <p:spPr>
          <a:xfrm>
            <a:off x="8460526" y="1784970"/>
            <a:ext cx="3215836" cy="784867"/>
          </a:xfrm>
          <a:prstGeom prst="round2DiagRect">
            <a:avLst/>
          </a:prstGeom>
          <a:solidFill>
            <a:srgbClr val="FCC50B">
              <a:alpha val="20000"/>
            </a:srgbClr>
          </a:solid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85000" lnSpcReduction="10000"/>
          </a:bodyPr>
          <a:lstStyle/>
          <a:p>
            <a:pPr algn="ctr" rtl="0">
              <a:spcAft>
                <a:spcPts val="600"/>
              </a:spcAft>
            </a:pPr>
            <a:r>
              <a:rPr lang="ru" sz="1600" b="1" dirty="0">
                <a:solidFill>
                  <a:schemeClr val="tx1"/>
                </a:solidFill>
              </a:rPr>
              <a:t>Как только у пациентов развивается мКРРПЖ, исход становится неблагоприятным</a:t>
            </a:r>
            <a:r>
              <a:rPr lang="ru" sz="1600" b="1" baseline="30000" dirty="0">
                <a:solidFill>
                  <a:schemeClr val="tx1"/>
                </a:solidFill>
              </a:rPr>
              <a:t>2-6</a:t>
            </a:r>
            <a:endParaRPr lang="en-GB" sz="1600" b="1" dirty="0">
              <a:solidFill>
                <a:schemeClr val="tx1"/>
              </a:solidFill>
            </a:endParaRPr>
          </a:p>
        </p:txBody>
      </p:sp>
    </p:spTree>
    <p:extLst>
      <p:ext uri="{BB962C8B-B14F-4D97-AF65-F5344CB8AC3E}">
        <p14:creationId xmlns:p14="http://schemas.microsoft.com/office/powerpoint/2010/main" val="27863716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F4630-B38C-61A1-BEA7-678279AFFDD2}"/>
              </a:ext>
            </a:extLst>
          </p:cNvPr>
          <p:cNvSpPr>
            <a:spLocks noGrp="1"/>
          </p:cNvSpPr>
          <p:nvPr>
            <p:ph type="title"/>
          </p:nvPr>
        </p:nvSpPr>
        <p:spPr/>
        <p:txBody>
          <a:bodyPr/>
          <a:lstStyle/>
          <a:p>
            <a:endParaRPr lang="ru-RU" dirty="0"/>
          </a:p>
        </p:txBody>
      </p:sp>
      <p:sp>
        <p:nvSpPr>
          <p:cNvPr id="3" name="Content Placeholder 2">
            <a:extLst>
              <a:ext uri="{FF2B5EF4-FFF2-40B4-BE49-F238E27FC236}">
                <a16:creationId xmlns:a16="http://schemas.microsoft.com/office/drawing/2014/main" id="{F73806D0-5AB4-35A9-A12E-0229A985AAAB}"/>
              </a:ext>
            </a:extLst>
          </p:cNvPr>
          <p:cNvSpPr>
            <a:spLocks noGrp="1"/>
          </p:cNvSpPr>
          <p:nvPr>
            <p:ph sz="quarter" idx="19"/>
          </p:nvPr>
        </p:nvSpPr>
        <p:spPr>
          <a:xfrm>
            <a:off x="407988" y="1390779"/>
            <a:ext cx="11376024" cy="4607984"/>
          </a:xfrm>
        </p:spPr>
        <p:txBody>
          <a:bodyPr/>
          <a:lstStyle/>
          <a:p>
            <a:pPr marL="0" indent="0">
              <a:buNone/>
            </a:pPr>
            <a:r>
              <a:rPr lang="ru-RU" sz="2000" dirty="0"/>
              <a:t>Стандартные варианты терапии </a:t>
            </a:r>
            <a:r>
              <a:rPr lang="ru-RU" sz="2000" dirty="0" err="1"/>
              <a:t>мКРРПЖ</a:t>
            </a:r>
            <a:r>
              <a:rPr lang="ru-RU" sz="2000" dirty="0"/>
              <a:t> позволяют достичь медианы </a:t>
            </a:r>
            <a:r>
              <a:rPr lang="ru-RU" sz="2000" dirty="0" err="1"/>
              <a:t>рВБП</a:t>
            </a:r>
            <a:r>
              <a:rPr lang="ru-RU" sz="2000" dirty="0"/>
              <a:t> не более 16-20 месяцев, а ОВ – 3 лет</a:t>
            </a:r>
            <a:r>
              <a:rPr lang="ru-RU" sz="2000" baseline="30000" dirty="0"/>
              <a:t>1-4</a:t>
            </a:r>
          </a:p>
          <a:p>
            <a:pPr marL="0" indent="0">
              <a:buNone/>
            </a:pPr>
            <a:endParaRPr lang="ru-RU" sz="2000" dirty="0"/>
          </a:p>
          <a:p>
            <a:pPr marL="0" indent="0">
              <a:buNone/>
            </a:pPr>
            <a:endParaRPr lang="ru-RU" sz="2000" dirty="0"/>
          </a:p>
          <a:p>
            <a:pPr marL="0" indent="0">
              <a:buNone/>
            </a:pPr>
            <a:endParaRPr lang="ru-RU" sz="2000" dirty="0"/>
          </a:p>
          <a:p>
            <a:pPr marL="0" indent="0">
              <a:buNone/>
            </a:pPr>
            <a:endParaRPr lang="ru-RU" sz="2000" dirty="0"/>
          </a:p>
          <a:p>
            <a:pPr marL="0" indent="0">
              <a:buNone/>
            </a:pPr>
            <a:endParaRPr lang="ru-RU" sz="2000" dirty="0"/>
          </a:p>
          <a:p>
            <a:pPr marL="0" indent="0">
              <a:buNone/>
            </a:pPr>
            <a:endParaRPr lang="ru-RU" sz="2000" dirty="0"/>
          </a:p>
          <a:p>
            <a:pPr marL="0" indent="0">
              <a:buNone/>
            </a:pPr>
            <a:endParaRPr lang="ru-RU" sz="2000" dirty="0"/>
          </a:p>
          <a:p>
            <a:pPr marL="0" indent="0">
              <a:buNone/>
            </a:pPr>
            <a:r>
              <a:rPr lang="ru-RU" sz="2000" dirty="0"/>
              <a:t>Примерно половина пациентов с </a:t>
            </a:r>
            <a:r>
              <a:rPr lang="ru-RU" sz="2000" dirty="0" err="1"/>
              <a:t>мКРРПЖ</a:t>
            </a:r>
            <a:r>
              <a:rPr lang="ru-RU" sz="2000" dirty="0"/>
              <a:t> получают только одну линию противоопухолевой терапии, при этом эффект от последующих линий уменьшается</a:t>
            </a:r>
            <a:r>
              <a:rPr lang="ru-RU" sz="2000" baseline="30000" dirty="0"/>
              <a:t>5</a:t>
            </a:r>
          </a:p>
        </p:txBody>
      </p:sp>
      <p:sp>
        <p:nvSpPr>
          <p:cNvPr id="7" name="Title 4">
            <a:extLst>
              <a:ext uri="{FF2B5EF4-FFF2-40B4-BE49-F238E27FC236}">
                <a16:creationId xmlns:a16="http://schemas.microsoft.com/office/drawing/2014/main" id="{7EC37CD9-E6F7-B5B2-5F6A-3216B0138F36}"/>
              </a:ext>
            </a:extLst>
          </p:cNvPr>
          <p:cNvSpPr txBox="1">
            <a:spLocks/>
          </p:cNvSpPr>
          <p:nvPr/>
        </p:nvSpPr>
        <p:spPr>
          <a:xfrm>
            <a:off x="407987" y="401495"/>
            <a:ext cx="11376025" cy="787258"/>
          </a:xfrm>
        </p:spPr>
        <p:txBody>
          <a:bodyPr rtlCol="0">
            <a:normAutofit fontScale="97500"/>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r>
              <a:rPr lang="ru-RU" sz="2400" b="1" i="1" dirty="0">
                <a:latin typeface="+mn-lt"/>
                <a:ea typeface="+mn-ea"/>
                <a:cs typeface="+mn-cs"/>
              </a:rPr>
              <a:t>Важно получить максимальную пользу от терапии </a:t>
            </a:r>
            <a:r>
              <a:rPr lang="ru-RU" sz="2400" b="1" i="1" dirty="0" err="1">
                <a:latin typeface="+mn-lt"/>
                <a:ea typeface="+mn-ea"/>
                <a:cs typeface="+mn-cs"/>
              </a:rPr>
              <a:t>мКРРПЖ</a:t>
            </a:r>
            <a:r>
              <a:rPr lang="ru-RU" sz="2400" b="1" i="1" dirty="0">
                <a:latin typeface="+mn-lt"/>
                <a:ea typeface="+mn-ea"/>
                <a:cs typeface="+mn-cs"/>
              </a:rPr>
              <a:t> в 1-й линии, чтобы достичь лучших результатов лечения</a:t>
            </a:r>
            <a:endParaRPr lang="en-GB" sz="2400" b="1" i="1" dirty="0">
              <a:latin typeface="+mn-lt"/>
              <a:ea typeface="+mn-ea"/>
              <a:cs typeface="+mn-cs"/>
            </a:endParaRPr>
          </a:p>
        </p:txBody>
      </p:sp>
      <p:pic>
        <p:nvPicPr>
          <p:cNvPr id="9" name="Picture 8">
            <a:extLst>
              <a:ext uri="{FF2B5EF4-FFF2-40B4-BE49-F238E27FC236}">
                <a16:creationId xmlns:a16="http://schemas.microsoft.com/office/drawing/2014/main" id="{74C8E76D-DAC3-AF03-82CB-475CE87AD7E6}"/>
              </a:ext>
            </a:extLst>
          </p:cNvPr>
          <p:cNvPicPr>
            <a:picLocks noChangeAspect="1"/>
          </p:cNvPicPr>
          <p:nvPr/>
        </p:nvPicPr>
        <p:blipFill>
          <a:blip r:embed="rId2"/>
          <a:stretch>
            <a:fillRect/>
          </a:stretch>
        </p:blipFill>
        <p:spPr>
          <a:xfrm>
            <a:off x="2798445" y="2647950"/>
            <a:ext cx="6229350" cy="1562100"/>
          </a:xfrm>
          <a:prstGeom prst="rect">
            <a:avLst/>
          </a:prstGeom>
        </p:spPr>
      </p:pic>
      <p:sp>
        <p:nvSpPr>
          <p:cNvPr id="11" name="TextBox 10">
            <a:extLst>
              <a:ext uri="{FF2B5EF4-FFF2-40B4-BE49-F238E27FC236}">
                <a16:creationId xmlns:a16="http://schemas.microsoft.com/office/drawing/2014/main" id="{43A41EFA-5B5F-D40D-52B3-B746C9654C19}"/>
              </a:ext>
            </a:extLst>
          </p:cNvPr>
          <p:cNvSpPr txBox="1"/>
          <p:nvPr/>
        </p:nvSpPr>
        <p:spPr>
          <a:xfrm>
            <a:off x="407988" y="5998748"/>
            <a:ext cx="11627258" cy="707886"/>
          </a:xfrm>
          <a:prstGeom prst="rect">
            <a:avLst/>
          </a:prstGeom>
          <a:noFill/>
        </p:spPr>
        <p:txBody>
          <a:bodyPr wrap="square">
            <a:spAutoFit/>
          </a:bodyPr>
          <a:lstStyle/>
          <a:p>
            <a:pPr algn="l"/>
            <a:r>
              <a:rPr lang="en-US" sz="500" b="0" i="0" u="none" strike="noStrike" baseline="0" dirty="0">
                <a:solidFill>
                  <a:schemeClr val="tx1">
                    <a:lumMod val="75000"/>
                  </a:schemeClr>
                </a:solidFill>
                <a:latin typeface="MyriadPro-Cond"/>
              </a:rPr>
              <a:t>1. Clarke N </a:t>
            </a:r>
            <a:r>
              <a:rPr lang="en-US" sz="500" b="0" i="1" u="none" strike="noStrike" baseline="0" dirty="0">
                <a:solidFill>
                  <a:schemeClr val="tx1">
                    <a:lumMod val="75000"/>
                  </a:schemeClr>
                </a:solidFill>
                <a:latin typeface="MyriadPro-CondIt"/>
              </a:rPr>
              <a:t>et al</a:t>
            </a:r>
            <a:r>
              <a:rPr lang="en-US" sz="500" b="0" i="0" u="none" strike="noStrike" baseline="0" dirty="0">
                <a:solidFill>
                  <a:schemeClr val="tx1">
                    <a:lumMod val="75000"/>
                  </a:schemeClr>
                </a:solidFill>
                <a:latin typeface="MyriadPro-Cond"/>
              </a:rPr>
              <a:t>. Abiraterone and </a:t>
            </a:r>
            <a:r>
              <a:rPr lang="en-US" sz="500" b="0" i="0" u="none" strike="noStrike" baseline="0" dirty="0" err="1">
                <a:solidFill>
                  <a:schemeClr val="tx1">
                    <a:lumMod val="75000"/>
                  </a:schemeClr>
                </a:solidFill>
                <a:latin typeface="MyriadPro-Cond"/>
              </a:rPr>
              <a:t>olaparib</a:t>
            </a:r>
            <a:r>
              <a:rPr lang="en-US" sz="500" b="0" i="0" u="none" strike="noStrike" baseline="0" dirty="0">
                <a:solidFill>
                  <a:schemeClr val="tx1">
                    <a:lumMod val="75000"/>
                  </a:schemeClr>
                </a:solidFill>
                <a:latin typeface="MyriadPro-Cond"/>
              </a:rPr>
              <a:t> for metastatic castration-resistant prostate cancer. </a:t>
            </a:r>
            <a:r>
              <a:rPr lang="en-US" sz="500" b="0" i="1" u="none" strike="noStrike" baseline="0" dirty="0">
                <a:solidFill>
                  <a:schemeClr val="tx1">
                    <a:lumMod val="75000"/>
                  </a:schemeClr>
                </a:solidFill>
                <a:latin typeface="MyriadPro-CondIt"/>
              </a:rPr>
              <a:t>NEJM Evidence</a:t>
            </a:r>
            <a:r>
              <a:rPr lang="en-US" sz="500" b="0" i="0" u="none" strike="noStrike" baseline="0" dirty="0">
                <a:solidFill>
                  <a:schemeClr val="tx1">
                    <a:lumMod val="75000"/>
                  </a:schemeClr>
                </a:solidFill>
                <a:latin typeface="MyriadPro-Cond"/>
              </a:rPr>
              <a:t>. 2022; </a:t>
            </a:r>
            <a:r>
              <a:rPr lang="en-US" sz="500" b="0" i="0" u="none" strike="noStrike" baseline="0" dirty="0" err="1">
                <a:solidFill>
                  <a:schemeClr val="tx1">
                    <a:lumMod val="75000"/>
                  </a:schemeClr>
                </a:solidFill>
                <a:latin typeface="MyriadPro-Cond"/>
              </a:rPr>
              <a:t>doi</a:t>
            </a:r>
            <a:r>
              <a:rPr lang="en-US" sz="500" b="0" i="0" u="none" strike="noStrike" baseline="0" dirty="0">
                <a:solidFill>
                  <a:schemeClr val="tx1">
                    <a:lumMod val="75000"/>
                  </a:schemeClr>
                </a:solidFill>
                <a:latin typeface="MyriadPro-Cond"/>
              </a:rPr>
              <a:t>: 10.1056/EVIDoa2200043.</a:t>
            </a:r>
          </a:p>
          <a:p>
            <a:pPr algn="l"/>
            <a:r>
              <a:rPr lang="en-US" sz="500" b="0" i="0" u="none" strike="noStrike" baseline="0" dirty="0">
                <a:solidFill>
                  <a:schemeClr val="tx1">
                    <a:lumMod val="75000"/>
                  </a:schemeClr>
                </a:solidFill>
                <a:latin typeface="MyriadPro-Cond"/>
              </a:rPr>
              <a:t>2. Ryan CJ </a:t>
            </a:r>
            <a:r>
              <a:rPr lang="en-US" sz="500" b="0" i="1" u="none" strike="noStrike" baseline="0" dirty="0">
                <a:solidFill>
                  <a:schemeClr val="tx1">
                    <a:lumMod val="75000"/>
                  </a:schemeClr>
                </a:solidFill>
                <a:latin typeface="MyriadPro-CondIt"/>
              </a:rPr>
              <a:t>et al</a:t>
            </a:r>
            <a:r>
              <a:rPr lang="en-US" sz="500" b="0" i="0" u="none" strike="noStrike" baseline="0" dirty="0">
                <a:solidFill>
                  <a:schemeClr val="tx1">
                    <a:lumMod val="75000"/>
                  </a:schemeClr>
                </a:solidFill>
                <a:latin typeface="MyriadPro-Cond"/>
              </a:rPr>
              <a:t>. Randomized phase 3 trial of abiraterone acetate in men with metastatic castration-resistant prostate cancer and no prior chemotherapy.</a:t>
            </a:r>
          </a:p>
          <a:p>
            <a:pPr algn="l"/>
            <a:r>
              <a:rPr lang="en-US" sz="500" b="0" i="1" u="none" strike="noStrike" baseline="0" dirty="0">
                <a:solidFill>
                  <a:schemeClr val="tx1">
                    <a:lumMod val="75000"/>
                  </a:schemeClr>
                </a:solidFill>
                <a:latin typeface="MyriadPro-CondIt"/>
              </a:rPr>
              <a:t>N </a:t>
            </a:r>
            <a:r>
              <a:rPr lang="en-US" sz="500" b="0" i="1" u="none" strike="noStrike" baseline="0" dirty="0" err="1">
                <a:solidFill>
                  <a:schemeClr val="tx1">
                    <a:lumMod val="75000"/>
                  </a:schemeClr>
                </a:solidFill>
                <a:latin typeface="MyriadPro-CondIt"/>
              </a:rPr>
              <a:t>Engl</a:t>
            </a:r>
            <a:r>
              <a:rPr lang="en-US" sz="500" b="0" i="1" u="none" strike="noStrike" baseline="0" dirty="0">
                <a:solidFill>
                  <a:schemeClr val="tx1">
                    <a:lumMod val="75000"/>
                  </a:schemeClr>
                </a:solidFill>
                <a:latin typeface="MyriadPro-CondIt"/>
              </a:rPr>
              <a:t> J Med</a:t>
            </a:r>
            <a:r>
              <a:rPr lang="en-US" sz="500" b="0" i="0" u="none" strike="noStrike" baseline="0" dirty="0">
                <a:solidFill>
                  <a:schemeClr val="tx1">
                    <a:lumMod val="75000"/>
                  </a:schemeClr>
                </a:solidFill>
                <a:latin typeface="MyriadPro-Cond"/>
              </a:rPr>
              <a:t>. 2013;368(2):138–148.</a:t>
            </a:r>
          </a:p>
          <a:p>
            <a:pPr algn="l"/>
            <a:r>
              <a:rPr lang="en-US" sz="500" b="0" i="0" u="none" strike="noStrike" baseline="0" dirty="0">
                <a:solidFill>
                  <a:schemeClr val="tx1">
                    <a:lumMod val="75000"/>
                  </a:schemeClr>
                </a:solidFill>
                <a:latin typeface="MyriadPro-Cond"/>
              </a:rPr>
              <a:t>3. Ryan CJ </a:t>
            </a:r>
            <a:r>
              <a:rPr lang="en-US" sz="500" b="0" i="1" u="none" strike="noStrike" baseline="0" dirty="0">
                <a:solidFill>
                  <a:schemeClr val="tx1">
                    <a:lumMod val="75000"/>
                  </a:schemeClr>
                </a:solidFill>
                <a:latin typeface="MyriadPro-CondIt"/>
              </a:rPr>
              <a:t>et al</a:t>
            </a:r>
            <a:r>
              <a:rPr lang="en-US" sz="500" b="0" i="0" u="none" strike="noStrike" baseline="0" dirty="0">
                <a:solidFill>
                  <a:schemeClr val="tx1">
                    <a:lumMod val="75000"/>
                  </a:schemeClr>
                </a:solidFill>
                <a:latin typeface="MyriadPro-Cond"/>
              </a:rPr>
              <a:t>. Abiraterone acetate plus prednisone versus placebo plus prednisone in chemotherapy-naive men with metastatic castration-resistant prostate cancer</a:t>
            </a:r>
          </a:p>
          <a:p>
            <a:pPr algn="l"/>
            <a:r>
              <a:rPr lang="en-US" sz="500" b="0" i="0" u="none" strike="noStrike" baseline="0" dirty="0">
                <a:solidFill>
                  <a:schemeClr val="tx1">
                    <a:lumMod val="75000"/>
                  </a:schemeClr>
                </a:solidFill>
                <a:latin typeface="MyriadPro-Cond"/>
              </a:rPr>
              <a:t>(COU-AA-302): final overall survival analysis of a </a:t>
            </a:r>
            <a:r>
              <a:rPr lang="en-US" sz="500" b="0" i="0" u="none" strike="noStrike" baseline="0" dirty="0" err="1">
                <a:solidFill>
                  <a:schemeClr val="tx1">
                    <a:lumMod val="75000"/>
                  </a:schemeClr>
                </a:solidFill>
                <a:latin typeface="MyriadPro-Cond"/>
              </a:rPr>
              <a:t>randomised</a:t>
            </a:r>
            <a:r>
              <a:rPr lang="en-US" sz="500" b="0" i="0" u="none" strike="noStrike" baseline="0" dirty="0">
                <a:solidFill>
                  <a:schemeClr val="tx1">
                    <a:lumMod val="75000"/>
                  </a:schemeClr>
                </a:solidFill>
                <a:latin typeface="MyriadPro-Cond"/>
              </a:rPr>
              <a:t>, double-blind, placebo-controlled phase 3 study. </a:t>
            </a:r>
            <a:r>
              <a:rPr lang="en-US" sz="500" b="0" i="1" u="none" strike="noStrike" baseline="0" dirty="0">
                <a:solidFill>
                  <a:schemeClr val="tx1">
                    <a:lumMod val="75000"/>
                  </a:schemeClr>
                </a:solidFill>
                <a:latin typeface="MyriadPro-CondIt"/>
              </a:rPr>
              <a:t>Lancet Oncol</a:t>
            </a:r>
            <a:r>
              <a:rPr lang="en-US" sz="500" b="0" i="0" u="none" strike="noStrike" baseline="0" dirty="0">
                <a:solidFill>
                  <a:schemeClr val="tx1">
                    <a:lumMod val="75000"/>
                  </a:schemeClr>
                </a:solidFill>
                <a:latin typeface="MyriadPro-Cond"/>
              </a:rPr>
              <a:t>. 2015;16(2):152–160.</a:t>
            </a:r>
          </a:p>
          <a:p>
            <a:pPr algn="l"/>
            <a:r>
              <a:rPr lang="en-US" sz="500" b="0" i="0" u="none" strike="noStrike" baseline="0" dirty="0">
                <a:solidFill>
                  <a:schemeClr val="tx1">
                    <a:lumMod val="75000"/>
                  </a:schemeClr>
                </a:solidFill>
                <a:latin typeface="MyriadPro-Cond"/>
              </a:rPr>
              <a:t>4. Beer TM </a:t>
            </a:r>
            <a:r>
              <a:rPr lang="en-US" sz="500" b="0" i="1" u="none" strike="noStrike" baseline="0" dirty="0">
                <a:solidFill>
                  <a:schemeClr val="tx1">
                    <a:lumMod val="75000"/>
                  </a:schemeClr>
                </a:solidFill>
                <a:latin typeface="MyriadPro-CondIt"/>
              </a:rPr>
              <a:t>et al. </a:t>
            </a:r>
            <a:r>
              <a:rPr lang="en-US" sz="500" b="0" i="0" u="none" strike="noStrike" baseline="0" dirty="0">
                <a:solidFill>
                  <a:schemeClr val="tx1">
                    <a:lumMod val="75000"/>
                  </a:schemeClr>
                </a:solidFill>
                <a:latin typeface="MyriadPro-Cond"/>
              </a:rPr>
              <a:t>Enzalutamide in men with chemotherapy-naive </a:t>
            </a:r>
            <a:r>
              <a:rPr lang="en-US" sz="500" b="0" i="0" u="none" strike="noStrike" baseline="0" dirty="0" err="1">
                <a:solidFill>
                  <a:schemeClr val="tx1">
                    <a:lumMod val="75000"/>
                  </a:schemeClr>
                </a:solidFill>
                <a:latin typeface="MyriadPro-Cond"/>
              </a:rPr>
              <a:t>mCRPC</a:t>
            </a:r>
            <a:r>
              <a:rPr lang="en-US" sz="500" b="0" i="0" u="none" strike="noStrike" baseline="0" dirty="0">
                <a:solidFill>
                  <a:schemeClr val="tx1">
                    <a:lumMod val="75000"/>
                  </a:schemeClr>
                </a:solidFill>
                <a:latin typeface="MyriadPro-Cond"/>
              </a:rPr>
              <a:t>: extended analysis of the phase 3 PREVAIL study. </a:t>
            </a:r>
            <a:r>
              <a:rPr lang="en-US" sz="500" b="0" i="1" u="none" strike="noStrike" baseline="0" dirty="0" err="1">
                <a:solidFill>
                  <a:schemeClr val="tx1">
                    <a:lumMod val="75000"/>
                  </a:schemeClr>
                </a:solidFill>
                <a:latin typeface="MyriadPro-CondIt"/>
              </a:rPr>
              <a:t>Eur</a:t>
            </a:r>
            <a:r>
              <a:rPr lang="en-US" sz="500" b="0" i="1" u="none" strike="noStrike" baseline="0" dirty="0">
                <a:solidFill>
                  <a:schemeClr val="tx1">
                    <a:lumMod val="75000"/>
                  </a:schemeClr>
                </a:solidFill>
                <a:latin typeface="MyriadPro-CondIt"/>
              </a:rPr>
              <a:t> Urol</a:t>
            </a:r>
            <a:r>
              <a:rPr lang="en-US" sz="500" b="0" i="0" u="none" strike="noStrike" baseline="0" dirty="0">
                <a:solidFill>
                  <a:schemeClr val="tx1">
                    <a:lumMod val="75000"/>
                  </a:schemeClr>
                </a:solidFill>
                <a:latin typeface="MyriadPro-Cond"/>
              </a:rPr>
              <a:t>. 2017; 71(2): 151–154.</a:t>
            </a:r>
          </a:p>
          <a:p>
            <a:pPr algn="l"/>
            <a:r>
              <a:rPr lang="en-US" sz="500" b="0" i="0" u="none" strike="noStrike" baseline="0" dirty="0">
                <a:solidFill>
                  <a:schemeClr val="tx1">
                    <a:lumMod val="75000"/>
                  </a:schemeClr>
                </a:solidFill>
                <a:latin typeface="MyriadPro-Cond"/>
              </a:rPr>
              <a:t>5. George DJ </a:t>
            </a:r>
            <a:r>
              <a:rPr lang="en-US" sz="500" b="0" i="1" u="none" strike="noStrike" baseline="0" dirty="0">
                <a:solidFill>
                  <a:schemeClr val="tx1">
                    <a:lumMod val="75000"/>
                  </a:schemeClr>
                </a:solidFill>
                <a:latin typeface="MyriadPro-CondIt"/>
              </a:rPr>
              <a:t>et al</a:t>
            </a:r>
            <a:r>
              <a:rPr lang="en-US" sz="500" b="0" i="0" u="none" strike="noStrike" baseline="0" dirty="0">
                <a:solidFill>
                  <a:schemeClr val="tx1">
                    <a:lumMod val="75000"/>
                  </a:schemeClr>
                </a:solidFill>
                <a:latin typeface="MyriadPro-Cond"/>
              </a:rPr>
              <a:t>. Treatment patterns and outcomes in patients with metastatic castration-resistant prostate cancer in a real-world clinical practice setting in the United States.</a:t>
            </a:r>
          </a:p>
          <a:p>
            <a:pPr algn="l"/>
            <a:r>
              <a:rPr lang="it-IT" sz="500" b="0" i="1" u="none" strike="noStrike" baseline="0" dirty="0" err="1">
                <a:solidFill>
                  <a:schemeClr val="tx1">
                    <a:lumMod val="75000"/>
                  </a:schemeClr>
                </a:solidFill>
                <a:latin typeface="MyriadPro-CondIt"/>
              </a:rPr>
              <a:t>Clin</a:t>
            </a:r>
            <a:r>
              <a:rPr lang="it-IT" sz="500" b="0" i="1" u="none" strike="noStrike" baseline="0" dirty="0">
                <a:solidFill>
                  <a:schemeClr val="tx1">
                    <a:lumMod val="75000"/>
                  </a:schemeClr>
                </a:solidFill>
                <a:latin typeface="MyriadPro-CondIt"/>
              </a:rPr>
              <a:t> </a:t>
            </a:r>
            <a:r>
              <a:rPr lang="it-IT" sz="500" b="0" i="1" u="none" strike="noStrike" baseline="0" dirty="0" err="1">
                <a:solidFill>
                  <a:schemeClr val="tx1">
                    <a:lumMod val="75000"/>
                  </a:schemeClr>
                </a:solidFill>
                <a:latin typeface="MyriadPro-CondIt"/>
              </a:rPr>
              <a:t>Genitourin</a:t>
            </a:r>
            <a:r>
              <a:rPr lang="it-IT" sz="500" b="0" i="1" u="none" strike="noStrike" baseline="0" dirty="0">
                <a:solidFill>
                  <a:schemeClr val="tx1">
                    <a:lumMod val="75000"/>
                  </a:schemeClr>
                </a:solidFill>
                <a:latin typeface="MyriadPro-CondIt"/>
              </a:rPr>
              <a:t> </a:t>
            </a:r>
            <a:r>
              <a:rPr lang="it-IT" sz="500" b="0" i="1" u="none" strike="noStrike" baseline="0" dirty="0" err="1">
                <a:solidFill>
                  <a:schemeClr val="tx1">
                    <a:lumMod val="75000"/>
                  </a:schemeClr>
                </a:solidFill>
                <a:latin typeface="MyriadPro-CondIt"/>
              </a:rPr>
              <a:t>Cancer</a:t>
            </a:r>
            <a:r>
              <a:rPr lang="it-IT" sz="500" b="0" i="1" u="none" strike="noStrike" baseline="0" dirty="0">
                <a:solidFill>
                  <a:schemeClr val="tx1">
                    <a:lumMod val="75000"/>
                  </a:schemeClr>
                </a:solidFill>
                <a:latin typeface="MyriadPro-CondIt"/>
              </a:rPr>
              <a:t>. </a:t>
            </a:r>
            <a:r>
              <a:rPr lang="it-IT" sz="500" b="0" i="0" u="none" strike="noStrike" baseline="0" dirty="0">
                <a:solidFill>
                  <a:schemeClr val="tx1">
                    <a:lumMod val="75000"/>
                  </a:schemeClr>
                </a:solidFill>
                <a:latin typeface="MyriadPro-Cond"/>
              </a:rPr>
              <a:t>2020;18(4):284–294.</a:t>
            </a:r>
            <a:endParaRPr lang="ru-RU" sz="500" dirty="0">
              <a:solidFill>
                <a:schemeClr val="tx1">
                  <a:lumMod val="75000"/>
                </a:schemeClr>
              </a:solidFill>
            </a:endParaRPr>
          </a:p>
        </p:txBody>
      </p:sp>
    </p:spTree>
    <p:extLst>
      <p:ext uri="{BB962C8B-B14F-4D97-AF65-F5344CB8AC3E}">
        <p14:creationId xmlns:p14="http://schemas.microsoft.com/office/powerpoint/2010/main" val="11287503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5C2E40-DE4A-49D2-90AA-93AB581FDDF1}"/>
              </a:ext>
            </a:extLst>
          </p:cNvPr>
          <p:cNvSpPr>
            <a:spLocks noGrp="1"/>
          </p:cNvSpPr>
          <p:nvPr>
            <p:ph type="title"/>
          </p:nvPr>
        </p:nvSpPr>
        <p:spPr>
          <a:xfrm>
            <a:off x="422055" y="163519"/>
            <a:ext cx="11376025" cy="787258"/>
          </a:xfrm>
        </p:spPr>
        <p:txBody>
          <a:bodyPr rtlCol="0">
            <a:normAutofit fontScale="90000"/>
          </a:bodyPr>
          <a:lstStyle/>
          <a:p>
            <a:pPr rtl="0"/>
            <a:r>
              <a:rPr lang="ru" sz="2400" b="1" i="1" dirty="0">
                <a:latin typeface="+mn-lt"/>
                <a:ea typeface="+mn-ea"/>
                <a:cs typeface="+mn-cs"/>
              </a:rPr>
              <a:t>Существует потребность в улучшении вариантов терапии, </a:t>
            </a:r>
            <a:br>
              <a:rPr lang="ru" sz="2400" b="1" i="1" dirty="0">
                <a:latin typeface="+mn-lt"/>
                <a:ea typeface="+mn-ea"/>
                <a:cs typeface="+mn-cs"/>
              </a:rPr>
            </a:br>
            <a:r>
              <a:rPr lang="ru" sz="2400" b="1" i="1" dirty="0">
                <a:latin typeface="+mn-lt"/>
                <a:ea typeface="+mn-ea"/>
                <a:cs typeface="+mn-cs"/>
              </a:rPr>
              <a:t>несмотря на имеющиеся в настоящее время методы лечения мКРРПЖ</a:t>
            </a:r>
            <a:endParaRPr lang="en-GB" sz="2400" b="1" i="1" dirty="0">
              <a:latin typeface="+mn-lt"/>
              <a:ea typeface="+mn-ea"/>
              <a:cs typeface="+mn-cs"/>
            </a:endParaRPr>
          </a:p>
        </p:txBody>
      </p:sp>
      <p:sp>
        <p:nvSpPr>
          <p:cNvPr id="7" name="Text Placeholder 6">
            <a:extLst>
              <a:ext uri="{FF2B5EF4-FFF2-40B4-BE49-F238E27FC236}">
                <a16:creationId xmlns:a16="http://schemas.microsoft.com/office/drawing/2014/main" id="{91765F96-5E58-420B-AF1F-3F292EEE3B27}"/>
              </a:ext>
            </a:extLst>
          </p:cNvPr>
          <p:cNvSpPr>
            <a:spLocks noGrp="1"/>
          </p:cNvSpPr>
          <p:nvPr>
            <p:ph type="body" sz="quarter" idx="111"/>
          </p:nvPr>
        </p:nvSpPr>
        <p:spPr>
          <a:xfrm>
            <a:off x="246889" y="6184531"/>
            <a:ext cx="10490168" cy="657225"/>
          </a:xfrm>
        </p:spPr>
        <p:txBody>
          <a:bodyPr rtlCol="0"/>
          <a:lstStyle/>
          <a:p>
            <a:pPr marL="0" lvl="0" indent="0" rtl="0">
              <a:spcAft>
                <a:spcPts val="0"/>
              </a:spcAft>
              <a:defRPr/>
            </a:pPr>
            <a:r>
              <a:rPr lang="ru" sz="700" dirty="0">
                <a:cs typeface="Arial" panose="020B0604020202020204" pitchFamily="34" charset="0"/>
              </a:rPr>
              <a:t>*В когорту А были включены пациенты с мутациями </a:t>
            </a:r>
            <a:r>
              <a:rPr lang="ru" sz="700" i="1" dirty="0">
                <a:cs typeface="Arial" panose="020B0604020202020204" pitchFamily="34" charset="0"/>
              </a:rPr>
              <a:t>BRCA1, BRCA2</a:t>
            </a:r>
            <a:r>
              <a:rPr lang="ru" sz="700" dirty="0">
                <a:cs typeface="Arial" panose="020B0604020202020204" pitchFamily="34" charset="0"/>
              </a:rPr>
              <a:t> или </a:t>
            </a:r>
            <a:r>
              <a:rPr lang="ru" sz="700" i="1" dirty="0">
                <a:cs typeface="Arial" panose="020B0604020202020204" pitchFamily="34" charset="0"/>
              </a:rPr>
              <a:t>ATM</a:t>
            </a:r>
            <a:r>
              <a:rPr lang="ru" sz="700" dirty="0">
                <a:cs typeface="Arial" panose="020B0604020202020204" pitchFamily="34" charset="0"/>
              </a:rPr>
              <a:t>; в когорту B были включены пациенты с мутациями </a:t>
            </a:r>
            <a:r>
              <a:rPr lang="ru" sz="700" i="1" dirty="0">
                <a:cs typeface="Arial" panose="020B0604020202020204" pitchFamily="34" charset="0"/>
              </a:rPr>
              <a:t>BARD1, BRIP1, CDK12, CHEK1, CHEK2, FANCL, PALB2, PPP2R2A, RAD51B, RAD51C, RAD51D </a:t>
            </a:r>
            <a:r>
              <a:rPr lang="ru" sz="700" dirty="0">
                <a:cs typeface="Arial" panose="020B0604020202020204" pitchFamily="34" charset="0"/>
              </a:rPr>
              <a:t>или</a:t>
            </a:r>
            <a:r>
              <a:rPr lang="ru" sz="700" i="1" dirty="0">
                <a:cs typeface="Arial" panose="020B0604020202020204" pitchFamily="34" charset="0"/>
              </a:rPr>
              <a:t> RAD54L</a:t>
            </a:r>
            <a:r>
              <a:rPr lang="ru" sz="700" dirty="0">
                <a:cs typeface="Arial" panose="020B0604020202020204" pitchFamily="34" charset="0"/>
              </a:rPr>
              <a:t>.КРРПЖ — кастрационно-резистентный рак предстательной железы; ОР — отношение рисков; мКРРПЖ — метастатический кастрационно-резистентный рак предстательной железы; мРПЖ — метастатический рак предстательной железы; НГП — новый гормональный препарат; ОВ — общая выживаемость.</a:t>
            </a:r>
            <a:r>
              <a:rPr lang="en-US" sz="700" dirty="0">
                <a:cs typeface="Arial" panose="020B0604020202020204" pitchFamily="34" charset="0"/>
              </a:rPr>
              <a:t> </a:t>
            </a:r>
            <a:r>
              <a:rPr lang="ru-RU" sz="700" dirty="0">
                <a:cs typeface="Arial" panose="020B0604020202020204" pitchFamily="34" charset="0"/>
              </a:rPr>
              <a:t>Заливка салатовым цветом для медиан ОВ при назначении в 1 линии терапии.</a:t>
            </a:r>
            <a:endParaRPr lang="en-GB" sz="700" spc="-13" dirty="0">
              <a:cs typeface="Arial" panose="020B0604020202020204" pitchFamily="34" charset="0"/>
            </a:endParaRPr>
          </a:p>
          <a:p>
            <a:pPr marL="0" indent="0" defTabSz="1218994" rtl="0">
              <a:spcAft>
                <a:spcPts val="0"/>
              </a:spcAft>
              <a:defRPr/>
            </a:pPr>
            <a:r>
              <a:rPr lang="ru" sz="700" spc="-13" dirty="0">
                <a:cs typeface="Arial" panose="020B0604020202020204" pitchFamily="34" charset="0"/>
              </a:rPr>
              <a:t>1. Tannock IF, et al.</a:t>
            </a:r>
            <a:r>
              <a:rPr lang="ru" sz="700" i="1" spc="-13" dirty="0">
                <a:cs typeface="Arial" panose="020B0604020202020204" pitchFamily="34" charset="0"/>
              </a:rPr>
              <a:t> N Engl J Med </a:t>
            </a:r>
            <a:r>
              <a:rPr lang="ru" sz="700" spc="-13" dirty="0">
                <a:cs typeface="Arial" panose="020B0604020202020204" pitchFamily="34" charset="0"/>
              </a:rPr>
              <a:t>2004;351:1502–12;  2. Ryan CJ, et al.</a:t>
            </a:r>
            <a:r>
              <a:rPr lang="ru" sz="700" i="1" spc="-13" dirty="0">
                <a:cs typeface="Arial" panose="020B0604020202020204" pitchFamily="34" charset="0"/>
              </a:rPr>
              <a:t> Lancet Oncol </a:t>
            </a:r>
            <a:r>
              <a:rPr lang="ru" sz="700" spc="-13" dirty="0">
                <a:cs typeface="Arial" panose="020B0604020202020204" pitchFamily="34" charset="0"/>
              </a:rPr>
              <a:t>2015;16:152–60; 3. Beer TM, et al. </a:t>
            </a:r>
            <a:r>
              <a:rPr lang="ru" sz="700" i="1" spc="-13" dirty="0">
                <a:cs typeface="Arial" panose="020B0604020202020204" pitchFamily="34" charset="0"/>
              </a:rPr>
              <a:t>Eur Urol </a:t>
            </a:r>
            <a:r>
              <a:rPr lang="ru" sz="700" spc="-13" dirty="0">
                <a:cs typeface="Arial" panose="020B0604020202020204" pitchFamily="34" charset="0"/>
              </a:rPr>
              <a:t>2017;71:151–4; 4</a:t>
            </a:r>
            <a:r>
              <a:rPr lang="ru" sz="700" dirty="0">
                <a:cs typeface="Arial" panose="020B0604020202020204" pitchFamily="34" charset="0"/>
              </a:rPr>
              <a:t>. </a:t>
            </a:r>
            <a:r>
              <a:rPr lang="ru" sz="700" spc="-13" dirty="0">
                <a:cs typeface="Arial" panose="020B0604020202020204" pitchFamily="34" charset="0"/>
              </a:rPr>
              <a:t>Hussain M, et al. </a:t>
            </a:r>
            <a:r>
              <a:rPr lang="ru" sz="700" i="1" spc="-13" dirty="0">
                <a:cs typeface="Arial" panose="020B0604020202020204" pitchFamily="34" charset="0"/>
              </a:rPr>
              <a:t>N Engl J Med </a:t>
            </a:r>
            <a:r>
              <a:rPr lang="ru" sz="700" spc="-13" dirty="0">
                <a:cs typeface="Arial" panose="020B0604020202020204" pitchFamily="34" charset="0"/>
              </a:rPr>
              <a:t>2020;383(24):2345-2357; </a:t>
            </a:r>
            <a:r>
              <a:rPr lang="en-US" sz="700" spc="-13" dirty="0">
                <a:cs typeface="Arial" panose="020B0604020202020204" pitchFamily="34" charset="0"/>
              </a:rPr>
              <a:t>5</a:t>
            </a:r>
            <a:r>
              <a:rPr lang="ru" sz="700" spc="-13" dirty="0">
                <a:cs typeface="Arial" panose="020B0604020202020204" pitchFamily="34" charset="0"/>
              </a:rPr>
              <a:t>. Armstrong AJ, et al. </a:t>
            </a:r>
            <a:r>
              <a:rPr lang="ru" sz="700" i="1" spc="-13" dirty="0">
                <a:cs typeface="Arial" panose="020B0604020202020204" pitchFamily="34" charset="0"/>
              </a:rPr>
              <a:t>Cancer </a:t>
            </a:r>
            <a:r>
              <a:rPr lang="ru" sz="700" spc="-13" dirty="0">
                <a:cs typeface="Arial" panose="020B0604020202020204" pitchFamily="34" charset="0"/>
              </a:rPr>
              <a:t>2017;123:2303–11; </a:t>
            </a:r>
            <a:r>
              <a:rPr lang="en-US" sz="700" spc="-13" dirty="0">
                <a:cs typeface="Arial" panose="020B0604020202020204" pitchFamily="34" charset="0"/>
              </a:rPr>
              <a:t>6</a:t>
            </a:r>
            <a:r>
              <a:rPr lang="ru" sz="700" spc="-13" dirty="0">
                <a:cs typeface="Arial" panose="020B0604020202020204" pitchFamily="34" charset="0"/>
              </a:rPr>
              <a:t>. Rathkopf DE, et al. </a:t>
            </a:r>
            <a:r>
              <a:rPr lang="ru" sz="700" i="1" spc="-13" dirty="0">
                <a:cs typeface="Arial" panose="020B0604020202020204" pitchFamily="34" charset="0"/>
              </a:rPr>
              <a:t>Eur Urol </a:t>
            </a:r>
            <a:r>
              <a:rPr lang="ru" sz="700" spc="-13" dirty="0">
                <a:cs typeface="Arial" panose="020B0604020202020204" pitchFamily="34" charset="0"/>
              </a:rPr>
              <a:t>2014;66:815–25; </a:t>
            </a:r>
            <a:r>
              <a:rPr lang="en-US" sz="700" spc="-13" dirty="0">
                <a:cs typeface="Arial" panose="020B0604020202020204" pitchFamily="34" charset="0"/>
              </a:rPr>
              <a:t>7</a:t>
            </a:r>
            <a:r>
              <a:rPr lang="ru" sz="700" spc="-13" dirty="0">
                <a:cs typeface="Arial" panose="020B0604020202020204" pitchFamily="34" charset="0"/>
              </a:rPr>
              <a:t>. de Bono JS, et al. </a:t>
            </a:r>
            <a:r>
              <a:rPr lang="ru" sz="700" i="1" spc="-13" dirty="0">
                <a:cs typeface="Arial" panose="020B0604020202020204" pitchFamily="34" charset="0"/>
              </a:rPr>
              <a:t>Lancet </a:t>
            </a:r>
            <a:r>
              <a:rPr lang="ru" sz="700" spc="-13" dirty="0">
                <a:cs typeface="Arial" panose="020B0604020202020204" pitchFamily="34" charset="0"/>
              </a:rPr>
              <a:t>2010;376:1147–54; </a:t>
            </a:r>
            <a:r>
              <a:rPr lang="en-US" sz="700" spc="-13" dirty="0">
                <a:cs typeface="Arial" panose="020B0604020202020204" pitchFamily="34" charset="0"/>
              </a:rPr>
              <a:t>8</a:t>
            </a:r>
            <a:r>
              <a:rPr lang="ru" sz="700" spc="-13" dirty="0">
                <a:cs typeface="Arial" panose="020B0604020202020204" pitchFamily="34" charset="0"/>
              </a:rPr>
              <a:t>. Hoskin P, et al. </a:t>
            </a:r>
            <a:r>
              <a:rPr lang="ru" sz="700" i="1" spc="-13" dirty="0">
                <a:cs typeface="Arial" panose="020B0604020202020204" pitchFamily="34" charset="0"/>
              </a:rPr>
              <a:t>Lancet Oncol </a:t>
            </a:r>
            <a:r>
              <a:rPr lang="ru" sz="700" spc="-13" dirty="0">
                <a:cs typeface="Arial" panose="020B0604020202020204" pitchFamily="34" charset="0"/>
              </a:rPr>
              <a:t>2014;15:1397-406.</a:t>
            </a:r>
          </a:p>
        </p:txBody>
      </p:sp>
      <p:graphicFrame>
        <p:nvGraphicFramePr>
          <p:cNvPr id="9" name="Espace réservé du contenu 4">
            <a:extLst>
              <a:ext uri="{FF2B5EF4-FFF2-40B4-BE49-F238E27FC236}">
                <a16:creationId xmlns:a16="http://schemas.microsoft.com/office/drawing/2014/main" id="{12BE5DFB-7418-4ECE-8DD5-DF4C8E413568}"/>
              </a:ext>
            </a:extLst>
          </p:cNvPr>
          <p:cNvGraphicFramePr>
            <a:graphicFrameLocks/>
          </p:cNvGraphicFramePr>
          <p:nvPr>
            <p:extLst>
              <p:ext uri="{D42A27DB-BD31-4B8C-83A1-F6EECF244321}">
                <p14:modId xmlns:p14="http://schemas.microsoft.com/office/powerpoint/2010/main" val="3419877324"/>
              </p:ext>
            </p:extLst>
          </p:nvPr>
        </p:nvGraphicFramePr>
        <p:xfrm>
          <a:off x="246888" y="950777"/>
          <a:ext cx="11551193" cy="5023573"/>
        </p:xfrm>
        <a:graphic>
          <a:graphicData uri="http://schemas.openxmlformats.org/drawingml/2006/table">
            <a:tbl>
              <a:tblPr>
                <a:tableStyleId>{69CF1AB2-1976-4502-BF36-3FF5EA218861}</a:tableStyleId>
              </a:tblPr>
              <a:tblGrid>
                <a:gridCol w="889185">
                  <a:extLst>
                    <a:ext uri="{9D8B030D-6E8A-4147-A177-3AD203B41FA5}">
                      <a16:colId xmlns:a16="http://schemas.microsoft.com/office/drawing/2014/main" val="3754795703"/>
                    </a:ext>
                  </a:extLst>
                </a:gridCol>
                <a:gridCol w="1205345">
                  <a:extLst>
                    <a:ext uri="{9D8B030D-6E8A-4147-A177-3AD203B41FA5}">
                      <a16:colId xmlns:a16="http://schemas.microsoft.com/office/drawing/2014/main" val="20000"/>
                    </a:ext>
                  </a:extLst>
                </a:gridCol>
                <a:gridCol w="501209">
                  <a:extLst>
                    <a:ext uri="{9D8B030D-6E8A-4147-A177-3AD203B41FA5}">
                      <a16:colId xmlns:a16="http://schemas.microsoft.com/office/drawing/2014/main" val="3608829572"/>
                    </a:ext>
                  </a:extLst>
                </a:gridCol>
                <a:gridCol w="1626476">
                  <a:extLst>
                    <a:ext uri="{9D8B030D-6E8A-4147-A177-3AD203B41FA5}">
                      <a16:colId xmlns:a16="http://schemas.microsoft.com/office/drawing/2014/main" val="20001"/>
                    </a:ext>
                  </a:extLst>
                </a:gridCol>
                <a:gridCol w="604786">
                  <a:extLst>
                    <a:ext uri="{9D8B030D-6E8A-4147-A177-3AD203B41FA5}">
                      <a16:colId xmlns:a16="http://schemas.microsoft.com/office/drawing/2014/main" val="20002"/>
                    </a:ext>
                  </a:extLst>
                </a:gridCol>
                <a:gridCol w="2390955">
                  <a:extLst>
                    <a:ext uri="{9D8B030D-6E8A-4147-A177-3AD203B41FA5}">
                      <a16:colId xmlns:a16="http://schemas.microsoft.com/office/drawing/2014/main" val="20003"/>
                    </a:ext>
                  </a:extLst>
                </a:gridCol>
                <a:gridCol w="1448393">
                  <a:extLst>
                    <a:ext uri="{9D8B030D-6E8A-4147-A177-3AD203B41FA5}">
                      <a16:colId xmlns:a16="http://schemas.microsoft.com/office/drawing/2014/main" val="20004"/>
                    </a:ext>
                  </a:extLst>
                </a:gridCol>
                <a:gridCol w="1442422">
                  <a:extLst>
                    <a:ext uri="{9D8B030D-6E8A-4147-A177-3AD203B41FA5}">
                      <a16:colId xmlns:a16="http://schemas.microsoft.com/office/drawing/2014/main" val="266345846"/>
                    </a:ext>
                  </a:extLst>
                </a:gridCol>
                <a:gridCol w="1442422">
                  <a:extLst>
                    <a:ext uri="{9D8B030D-6E8A-4147-A177-3AD203B41FA5}">
                      <a16:colId xmlns:a16="http://schemas.microsoft.com/office/drawing/2014/main" val="20005"/>
                    </a:ext>
                  </a:extLst>
                </a:gridCol>
              </a:tblGrid>
              <a:tr h="348336">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altLang="en-US" sz="1200" b="0" i="0" u="none" strike="noStrike" cap="none" normalizeH="0" baseline="0" noProof="0" dirty="0">
                        <a:ln>
                          <a:noFill/>
                        </a:ln>
                        <a:solidFill>
                          <a:schemeClr val="bg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solidFill>
                      <a:schemeClr val="accent5"/>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ru" sz="1200" b="1" u="none" strike="noStrike" cap="none" normalizeH="0" noProof="0" dirty="0">
                          <a:ln>
                            <a:noFill/>
                          </a:ln>
                          <a:solidFill>
                            <a:schemeClr val="bg1"/>
                          </a:solidFill>
                          <a:effectLst/>
                          <a:latin typeface="+mn-lt"/>
                        </a:rPr>
                        <a:t>Исследование</a:t>
                      </a:r>
                      <a:endParaRPr kumimoji="0" lang="en-GB" altLang="en-US" sz="1200" b="0" i="0" u="none" strike="noStrike" cap="none" normalizeH="0" baseline="0" noProof="0" dirty="0">
                        <a:ln>
                          <a:noFill/>
                        </a:ln>
                        <a:solidFill>
                          <a:schemeClr val="bg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solidFill>
                      <a:schemeClr val="accent5"/>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ru" sz="1200" b="1" u="none" strike="noStrike" cap="none" normalizeH="0" noProof="0" dirty="0">
                          <a:ln>
                            <a:noFill/>
                          </a:ln>
                          <a:solidFill>
                            <a:schemeClr val="bg1"/>
                          </a:solidFill>
                          <a:effectLst/>
                          <a:latin typeface="+mn-lt"/>
                        </a:rPr>
                        <a:t>Фаза</a:t>
                      </a:r>
                      <a:endParaRPr lang="ru" sz="1200" b="1" i="0" u="none" strike="noStrike" cap="none" normalizeH="0" noProof="0" dirty="0">
                        <a:ln>
                          <a:noFill/>
                        </a:ln>
                        <a:solidFill>
                          <a:schemeClr val="bg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solidFill>
                      <a:schemeClr val="accent5"/>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ru" sz="1200" b="1" u="none" strike="noStrike" cap="none" normalizeH="0" noProof="0" dirty="0">
                          <a:ln>
                            <a:noFill/>
                          </a:ln>
                          <a:solidFill>
                            <a:schemeClr val="bg1"/>
                          </a:solidFill>
                          <a:effectLst/>
                          <a:latin typeface="+mn-lt"/>
                        </a:rPr>
                        <a:t>Препараты</a:t>
                      </a:r>
                      <a:endParaRPr kumimoji="0" lang="en-GB" altLang="en-US" sz="1200" b="0" i="0" u="none" strike="noStrike" cap="none" normalizeH="0" baseline="0" noProof="0" dirty="0">
                        <a:ln>
                          <a:noFill/>
                        </a:ln>
                        <a:solidFill>
                          <a:schemeClr val="bg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solidFill>
                      <a:schemeClr val="accent5"/>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ru" sz="1200" b="1" u="none" strike="noStrike" cap="none" normalizeH="0" noProof="0" dirty="0">
                          <a:ln>
                            <a:noFill/>
                          </a:ln>
                          <a:solidFill>
                            <a:schemeClr val="bg1"/>
                          </a:solidFill>
                          <a:effectLst/>
                          <a:latin typeface="+mn-lt"/>
                        </a:rPr>
                        <a:t>N</a:t>
                      </a:r>
                      <a:endParaRPr kumimoji="0" lang="en-GB" altLang="en-US" sz="1200" b="0" i="0" u="none" strike="noStrike" cap="none" normalizeH="0" baseline="0" noProof="0" dirty="0">
                        <a:ln>
                          <a:noFill/>
                        </a:ln>
                        <a:solidFill>
                          <a:schemeClr val="bg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solidFill>
                      <a:schemeClr val="accent5"/>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ru" sz="1200" b="1" u="none" strike="noStrike" cap="none" normalizeH="0" noProof="0" dirty="0">
                          <a:ln>
                            <a:noFill/>
                          </a:ln>
                          <a:solidFill>
                            <a:schemeClr val="bg1"/>
                          </a:solidFill>
                          <a:effectLst/>
                          <a:latin typeface="+mn-lt"/>
                        </a:rPr>
                        <a:t>Дополнительные критерии включения</a:t>
                      </a:r>
                      <a:endParaRPr kumimoji="0" lang="en-GB" altLang="en-US" sz="1200" b="0" i="0" u="none" strike="noStrike" cap="none" normalizeH="0" baseline="0" noProof="0" dirty="0">
                        <a:ln>
                          <a:noFill/>
                        </a:ln>
                        <a:solidFill>
                          <a:schemeClr val="bg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solidFill>
                      <a:schemeClr val="accent5"/>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ru" sz="1200" b="1" u="none" strike="noStrike" cap="none" normalizeH="0" noProof="0">
                          <a:ln>
                            <a:noFill/>
                          </a:ln>
                          <a:solidFill>
                            <a:schemeClr val="bg1"/>
                          </a:solidFill>
                          <a:effectLst/>
                          <a:latin typeface="+mn-lt"/>
                        </a:rPr>
                        <a:t>ОР</a:t>
                      </a:r>
                      <a:endParaRPr lang="ru" sz="1200" b="1" i="0" u="none" strike="noStrike" cap="none" normalizeH="0" noProof="0">
                        <a:ln>
                          <a:noFill/>
                        </a:ln>
                        <a:solidFill>
                          <a:schemeClr val="bg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solidFill>
                      <a:schemeClr val="accent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altLang="en-US" sz="1200" b="1" i="0" u="none" strike="noStrike" cap="none" normalizeH="0" baseline="0" noProof="0" dirty="0">
                          <a:ln>
                            <a:noFill/>
                          </a:ln>
                          <a:solidFill>
                            <a:schemeClr val="bg1"/>
                          </a:solidFill>
                          <a:effectLst/>
                          <a:latin typeface="+mn-lt"/>
                          <a:ea typeface="Verdana" panose="020B0604030504040204" pitchFamily="34" charset="0"/>
                          <a:cs typeface="Arial" panose="020B0604020202020204" pitchFamily="34" charset="0"/>
                        </a:rPr>
                        <a:t>Медиана ОВ в исследуемой группе </a:t>
                      </a:r>
                      <a:r>
                        <a:rPr lang="ru" sz="1200" b="1" u="none" strike="noStrike" cap="none" normalizeH="0" noProof="0" dirty="0">
                          <a:ln>
                            <a:noFill/>
                          </a:ln>
                          <a:solidFill>
                            <a:schemeClr val="bg1"/>
                          </a:solidFill>
                          <a:effectLst/>
                          <a:latin typeface="+mn-lt"/>
                        </a:rPr>
                        <a:t>(мес.)</a:t>
                      </a:r>
                      <a:endParaRPr kumimoji="0" lang="en-GB" altLang="en-US" sz="1200" b="1" i="0" u="none" strike="noStrike" cap="none" normalizeH="0" baseline="0" noProof="0" dirty="0">
                        <a:ln>
                          <a:noFill/>
                        </a:ln>
                        <a:solidFill>
                          <a:schemeClr val="bg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solidFill>
                      <a:schemeClr val="accent5"/>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ru" sz="1200" b="1" u="none" strike="noStrike" cap="none" normalizeH="0" noProof="0" dirty="0">
                          <a:ln>
                            <a:noFill/>
                          </a:ln>
                          <a:solidFill>
                            <a:schemeClr val="bg1"/>
                          </a:solidFill>
                          <a:effectLst/>
                          <a:latin typeface="+mn-lt"/>
                        </a:rPr>
                        <a:t>∆ОВ (мес.)</a:t>
                      </a:r>
                      <a:endParaRPr kumimoji="0" lang="en-GB" altLang="en-US" sz="1200" b="0" i="0" u="none" strike="noStrike" cap="none" normalizeH="0" baseline="0" noProof="0" dirty="0">
                        <a:ln>
                          <a:noFill/>
                        </a:ln>
                        <a:solidFill>
                          <a:schemeClr val="bg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solidFill>
                      <a:schemeClr val="accent5"/>
                    </a:solidFill>
                  </a:tcPr>
                </a:tc>
                <a:extLst>
                  <a:ext uri="{0D108BD9-81ED-4DB2-BD59-A6C34878D82A}">
                    <a16:rowId xmlns:a16="http://schemas.microsoft.com/office/drawing/2014/main" val="10000"/>
                  </a:ext>
                </a:extLst>
              </a:tr>
              <a:tr h="573223">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lang="ru" sz="900" b="0" u="none" strike="noStrike" cap="none" normalizeH="0" noProof="0" dirty="0">
                          <a:ln>
                            <a:noFill/>
                          </a:ln>
                          <a:solidFill>
                            <a:schemeClr val="tx1"/>
                          </a:solidFill>
                          <a:effectLst/>
                          <a:latin typeface="+mn-lt"/>
                        </a:rPr>
                        <a:t>+ </a:t>
                      </a:r>
                      <a:r>
                        <a:rPr lang="ru-RU" sz="900" b="0" u="none" strike="noStrike" cap="none" normalizeH="0" noProof="0" dirty="0">
                          <a:ln>
                            <a:noFill/>
                          </a:ln>
                          <a:solidFill>
                            <a:schemeClr val="tx1"/>
                          </a:solidFill>
                          <a:effectLst/>
                          <a:latin typeface="+mn-lt"/>
                        </a:rPr>
                        <a:t>д</a:t>
                      </a:r>
                      <a:r>
                        <a:rPr lang="ru" sz="900" b="0" u="none" strike="noStrike" cap="none" normalizeH="0" noProof="0" dirty="0">
                          <a:ln>
                            <a:noFill/>
                          </a:ln>
                          <a:solidFill>
                            <a:schemeClr val="tx1"/>
                          </a:solidFill>
                          <a:effectLst/>
                          <a:latin typeface="+mn-lt"/>
                        </a:rPr>
                        <a:t>оцетаксел</a:t>
                      </a:r>
                      <a:endParaRPr lang="ru" sz="9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900" b="1" u="none" strike="noStrike" cap="none" normalizeH="0" noProof="0" dirty="0">
                          <a:ln>
                            <a:noFill/>
                          </a:ln>
                          <a:solidFill>
                            <a:schemeClr val="tx1"/>
                          </a:solidFill>
                          <a:effectLst/>
                          <a:latin typeface="+mn-lt"/>
                        </a:rPr>
                        <a:t>TAX-327</a:t>
                      </a:r>
                      <a:r>
                        <a:rPr lang="ru" sz="900" b="1" u="none" strike="noStrike" cap="none" normalizeH="0" baseline="30000" noProof="0" dirty="0">
                          <a:ln>
                            <a:noFill/>
                          </a:ln>
                          <a:solidFill>
                            <a:schemeClr val="tx1"/>
                          </a:solidFill>
                          <a:effectLst/>
                          <a:latin typeface="+mn-lt"/>
                        </a:rPr>
                        <a:t>1</a:t>
                      </a:r>
                      <a:endParaRPr kumimoji="0" lang="en-GB" altLang="en-US" sz="900" b="1" i="0" u="none" strike="noStrike" cap="none" normalizeH="0" baseline="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900" b="0" u="none" strike="noStrike" cap="none" normalizeH="0" noProof="0">
                          <a:ln>
                            <a:noFill/>
                          </a:ln>
                          <a:solidFill>
                            <a:schemeClr val="tx1"/>
                          </a:solidFill>
                          <a:effectLst/>
                          <a:latin typeface="+mn-lt"/>
                        </a:rPr>
                        <a:t>III</a:t>
                      </a:r>
                      <a:endParaRPr lang="ru" sz="900" b="0" i="0" u="none" strike="noStrike" cap="none" normalizeH="0" noProof="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900" b="0" u="none" strike="noStrike" cap="none" normalizeH="0" noProof="0" dirty="0">
                          <a:ln>
                            <a:noFill/>
                          </a:ln>
                          <a:solidFill>
                            <a:schemeClr val="tx1"/>
                          </a:solidFill>
                          <a:effectLst/>
                          <a:latin typeface="+mn-lt"/>
                        </a:rPr>
                        <a:t>Доцетаксел/преднизолон по сравнению с митоксантрон/преднизолон</a:t>
                      </a:r>
                      <a:endParaRPr lang="ru" sz="9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1200" b="0" u="none" strike="noStrike" cap="none" normalizeH="0" noProof="0" dirty="0">
                          <a:ln>
                            <a:noFill/>
                          </a:ln>
                          <a:solidFill>
                            <a:schemeClr val="tx1"/>
                          </a:solidFill>
                          <a:effectLst/>
                          <a:latin typeface="+mn-lt"/>
                        </a:rPr>
                        <a:t>1006</a:t>
                      </a:r>
                      <a:endParaRPr lang="ru" sz="12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l" defTabSz="914400" rtl="0" eaLnBrk="1" fontAlgn="ctr" latinLnBrk="0" hangingPunct="1">
                        <a:lnSpc>
                          <a:spcPct val="100000"/>
                        </a:lnSpc>
                        <a:spcBef>
                          <a:spcPct val="0"/>
                        </a:spcBef>
                        <a:spcAft>
                          <a:spcPct val="0"/>
                        </a:spcAft>
                        <a:buClrTx/>
                        <a:buSzTx/>
                        <a:buFont typeface="Arial" panose="020B0604020202020204" pitchFamily="34" charset="0"/>
                        <a:buNone/>
                        <a:tabLst/>
                      </a:pPr>
                      <a:r>
                        <a:rPr lang="ru" sz="900" b="0" u="none" strike="noStrike" cap="none" normalizeH="0" noProof="0" dirty="0">
                          <a:ln>
                            <a:noFill/>
                          </a:ln>
                          <a:solidFill>
                            <a:schemeClr val="tx1"/>
                          </a:solidFill>
                          <a:effectLst/>
                          <a:latin typeface="+mn-lt"/>
                        </a:rPr>
                        <a:t>Сопровождается симптомами или нет</a:t>
                      </a:r>
                      <a:endParaRPr lang="ru" sz="9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1200" b="1" u="none" strike="noStrike" cap="none" normalizeH="0" noProof="0" dirty="0">
                          <a:ln>
                            <a:noFill/>
                          </a:ln>
                          <a:solidFill>
                            <a:schemeClr val="accent1"/>
                          </a:solidFill>
                          <a:effectLst/>
                          <a:latin typeface="+mn-lt"/>
                        </a:rPr>
                        <a:t>0,76</a:t>
                      </a:r>
                      <a:endParaRPr lang="ru" sz="1200" b="1" i="0" u="none" strike="noStrike" cap="none" normalizeH="0" noProof="0" dirty="0">
                        <a:ln>
                          <a:noFill/>
                        </a:ln>
                        <a:solidFill>
                          <a:schemeClr val="accent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lang="ru" sz="1200" b="1" i="0" u="none" strike="noStrike" cap="none" normalizeH="0" noProof="0" dirty="0">
                          <a:ln>
                            <a:noFill/>
                          </a:ln>
                          <a:solidFill>
                            <a:schemeClr val="accent1"/>
                          </a:solidFill>
                          <a:effectLst/>
                          <a:latin typeface="+mn-lt"/>
                          <a:ea typeface="Verdana" panose="020B0604030504040204" pitchFamily="34" charset="0"/>
                          <a:cs typeface="Arial" panose="020B0604020202020204" pitchFamily="34" charset="0"/>
                        </a:rPr>
                        <a:t>18</a:t>
                      </a:r>
                      <a:r>
                        <a:rPr lang="en-US" sz="1200" b="1" i="0" u="none" strike="noStrike" cap="none" normalizeH="0" noProof="0" dirty="0">
                          <a:ln>
                            <a:noFill/>
                          </a:ln>
                          <a:solidFill>
                            <a:schemeClr val="accent1"/>
                          </a:solidFill>
                          <a:effectLst/>
                          <a:latin typeface="+mn-lt"/>
                          <a:ea typeface="Verdana" panose="020B0604030504040204" pitchFamily="34" charset="0"/>
                          <a:cs typeface="Arial" panose="020B0604020202020204" pitchFamily="34" charset="0"/>
                        </a:rPr>
                        <a:t>,</a:t>
                      </a:r>
                      <a:r>
                        <a:rPr lang="ru" sz="1200" b="1" i="0" u="none" strike="noStrike" cap="none" normalizeH="0" noProof="0" dirty="0">
                          <a:ln>
                            <a:noFill/>
                          </a:ln>
                          <a:solidFill>
                            <a:schemeClr val="accent1"/>
                          </a:solidFill>
                          <a:effectLst/>
                          <a:latin typeface="+mn-lt"/>
                          <a:ea typeface="Verdana" panose="020B0604030504040204" pitchFamily="34" charset="0"/>
                          <a:cs typeface="Arial" panose="020B0604020202020204" pitchFamily="34" charset="0"/>
                        </a:rPr>
                        <a:t>9</a:t>
                      </a: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1200" b="1" u="none" strike="noStrike" cap="none" normalizeH="0" noProof="0" dirty="0">
                          <a:ln>
                            <a:noFill/>
                          </a:ln>
                          <a:solidFill>
                            <a:schemeClr val="accent1"/>
                          </a:solidFill>
                          <a:effectLst/>
                          <a:latin typeface="+mn-lt"/>
                        </a:rPr>
                        <a:t>+2,4 </a:t>
                      </a:r>
                      <a:endParaRPr lang="ru" sz="1200" b="1" i="0" u="none" strike="noStrike" cap="none" normalizeH="0" noProof="0" dirty="0">
                        <a:ln>
                          <a:noFill/>
                        </a:ln>
                        <a:solidFill>
                          <a:schemeClr val="accent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extLst>
                  <a:ext uri="{0D108BD9-81ED-4DB2-BD59-A6C34878D82A}">
                    <a16:rowId xmlns:a16="http://schemas.microsoft.com/office/drawing/2014/main" val="10001"/>
                  </a:ext>
                </a:extLst>
              </a:tr>
              <a:tr h="438912">
                <a:tc rowSpan="2">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ru" sz="900" kern="1200" noProof="0" dirty="0">
                          <a:solidFill>
                            <a:schemeClr val="tx1"/>
                          </a:solidFill>
                          <a:latin typeface="+mn-lt"/>
                        </a:rPr>
                        <a:t>До применения доцетаксела</a:t>
                      </a:r>
                      <a:endParaRPr lang="ru" sz="900" kern="1200" noProof="0" dirty="0">
                        <a:solidFill>
                          <a:schemeClr val="tx1"/>
                        </a:solidFill>
                        <a:latin typeface="+mn-lt"/>
                        <a:ea typeface="+mn-ea"/>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900" b="1" u="none" strike="noStrike" cap="none" normalizeH="0" noProof="0" dirty="0">
                          <a:ln>
                            <a:noFill/>
                          </a:ln>
                          <a:solidFill>
                            <a:schemeClr val="tx1"/>
                          </a:solidFill>
                          <a:effectLst/>
                          <a:latin typeface="+mn-lt"/>
                        </a:rPr>
                        <a:t>COU-AA-302</a:t>
                      </a:r>
                      <a:r>
                        <a:rPr lang="ru" sz="900" b="1" u="none" strike="noStrike" cap="none" normalizeH="0" baseline="30000" noProof="0" dirty="0">
                          <a:ln>
                            <a:noFill/>
                          </a:ln>
                          <a:solidFill>
                            <a:schemeClr val="tx1"/>
                          </a:solidFill>
                          <a:effectLst/>
                          <a:latin typeface="+mn-lt"/>
                        </a:rPr>
                        <a:t>2</a:t>
                      </a:r>
                      <a:endParaRPr lang="ru" sz="900" b="1" i="0" u="none" strike="noStrike" cap="none" normalizeH="0" baseline="3000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900" b="0" u="none" strike="noStrike" cap="none" normalizeH="0" noProof="0" dirty="0">
                          <a:ln>
                            <a:noFill/>
                          </a:ln>
                          <a:solidFill>
                            <a:schemeClr val="tx1"/>
                          </a:solidFill>
                          <a:effectLst/>
                          <a:latin typeface="+mn-lt"/>
                        </a:rPr>
                        <a:t>III</a:t>
                      </a:r>
                      <a:endParaRPr lang="ru" sz="9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900" b="0" u="none" strike="noStrike" cap="none" normalizeH="0" noProof="0" dirty="0">
                          <a:ln>
                            <a:noFill/>
                          </a:ln>
                          <a:solidFill>
                            <a:schemeClr val="tx1"/>
                          </a:solidFill>
                          <a:effectLst/>
                          <a:latin typeface="+mn-lt"/>
                        </a:rPr>
                        <a:t>Абиратерон/преднизолон по сравнению с преднизолоном</a:t>
                      </a:r>
                      <a:endParaRPr lang="ru" sz="9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1200" b="0" u="none" strike="noStrike" cap="none" normalizeH="0" noProof="0" dirty="0">
                          <a:ln>
                            <a:noFill/>
                          </a:ln>
                          <a:solidFill>
                            <a:schemeClr val="tx1"/>
                          </a:solidFill>
                          <a:effectLst/>
                          <a:latin typeface="+mn-lt"/>
                        </a:rPr>
                        <a:t>1088</a:t>
                      </a:r>
                      <a:endParaRPr lang="ru" sz="12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l" defTabSz="914400" rtl="0" eaLnBrk="1" fontAlgn="ctr" latinLnBrk="0" hangingPunct="1">
                        <a:lnSpc>
                          <a:spcPct val="100000"/>
                        </a:lnSpc>
                        <a:spcBef>
                          <a:spcPct val="0"/>
                        </a:spcBef>
                        <a:spcAft>
                          <a:spcPct val="0"/>
                        </a:spcAft>
                        <a:buClrTx/>
                        <a:buSzTx/>
                        <a:buFont typeface="Arial" panose="020B0604020202020204" pitchFamily="34" charset="0"/>
                        <a:buNone/>
                        <a:tabLst/>
                      </a:pPr>
                      <a:r>
                        <a:rPr lang="ru" sz="900" b="0" u="none" strike="noStrike" cap="none" normalizeH="0" noProof="0" dirty="0">
                          <a:ln>
                            <a:noFill/>
                          </a:ln>
                          <a:solidFill>
                            <a:schemeClr val="tx1"/>
                          </a:solidFill>
                          <a:effectLst/>
                          <a:latin typeface="+mn-lt"/>
                        </a:rPr>
                        <a:t>Симптомы легкой степени или отсутствуют</a:t>
                      </a:r>
                      <a:br>
                        <a:rPr kumimoji="0" lang="en-GB" altLang="en-US" sz="900" b="0" u="none" strike="noStrike" cap="none" normalizeH="0" baseline="0" noProof="0" dirty="0">
                          <a:ln>
                            <a:noFill/>
                          </a:ln>
                          <a:solidFill>
                            <a:schemeClr val="tx1"/>
                          </a:solidFill>
                          <a:effectLst/>
                          <a:latin typeface="+mn-lt"/>
                        </a:rPr>
                      </a:br>
                      <a:r>
                        <a:rPr lang="ru" sz="900" b="0" u="none" strike="noStrike" cap="none" normalizeH="0" noProof="0" dirty="0">
                          <a:ln>
                            <a:noFill/>
                          </a:ln>
                          <a:solidFill>
                            <a:schemeClr val="tx1"/>
                          </a:solidFill>
                          <a:effectLst/>
                          <a:latin typeface="+mn-lt"/>
                        </a:rPr>
                        <a:t>Без висцеральных метастазов</a:t>
                      </a:r>
                      <a:endParaRPr lang="ru" sz="9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1200" b="1" u="none" strike="noStrike" cap="none" normalizeH="0" noProof="0" dirty="0">
                          <a:ln>
                            <a:noFill/>
                          </a:ln>
                          <a:solidFill>
                            <a:srgbClr val="000000"/>
                          </a:solidFill>
                          <a:effectLst/>
                          <a:latin typeface="+mn-lt"/>
                        </a:rPr>
                        <a:t>0,81</a:t>
                      </a:r>
                      <a:endPar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rPr>
                        <a:t>34</a:t>
                      </a:r>
                      <a:r>
                        <a:rPr lang="en-US"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rPr>
                        <a:t>,</a:t>
                      </a:r>
                      <a:r>
                        <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rPr>
                        <a:t>7</a:t>
                      </a:r>
                    </a:p>
                  </a:txBody>
                  <a:tcPr marL="36000" marR="36000" marT="60960" marB="60960" anchor="ctr" horzOverflow="overflow">
                    <a:solidFill>
                      <a:schemeClr val="accent3">
                        <a:lumMod val="20000"/>
                        <a:lumOff val="80000"/>
                      </a:schemeClr>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1200" b="1" u="none" strike="noStrike" cap="none" normalizeH="0" noProof="0" dirty="0">
                          <a:ln>
                            <a:noFill/>
                          </a:ln>
                          <a:solidFill>
                            <a:srgbClr val="000000"/>
                          </a:solidFill>
                          <a:effectLst/>
                          <a:latin typeface="+mn-lt"/>
                        </a:rPr>
                        <a:t>+4,4</a:t>
                      </a:r>
                      <a:endPar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extLst>
                  <a:ext uri="{0D108BD9-81ED-4DB2-BD59-A6C34878D82A}">
                    <a16:rowId xmlns:a16="http://schemas.microsoft.com/office/drawing/2014/main" val="10002"/>
                  </a:ext>
                </a:extLst>
              </a:tr>
              <a:tr h="426178">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GB" altLang="en-US" sz="1200" b="0" i="0" u="none" strike="noStrike" cap="none" normalizeH="0" baseline="0" noProof="0">
                        <a:ln>
                          <a:noFill/>
                        </a:ln>
                        <a:solidFill>
                          <a:schemeClr val="tx1"/>
                        </a:solidFill>
                        <a:effectLst/>
                        <a:latin typeface="+mj-lt"/>
                        <a:ea typeface="Verdana" panose="020B0604030504040204" pitchFamily="34" charset="0"/>
                        <a:cs typeface="Verdana" panose="020B060403050404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2F2F2"/>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900" b="1" u="none" strike="noStrike" cap="none" normalizeH="0" noProof="0" dirty="0">
                          <a:ln>
                            <a:noFill/>
                          </a:ln>
                          <a:solidFill>
                            <a:schemeClr val="tx1"/>
                          </a:solidFill>
                          <a:effectLst/>
                          <a:latin typeface="+mn-lt"/>
                        </a:rPr>
                        <a:t>PREVAIL</a:t>
                      </a:r>
                      <a:r>
                        <a:rPr lang="ru" sz="900" b="1" u="none" strike="noStrike" cap="none" normalizeH="0" baseline="30000" noProof="0" dirty="0">
                          <a:ln>
                            <a:noFill/>
                          </a:ln>
                          <a:solidFill>
                            <a:schemeClr val="tx1"/>
                          </a:solidFill>
                          <a:effectLst/>
                          <a:latin typeface="+mn-lt"/>
                        </a:rPr>
                        <a:t>3</a:t>
                      </a:r>
                      <a:endParaRPr kumimoji="0" lang="en-GB" altLang="en-US" sz="900" b="1" i="0" u="none" strike="noStrike" cap="none" normalizeH="0" baseline="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900" b="0" u="none" strike="noStrike" cap="none" normalizeH="0" noProof="0" dirty="0">
                          <a:ln>
                            <a:noFill/>
                          </a:ln>
                          <a:solidFill>
                            <a:schemeClr val="tx1"/>
                          </a:solidFill>
                          <a:effectLst/>
                          <a:latin typeface="+mn-lt"/>
                        </a:rPr>
                        <a:t>III</a:t>
                      </a:r>
                      <a:endParaRPr lang="ru" sz="9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900" b="0" u="none" strike="noStrike" cap="none" normalizeH="0" noProof="0" dirty="0">
                          <a:ln>
                            <a:noFill/>
                          </a:ln>
                          <a:solidFill>
                            <a:schemeClr val="tx1"/>
                          </a:solidFill>
                          <a:effectLst/>
                          <a:latin typeface="+mn-lt"/>
                        </a:rPr>
                        <a:t>Энзалутамид по сравнению с плацебо</a:t>
                      </a:r>
                      <a:endParaRPr kumimoji="0" lang="en-GB" altLang="en-US" sz="900" b="0" i="0" u="none" strike="noStrike" cap="none" normalizeH="0" baseline="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1200" b="0" u="none" strike="noStrike" cap="none" normalizeH="0" noProof="0" dirty="0">
                          <a:ln>
                            <a:noFill/>
                          </a:ln>
                          <a:solidFill>
                            <a:schemeClr val="tx1"/>
                          </a:solidFill>
                          <a:effectLst/>
                          <a:latin typeface="+mn-lt"/>
                        </a:rPr>
                        <a:t>1717</a:t>
                      </a:r>
                      <a:endParaRPr lang="ru" sz="12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l" defTabSz="914400" rtl="0" eaLnBrk="1" fontAlgn="ctr" latinLnBrk="0" hangingPunct="1">
                        <a:lnSpc>
                          <a:spcPct val="100000"/>
                        </a:lnSpc>
                        <a:spcBef>
                          <a:spcPct val="0"/>
                        </a:spcBef>
                        <a:spcAft>
                          <a:spcPct val="0"/>
                        </a:spcAft>
                        <a:buClrTx/>
                        <a:buSzTx/>
                        <a:buFont typeface="Arial" panose="020B0604020202020204" pitchFamily="34" charset="0"/>
                        <a:buNone/>
                        <a:tabLst/>
                      </a:pPr>
                      <a:r>
                        <a:rPr lang="ru-RU" sz="900" b="0" u="none" strike="noStrike" cap="none" normalizeH="0" noProof="0" dirty="0">
                          <a:ln>
                            <a:noFill/>
                          </a:ln>
                          <a:solidFill>
                            <a:schemeClr val="tx1"/>
                          </a:solidFill>
                          <a:effectLst/>
                          <a:latin typeface="+mn-lt"/>
                        </a:rPr>
                        <a:t>Симптомы легкой степени или отсутствуют</a:t>
                      </a:r>
                      <a:endParaRPr lang="ru" sz="9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1200" b="1" u="none" strike="noStrike" cap="none" normalizeH="0" noProof="0" dirty="0">
                          <a:ln>
                            <a:noFill/>
                          </a:ln>
                          <a:solidFill>
                            <a:srgbClr val="000000"/>
                          </a:solidFill>
                          <a:effectLst/>
                          <a:latin typeface="+mn-lt"/>
                        </a:rPr>
                        <a:t>0,77</a:t>
                      </a:r>
                      <a:endPar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rPr>
                        <a:t>35</a:t>
                      </a:r>
                      <a:r>
                        <a:rPr lang="en-US"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rPr>
                        <a:t>,</a:t>
                      </a:r>
                      <a:r>
                        <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rPr>
                        <a:t>3</a:t>
                      </a:r>
                    </a:p>
                  </a:txBody>
                  <a:tcPr marL="36000" marR="36000" marT="60960" marB="60960" anchor="ctr" horzOverflow="overflow">
                    <a:solidFill>
                      <a:schemeClr val="accent3">
                        <a:lumMod val="20000"/>
                        <a:lumOff val="80000"/>
                      </a:schemeClr>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1200" b="1" u="none" strike="noStrike" cap="none" normalizeH="0" noProof="0" dirty="0">
                          <a:ln>
                            <a:noFill/>
                          </a:ln>
                          <a:solidFill>
                            <a:srgbClr val="000000"/>
                          </a:solidFill>
                          <a:effectLst/>
                          <a:latin typeface="+mn-lt"/>
                        </a:rPr>
                        <a:t>+4,0</a:t>
                      </a:r>
                      <a:endPar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extLst>
                  <a:ext uri="{0D108BD9-81ED-4DB2-BD59-A6C34878D82A}">
                    <a16:rowId xmlns:a16="http://schemas.microsoft.com/office/drawing/2014/main" val="10004"/>
                  </a:ext>
                </a:extLst>
              </a:tr>
              <a:tr h="62700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1" fontAlgn="t" latinLnBrk="0" hangingPunct="1">
                        <a:lnSpc>
                          <a:spcPct val="100000"/>
                        </a:lnSpc>
                        <a:spcBef>
                          <a:spcPct val="0"/>
                        </a:spcBef>
                        <a:spcAft>
                          <a:spcPct val="0"/>
                        </a:spcAft>
                        <a:buClrTx/>
                        <a:buSzTx/>
                        <a:buFontTx/>
                        <a:buNone/>
                        <a:tabLst/>
                        <a:defRPr/>
                      </a:pPr>
                      <a:r>
                        <a:rPr lang="ru" sz="900" kern="1200" noProof="0" dirty="0">
                          <a:solidFill>
                            <a:schemeClr val="tx1"/>
                          </a:solidFill>
                          <a:latin typeface="+mn-lt"/>
                        </a:rPr>
                        <a:t>До или после применения доцетаксела</a:t>
                      </a:r>
                      <a:endParaRPr lang="ru" sz="900" kern="1200" noProof="0" dirty="0">
                        <a:solidFill>
                          <a:schemeClr val="tx1"/>
                        </a:solidFill>
                        <a:latin typeface="+mn-lt"/>
                        <a:ea typeface="+mn-ea"/>
                        <a:cs typeface="Arial" panose="020B0604020202020204" pitchFamily="34" charset="0"/>
                      </a:endParaRPr>
                    </a:p>
                  </a:txBody>
                  <a:tcPr marL="36000" marR="36000" marT="60960" marB="60960" anchor="ctr" horzOverflow="overflow">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900" b="1" u="none" strike="noStrike" cap="none" normalizeH="0" noProof="0">
                          <a:ln>
                            <a:noFill/>
                          </a:ln>
                          <a:solidFill>
                            <a:schemeClr val="tx1"/>
                          </a:solidFill>
                          <a:effectLst/>
                          <a:latin typeface="+mn-lt"/>
                        </a:rPr>
                        <a:t>PROfound</a:t>
                      </a:r>
                      <a:r>
                        <a:rPr lang="ru" sz="900" b="1" u="none" strike="noStrike" cap="none" normalizeH="0" baseline="30000" noProof="0">
                          <a:ln>
                            <a:noFill/>
                          </a:ln>
                          <a:solidFill>
                            <a:schemeClr val="tx1"/>
                          </a:solidFill>
                          <a:effectLst/>
                          <a:latin typeface="+mn-lt"/>
                        </a:rPr>
                        <a:t>4</a:t>
                      </a:r>
                      <a:endParaRPr kumimoji="0" lang="en-GB" altLang="en-US" sz="900" b="1" i="0" u="none" strike="noStrike" cap="none" normalizeH="0" baseline="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900" b="0" u="none" strike="noStrike" cap="none" normalizeH="0" noProof="0" dirty="0">
                          <a:ln>
                            <a:noFill/>
                          </a:ln>
                          <a:solidFill>
                            <a:schemeClr val="tx1"/>
                          </a:solidFill>
                          <a:effectLst/>
                          <a:latin typeface="+mn-lt"/>
                        </a:rPr>
                        <a:t>III</a:t>
                      </a:r>
                      <a:endParaRPr lang="ru" sz="9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900" b="0" u="none" strike="noStrike" cap="none" normalizeH="0" noProof="0" dirty="0">
                          <a:ln>
                            <a:noFill/>
                          </a:ln>
                          <a:solidFill>
                            <a:schemeClr val="tx1"/>
                          </a:solidFill>
                          <a:effectLst/>
                          <a:latin typeface="+mn-lt"/>
                        </a:rPr>
                        <a:t>Олапариб по сравнению с НГП по выбору врача</a:t>
                      </a:r>
                      <a:endParaRPr kumimoji="0" lang="en-GB" altLang="en-US" sz="900" b="0" i="0" u="none" strike="noStrike" cap="none" normalizeH="0" baseline="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1200" b="0" u="none" strike="noStrike" cap="none" normalizeH="0" noProof="0" dirty="0">
                          <a:ln>
                            <a:noFill/>
                          </a:ln>
                          <a:solidFill>
                            <a:schemeClr val="tx1"/>
                          </a:solidFill>
                          <a:effectLst/>
                          <a:latin typeface="+mn-lt"/>
                        </a:rPr>
                        <a:t>387</a:t>
                      </a:r>
                      <a:endParaRPr lang="ru" sz="12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1" fontAlgn="ctr" latinLnBrk="0" hangingPunct="1">
                        <a:lnSpc>
                          <a:spcPct val="100000"/>
                        </a:lnSpc>
                        <a:spcBef>
                          <a:spcPct val="0"/>
                        </a:spcBef>
                        <a:spcAft>
                          <a:spcPct val="0"/>
                        </a:spcAft>
                        <a:buClrTx/>
                        <a:buSzTx/>
                        <a:buFont typeface="Arial" panose="020B0604020202020204" pitchFamily="34" charset="0"/>
                        <a:buNone/>
                        <a:tabLst/>
                      </a:pPr>
                      <a:r>
                        <a:rPr lang="ru" sz="900" b="0" u="none" strike="noStrike" cap="none" normalizeH="0" noProof="0" dirty="0">
                          <a:ln>
                            <a:noFill/>
                          </a:ln>
                          <a:solidFill>
                            <a:schemeClr val="tx1"/>
                          </a:solidFill>
                          <a:effectLst/>
                          <a:latin typeface="+mn-lt"/>
                        </a:rPr>
                        <a:t>Первичная конечная точка BRCAm/ATMm (когорта A)*</a:t>
                      </a:r>
                    </a:p>
                    <a:p>
                      <a:pPr marL="0" marR="0" lvl="0" indent="0" algn="l" defTabSz="914400" rtl="0" eaLnBrk="1" fontAlgn="ctr" latinLnBrk="0" hangingPunct="1">
                        <a:lnSpc>
                          <a:spcPct val="100000"/>
                        </a:lnSpc>
                        <a:spcBef>
                          <a:spcPct val="0"/>
                        </a:spcBef>
                        <a:spcAft>
                          <a:spcPct val="0"/>
                        </a:spcAft>
                        <a:buClrTx/>
                        <a:buSzTx/>
                        <a:buFont typeface="Arial" panose="020B0604020202020204" pitchFamily="34" charset="0"/>
                        <a:buNone/>
                        <a:tabLst/>
                      </a:pPr>
                      <a:r>
                        <a:rPr lang="ru" sz="900" b="0" u="none" strike="noStrike" cap="none" normalizeH="0" noProof="0" dirty="0">
                          <a:ln>
                            <a:noFill/>
                          </a:ln>
                          <a:solidFill>
                            <a:schemeClr val="tx1"/>
                          </a:solidFill>
                          <a:effectLst/>
                          <a:latin typeface="+mn-lt"/>
                        </a:rPr>
                        <a:t>Прогрессирование на фоне предшествующей терапии одним НГП по поводу мРПЖ и/или КРРПЖ</a:t>
                      </a:r>
                      <a:endParaRPr lang="ru" sz="9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l" defTabSz="914400" rtl="0" eaLnBrk="1" fontAlgn="t" latinLnBrk="0" hangingPunct="1">
                        <a:lnSpc>
                          <a:spcPct val="100000"/>
                        </a:lnSpc>
                        <a:spcBef>
                          <a:spcPct val="0"/>
                        </a:spcBef>
                        <a:spcAft>
                          <a:spcPct val="0"/>
                        </a:spcAft>
                        <a:buClrTx/>
                        <a:buSzTx/>
                        <a:buFontTx/>
                        <a:buNone/>
                        <a:tabLst/>
                      </a:pPr>
                      <a:r>
                        <a:rPr lang="ru" sz="1200" b="1" u="none" strike="noStrike" kern="1200" cap="none" normalizeH="0" noProof="0" dirty="0">
                          <a:ln>
                            <a:noFill/>
                          </a:ln>
                          <a:solidFill>
                            <a:srgbClr val="000000"/>
                          </a:solidFill>
                          <a:effectLst/>
                          <a:latin typeface="+mn-lt"/>
                          <a:ea typeface="MS PGothic" panose="020B0600070205080204" pitchFamily="34" charset="-128"/>
                          <a:cs typeface="Arial"/>
                        </a:rPr>
                        <a:t>Когорта А*: </a:t>
                      </a:r>
                      <a:r>
                        <a:rPr lang="ru" sz="1200" b="1" u="none" strike="noStrike" cap="none" normalizeH="0" noProof="0" dirty="0">
                          <a:ln>
                            <a:noFill/>
                          </a:ln>
                          <a:solidFill>
                            <a:srgbClr val="000000"/>
                          </a:solidFill>
                          <a:effectLst/>
                          <a:latin typeface="+mn-lt"/>
                        </a:rPr>
                        <a:t>0,69</a:t>
                      </a:r>
                    </a:p>
                    <a:p>
                      <a:pPr marL="0" marR="0" lvl="0" indent="0" algn="l" defTabSz="914400" rtl="0" eaLnBrk="1" fontAlgn="t" latinLnBrk="0" hangingPunct="1">
                        <a:lnSpc>
                          <a:spcPct val="100000"/>
                        </a:lnSpc>
                        <a:spcBef>
                          <a:spcPct val="0"/>
                        </a:spcBef>
                        <a:spcAft>
                          <a:spcPct val="0"/>
                        </a:spcAft>
                        <a:buClrTx/>
                        <a:buSzTx/>
                        <a:buFontTx/>
                        <a:buNone/>
                        <a:tabLst/>
                      </a:pPr>
                      <a:r>
                        <a:rPr lang="ru" sz="1200" b="1" u="none" strike="noStrike" kern="1200" cap="none" normalizeH="0" noProof="0" dirty="0">
                          <a:ln>
                            <a:noFill/>
                          </a:ln>
                          <a:solidFill>
                            <a:srgbClr val="000000"/>
                          </a:solidFill>
                          <a:effectLst/>
                          <a:latin typeface="+mn-lt"/>
                          <a:ea typeface="MS PGothic" panose="020B0600070205080204" pitchFamily="34" charset="-128"/>
                          <a:cs typeface="Arial"/>
                        </a:rPr>
                        <a:t>Когорта A+В*:</a:t>
                      </a:r>
                      <a:r>
                        <a:rPr lang="ru" sz="900" b="1" u="none" strike="noStrike" cap="none" normalizeH="0" noProof="0" dirty="0">
                          <a:ln>
                            <a:noFill/>
                          </a:ln>
                          <a:solidFill>
                            <a:srgbClr val="000000"/>
                          </a:solidFill>
                          <a:effectLst/>
                          <a:latin typeface="+mn-lt"/>
                        </a:rPr>
                        <a:t> </a:t>
                      </a:r>
                      <a:r>
                        <a:rPr lang="ru" sz="1200" b="1" u="none" strike="noStrike" cap="none" normalizeH="0" noProof="0" dirty="0">
                          <a:ln>
                            <a:noFill/>
                          </a:ln>
                          <a:solidFill>
                            <a:srgbClr val="000000"/>
                          </a:solidFill>
                          <a:effectLst/>
                          <a:latin typeface="+mn-lt"/>
                        </a:rPr>
                        <a:t>0,79</a:t>
                      </a:r>
                      <a:endPar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solidFill>
                      <a:schemeClr val="accent1">
                        <a:lumMod val="20000"/>
                        <a:lumOff val="80000"/>
                      </a:schemeClr>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lang="ru-RU" sz="1200" b="1" u="none" strike="noStrike" kern="1200" cap="none" normalizeH="0" noProof="0" dirty="0">
                          <a:ln>
                            <a:noFill/>
                          </a:ln>
                          <a:solidFill>
                            <a:srgbClr val="000000"/>
                          </a:solidFill>
                          <a:effectLst/>
                          <a:latin typeface="+mn-lt"/>
                          <a:ea typeface="MS PGothic" panose="020B0600070205080204" pitchFamily="34" charset="-128"/>
                          <a:cs typeface="Arial"/>
                        </a:rPr>
                        <a:t>Когорта А*: 19</a:t>
                      </a:r>
                      <a:r>
                        <a:rPr lang="en-US" sz="1200" b="1" u="none" strike="noStrike" kern="1200" cap="none" normalizeH="0" noProof="0" dirty="0">
                          <a:ln>
                            <a:noFill/>
                          </a:ln>
                          <a:solidFill>
                            <a:srgbClr val="000000"/>
                          </a:solidFill>
                          <a:effectLst/>
                          <a:latin typeface="+mn-lt"/>
                          <a:ea typeface="MS PGothic" panose="020B0600070205080204" pitchFamily="34" charset="-128"/>
                          <a:cs typeface="Arial"/>
                        </a:rPr>
                        <a:t>,</a:t>
                      </a:r>
                      <a:r>
                        <a:rPr lang="ru-RU" sz="1200" b="1" u="none" strike="noStrike" kern="1200" cap="none" normalizeH="0" noProof="0" dirty="0">
                          <a:ln>
                            <a:noFill/>
                          </a:ln>
                          <a:solidFill>
                            <a:srgbClr val="000000"/>
                          </a:solidFill>
                          <a:effectLst/>
                          <a:latin typeface="+mn-lt"/>
                          <a:ea typeface="MS PGothic" panose="020B0600070205080204" pitchFamily="34" charset="-128"/>
                          <a:cs typeface="Arial"/>
                        </a:rPr>
                        <a:t>1</a:t>
                      </a:r>
                    </a:p>
                    <a:p>
                      <a:pPr marL="0" marR="0" lvl="0" indent="0" algn="ctr" defTabSz="914400" rtl="0" eaLnBrk="1" fontAlgn="t" latinLnBrk="0" hangingPunct="1">
                        <a:lnSpc>
                          <a:spcPct val="100000"/>
                        </a:lnSpc>
                        <a:spcBef>
                          <a:spcPct val="0"/>
                        </a:spcBef>
                        <a:spcAft>
                          <a:spcPct val="0"/>
                        </a:spcAft>
                        <a:buClrTx/>
                        <a:buSzTx/>
                        <a:buFontTx/>
                        <a:buNone/>
                        <a:tabLst/>
                      </a:pPr>
                      <a:r>
                        <a:rPr lang="ru-RU" sz="1200" b="1" u="none" strike="noStrike" kern="1200" cap="none" normalizeH="0" noProof="0" dirty="0">
                          <a:ln>
                            <a:noFill/>
                          </a:ln>
                          <a:solidFill>
                            <a:srgbClr val="000000"/>
                          </a:solidFill>
                          <a:effectLst/>
                          <a:latin typeface="+mn-lt"/>
                          <a:ea typeface="MS PGothic" panose="020B0600070205080204" pitchFamily="34" charset="-128"/>
                          <a:cs typeface="Arial"/>
                        </a:rPr>
                        <a:t>Когорта A+В*:17</a:t>
                      </a:r>
                      <a:r>
                        <a:rPr lang="en-US" sz="1200" b="1" u="none" strike="noStrike" kern="1200" cap="none" normalizeH="0" noProof="0" dirty="0">
                          <a:ln>
                            <a:noFill/>
                          </a:ln>
                          <a:solidFill>
                            <a:srgbClr val="000000"/>
                          </a:solidFill>
                          <a:effectLst/>
                          <a:latin typeface="+mn-lt"/>
                          <a:ea typeface="MS PGothic" panose="020B0600070205080204" pitchFamily="34" charset="-128"/>
                          <a:cs typeface="Arial"/>
                        </a:rPr>
                        <a:t>,</a:t>
                      </a:r>
                      <a:r>
                        <a:rPr lang="ru-RU" sz="1200" b="1" u="none" strike="noStrike" kern="1200" cap="none" normalizeH="0" noProof="0" dirty="0">
                          <a:ln>
                            <a:noFill/>
                          </a:ln>
                          <a:solidFill>
                            <a:srgbClr val="000000"/>
                          </a:solidFill>
                          <a:effectLst/>
                          <a:latin typeface="+mn-lt"/>
                          <a:ea typeface="MS PGothic" panose="020B0600070205080204" pitchFamily="34" charset="-128"/>
                          <a:cs typeface="Arial"/>
                        </a:rPr>
                        <a:t>3 </a:t>
                      </a:r>
                      <a:endParaRPr lang="ru" sz="1200" b="1" u="none" strike="noStrike" kern="1200" cap="none" normalizeH="0" noProof="0" dirty="0">
                        <a:ln>
                          <a:noFill/>
                        </a:ln>
                        <a:solidFill>
                          <a:srgbClr val="000000"/>
                        </a:solidFill>
                        <a:effectLst/>
                        <a:latin typeface="+mn-lt"/>
                        <a:ea typeface="MS PGothic" panose="020B0600070205080204" pitchFamily="34" charset="-128"/>
                        <a:cs typeface="Arial"/>
                      </a:endParaRPr>
                    </a:p>
                  </a:txBody>
                  <a:tcPr marL="36000" marR="36000" marT="60960" marB="60960" anchor="ctr" horzOverflow="overflow">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1200" b="1" u="none" strike="noStrike" kern="1200" cap="none" normalizeH="0" noProof="0" dirty="0">
                          <a:ln>
                            <a:noFill/>
                          </a:ln>
                          <a:solidFill>
                            <a:srgbClr val="000000"/>
                          </a:solidFill>
                          <a:effectLst/>
                          <a:latin typeface="+mn-lt"/>
                          <a:ea typeface="MS PGothic" panose="020B0600070205080204" pitchFamily="34" charset="-128"/>
                          <a:cs typeface="Arial"/>
                        </a:rPr>
                        <a:t>Когорта A*: +4,4</a:t>
                      </a:r>
                    </a:p>
                    <a:p>
                      <a:pPr marL="0" marR="0" lvl="0" indent="0" algn="ctr" defTabSz="914400" rtl="0" eaLnBrk="1" fontAlgn="t" latinLnBrk="0" hangingPunct="1">
                        <a:lnSpc>
                          <a:spcPct val="100000"/>
                        </a:lnSpc>
                        <a:spcBef>
                          <a:spcPct val="0"/>
                        </a:spcBef>
                        <a:spcAft>
                          <a:spcPct val="0"/>
                        </a:spcAft>
                        <a:buClrTx/>
                        <a:buSzTx/>
                        <a:buFontTx/>
                        <a:buNone/>
                        <a:tabLst/>
                      </a:pPr>
                      <a:r>
                        <a:rPr lang="ru" sz="1200" b="1" u="none" strike="noStrike" kern="1200" cap="none" normalizeH="0" noProof="0" dirty="0">
                          <a:ln>
                            <a:noFill/>
                          </a:ln>
                          <a:solidFill>
                            <a:srgbClr val="000000"/>
                          </a:solidFill>
                          <a:effectLst/>
                          <a:latin typeface="+mn-lt"/>
                          <a:ea typeface="MS PGothic" panose="020B0600070205080204" pitchFamily="34" charset="-128"/>
                          <a:cs typeface="Arial"/>
                        </a:rPr>
                        <a:t>Когорта A+B*:</a:t>
                      </a:r>
                      <a:r>
                        <a:rPr lang="en-US" sz="1200" b="1" u="none" strike="noStrike" kern="1200" cap="none" normalizeH="0" noProof="0" dirty="0">
                          <a:ln>
                            <a:noFill/>
                          </a:ln>
                          <a:solidFill>
                            <a:srgbClr val="000000"/>
                          </a:solidFill>
                          <a:effectLst/>
                          <a:latin typeface="+mn-lt"/>
                          <a:ea typeface="MS PGothic" panose="020B0600070205080204" pitchFamily="34" charset="-128"/>
                          <a:cs typeface="Arial"/>
                        </a:rPr>
                        <a:t> </a:t>
                      </a:r>
                      <a:r>
                        <a:rPr lang="ru" sz="1200" b="1" u="none" strike="noStrike" kern="1200" cap="none" normalizeH="0" noProof="0" dirty="0">
                          <a:ln>
                            <a:noFill/>
                          </a:ln>
                          <a:solidFill>
                            <a:srgbClr val="000000"/>
                          </a:solidFill>
                          <a:effectLst/>
                          <a:latin typeface="+mn-lt"/>
                          <a:ea typeface="MS PGothic" panose="020B0600070205080204" pitchFamily="34" charset="-128"/>
                          <a:cs typeface="Arial"/>
                        </a:rPr>
                        <a:t>+3,3</a:t>
                      </a:r>
                    </a:p>
                  </a:txBody>
                  <a:tcPr marL="36000" marR="0" marT="60960" marB="60960" anchor="ctr" horzOverflow="overflow">
                    <a:solidFill>
                      <a:schemeClr val="accent1">
                        <a:lumMod val="20000"/>
                        <a:lumOff val="80000"/>
                      </a:schemeClr>
                    </a:solidFill>
                  </a:tcPr>
                </a:tc>
                <a:extLst>
                  <a:ext uri="{0D108BD9-81ED-4DB2-BD59-A6C34878D82A}">
                    <a16:rowId xmlns:a16="http://schemas.microsoft.com/office/drawing/2014/main" val="2234666353"/>
                  </a:ext>
                </a:extLst>
              </a:tr>
              <a:tr h="573701">
                <a:tc rowSpan="4">
                  <a:txBody>
                    <a:bodyPr/>
                    <a:lstStyle/>
                    <a:p>
                      <a:pPr marL="0" marR="0" lvl="0" indent="0" algn="l" defTabSz="914400" rtl="0" eaLnBrk="1" fontAlgn="t" latinLnBrk="0" hangingPunct="1">
                        <a:lnSpc>
                          <a:spcPct val="100000"/>
                        </a:lnSpc>
                        <a:spcBef>
                          <a:spcPct val="0"/>
                        </a:spcBef>
                        <a:spcAft>
                          <a:spcPct val="0"/>
                        </a:spcAft>
                        <a:buClrTx/>
                        <a:buSzTx/>
                        <a:buFontTx/>
                        <a:buNone/>
                        <a:tabLst/>
                        <a:defRPr/>
                      </a:pPr>
                      <a:r>
                        <a:rPr lang="ru" sz="900" dirty="0">
                          <a:latin typeface="+mn-lt"/>
                        </a:rPr>
                        <a:t>После применения доцетаксела</a:t>
                      </a:r>
                      <a:endParaRPr lang="ru" sz="900" dirty="0">
                        <a:latin typeface="+mn-lt"/>
                        <a:cs typeface="Arial" panose="020B0604020202020204" pitchFamily="34" charset="0"/>
                      </a:endParaRPr>
                    </a:p>
                  </a:txBody>
                  <a:tcPr marL="36000" marR="3600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900" b="1" u="none" strike="noStrike" cap="none" normalizeH="0" noProof="0" dirty="0">
                          <a:ln>
                            <a:noFill/>
                          </a:ln>
                          <a:solidFill>
                            <a:schemeClr val="tx1"/>
                          </a:solidFill>
                          <a:effectLst/>
                          <a:latin typeface="+mn-lt"/>
                        </a:rPr>
                        <a:t>AFFIRM</a:t>
                      </a:r>
                      <a:r>
                        <a:rPr lang="en-US" sz="900" b="1" u="none" strike="noStrike" cap="none" normalizeH="0" baseline="30000" noProof="0" dirty="0">
                          <a:ln>
                            <a:noFill/>
                          </a:ln>
                          <a:solidFill>
                            <a:schemeClr val="tx1"/>
                          </a:solidFill>
                          <a:effectLst/>
                          <a:latin typeface="+mn-lt"/>
                        </a:rPr>
                        <a:t>5</a:t>
                      </a:r>
                      <a:endParaRPr kumimoji="0" lang="en-GB" altLang="en-US" sz="900" b="1" i="0" u="none" strike="noStrike" cap="none" normalizeH="0" baseline="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900" b="0" u="none" strike="noStrike" cap="none" normalizeH="0" noProof="0" dirty="0">
                          <a:ln>
                            <a:noFill/>
                          </a:ln>
                          <a:solidFill>
                            <a:schemeClr val="tx1"/>
                          </a:solidFill>
                          <a:effectLst/>
                          <a:latin typeface="+mn-lt"/>
                        </a:rPr>
                        <a:t>III</a:t>
                      </a:r>
                      <a:endParaRPr lang="ru" sz="9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900" b="0" u="none" strike="noStrike" cap="none" normalizeH="0" noProof="0" dirty="0">
                          <a:ln>
                            <a:noFill/>
                          </a:ln>
                          <a:solidFill>
                            <a:schemeClr val="tx1"/>
                          </a:solidFill>
                          <a:effectLst/>
                          <a:latin typeface="+mn-lt"/>
                        </a:rPr>
                        <a:t>Энзалутамид по сравнению с плацебо (или преднизолоном)</a:t>
                      </a:r>
                      <a:endParaRPr lang="ru" sz="9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1200" b="0" u="none" strike="noStrike" cap="none" normalizeH="0" noProof="0" dirty="0">
                          <a:ln>
                            <a:noFill/>
                          </a:ln>
                          <a:solidFill>
                            <a:schemeClr val="tx1"/>
                          </a:solidFill>
                          <a:effectLst/>
                          <a:latin typeface="+mn-lt"/>
                        </a:rPr>
                        <a:t>1199</a:t>
                      </a:r>
                      <a:endParaRPr lang="ru" sz="12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171450" marR="0" lvl="0" indent="-171450" algn="l" defTabSz="914400" rtl="0" eaLnBrk="1" fontAlgn="ctr" latinLnBrk="0" hangingPunct="1">
                        <a:lnSpc>
                          <a:spcPct val="100000"/>
                        </a:lnSpc>
                        <a:spcBef>
                          <a:spcPct val="0"/>
                        </a:spcBef>
                        <a:spcAft>
                          <a:spcPct val="0"/>
                        </a:spcAft>
                        <a:buClrTx/>
                        <a:buSzTx/>
                        <a:buFont typeface="Arial" panose="020B0604020202020204" pitchFamily="34" charset="0"/>
                        <a:buChar char="•"/>
                        <a:tabLst/>
                      </a:pPr>
                      <a:endParaRPr kumimoji="0" lang="en-GB" altLang="en-US" sz="900" b="0" i="0" u="none" strike="noStrike" cap="none" normalizeH="0" baseline="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1200" b="1" u="none" strike="noStrike" cap="none" normalizeH="0" noProof="0" dirty="0">
                          <a:ln>
                            <a:noFill/>
                          </a:ln>
                          <a:solidFill>
                            <a:srgbClr val="000000"/>
                          </a:solidFill>
                          <a:effectLst/>
                          <a:latin typeface="+mn-lt"/>
                        </a:rPr>
                        <a:t>0,63</a:t>
                      </a:r>
                      <a:endPar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lang="en-US"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rPr>
                        <a:t>18,4</a:t>
                      </a:r>
                      <a:endPar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1200" b="1" u="none" strike="noStrike" cap="none" normalizeH="0" noProof="0" dirty="0">
                          <a:ln>
                            <a:noFill/>
                          </a:ln>
                          <a:solidFill>
                            <a:srgbClr val="000000"/>
                          </a:solidFill>
                          <a:effectLst/>
                          <a:latin typeface="+mn-lt"/>
                        </a:rPr>
                        <a:t>+4,8</a:t>
                      </a:r>
                      <a:endPar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extLst>
                  <a:ext uri="{0D108BD9-81ED-4DB2-BD59-A6C34878D82A}">
                    <a16:rowId xmlns:a16="http://schemas.microsoft.com/office/drawing/2014/main" val="10005"/>
                  </a:ext>
                </a:extLst>
              </a:tr>
              <a:tr h="573701">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GB" altLang="en-US" sz="1200" b="0" i="0" u="none" strike="noStrike" cap="none" normalizeH="0" baseline="0" noProof="0">
                        <a:ln>
                          <a:noFill/>
                        </a:ln>
                        <a:solidFill>
                          <a:schemeClr val="tx1"/>
                        </a:solidFill>
                        <a:effectLst/>
                        <a:latin typeface="+mj-lt"/>
                        <a:ea typeface="Verdana" panose="020B0604030504040204" pitchFamily="34" charset="0"/>
                        <a:cs typeface="Verdana" panose="020B060403050404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900" b="1" u="none" strike="noStrike" cap="none" normalizeH="0" noProof="0" dirty="0">
                          <a:ln>
                            <a:noFill/>
                          </a:ln>
                          <a:solidFill>
                            <a:schemeClr val="tx1"/>
                          </a:solidFill>
                          <a:effectLst/>
                          <a:latin typeface="+mn-lt"/>
                        </a:rPr>
                        <a:t>COU-AA-302</a:t>
                      </a:r>
                      <a:r>
                        <a:rPr lang="en-US" sz="900" b="1" u="none" strike="noStrike" cap="none" normalizeH="0" baseline="30000" noProof="0" dirty="0">
                          <a:ln>
                            <a:noFill/>
                          </a:ln>
                          <a:solidFill>
                            <a:schemeClr val="tx1"/>
                          </a:solidFill>
                          <a:effectLst/>
                          <a:latin typeface="+mn-lt"/>
                        </a:rPr>
                        <a:t>6</a:t>
                      </a:r>
                      <a:endParaRPr kumimoji="0" lang="en-GB" altLang="en-US" sz="900" b="1" i="0" u="none" strike="noStrike" cap="none" normalizeH="0" baseline="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900" b="0" u="none" strike="noStrike" cap="none" normalizeH="0" noProof="0" dirty="0">
                          <a:ln>
                            <a:noFill/>
                          </a:ln>
                          <a:solidFill>
                            <a:schemeClr val="tx1"/>
                          </a:solidFill>
                          <a:effectLst/>
                          <a:latin typeface="+mn-lt"/>
                        </a:rPr>
                        <a:t>III</a:t>
                      </a:r>
                      <a:endParaRPr lang="ru" sz="9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900" b="0" u="none" strike="noStrike" cap="none" normalizeH="0" noProof="0" dirty="0">
                          <a:ln>
                            <a:noFill/>
                          </a:ln>
                          <a:solidFill>
                            <a:schemeClr val="tx1"/>
                          </a:solidFill>
                          <a:effectLst/>
                          <a:latin typeface="+mn-lt"/>
                        </a:rPr>
                        <a:t>Абиратерон/преднизолон по сравнению с преднизолоном</a:t>
                      </a:r>
                      <a:endParaRPr lang="ru" sz="9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1200" b="0" u="none" strike="noStrike" cap="none" normalizeH="0" noProof="0" dirty="0">
                          <a:ln>
                            <a:noFill/>
                          </a:ln>
                          <a:solidFill>
                            <a:schemeClr val="tx1"/>
                          </a:solidFill>
                          <a:effectLst/>
                          <a:latin typeface="+mn-lt"/>
                        </a:rPr>
                        <a:t>1195</a:t>
                      </a:r>
                      <a:endParaRPr lang="ru" sz="12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171450" marR="0" lvl="0" indent="-171450" algn="l" defTabSz="914400" rtl="0" eaLnBrk="1" fontAlgn="ctr" latinLnBrk="0" hangingPunct="1">
                        <a:lnSpc>
                          <a:spcPct val="100000"/>
                        </a:lnSpc>
                        <a:spcBef>
                          <a:spcPct val="0"/>
                        </a:spcBef>
                        <a:spcAft>
                          <a:spcPct val="0"/>
                        </a:spcAft>
                        <a:buClrTx/>
                        <a:buSzTx/>
                        <a:buFont typeface="Arial" panose="020B0604020202020204" pitchFamily="34" charset="0"/>
                        <a:buChar char="•"/>
                        <a:tabLst/>
                      </a:pPr>
                      <a:endParaRPr kumimoji="0" lang="en-GB" altLang="en-US" sz="900" b="0" i="0" u="none" strike="noStrike" cap="none" normalizeH="0" baseline="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1200" b="1" u="none" strike="noStrike" cap="none" normalizeH="0" noProof="0" dirty="0">
                          <a:ln>
                            <a:noFill/>
                          </a:ln>
                          <a:solidFill>
                            <a:srgbClr val="000000"/>
                          </a:solidFill>
                          <a:effectLst/>
                          <a:latin typeface="+mn-lt"/>
                        </a:rPr>
                        <a:t>0,7</a:t>
                      </a:r>
                      <a:r>
                        <a:rPr lang="en-US" sz="1200" b="1" u="none" strike="noStrike" cap="none" normalizeH="0" noProof="0" dirty="0">
                          <a:ln>
                            <a:noFill/>
                          </a:ln>
                          <a:solidFill>
                            <a:srgbClr val="000000"/>
                          </a:solidFill>
                          <a:effectLst/>
                          <a:latin typeface="+mn-lt"/>
                        </a:rPr>
                        <a:t>9</a:t>
                      </a:r>
                      <a:endPar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rPr>
                        <a:t>35</a:t>
                      </a:r>
                      <a:r>
                        <a:rPr lang="en-US"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rPr>
                        <a:t>,</a:t>
                      </a:r>
                      <a:r>
                        <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rPr>
                        <a:t>3</a:t>
                      </a:r>
                    </a:p>
                  </a:txBody>
                  <a:tcPr marL="36000" marR="36000" marT="60960" marB="60960" anchor="ctr" horzOverflow="overflow">
                    <a:solidFill>
                      <a:schemeClr val="accent3">
                        <a:lumMod val="20000"/>
                        <a:lumOff val="80000"/>
                      </a:schemeClr>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lang="ru" sz="1200" b="1" u="none" strike="noStrike" cap="none" normalizeH="0" noProof="0" dirty="0">
                          <a:ln>
                            <a:noFill/>
                          </a:ln>
                          <a:solidFill>
                            <a:srgbClr val="000000"/>
                          </a:solidFill>
                          <a:effectLst/>
                          <a:latin typeface="+mn-lt"/>
                        </a:rPr>
                        <a:t>+</a:t>
                      </a:r>
                      <a:r>
                        <a:rPr lang="en-US" sz="1200" b="1" u="none" strike="noStrike" cap="none" normalizeH="0" noProof="0" dirty="0">
                          <a:ln>
                            <a:noFill/>
                          </a:ln>
                          <a:solidFill>
                            <a:srgbClr val="000000"/>
                          </a:solidFill>
                          <a:effectLst/>
                          <a:latin typeface="+mn-lt"/>
                        </a:rPr>
                        <a:t>5</a:t>
                      </a:r>
                      <a:r>
                        <a:rPr lang="ru" sz="1200" b="1" u="none" strike="noStrike" cap="none" normalizeH="0" noProof="0" dirty="0">
                          <a:ln>
                            <a:noFill/>
                          </a:ln>
                          <a:solidFill>
                            <a:srgbClr val="000000"/>
                          </a:solidFill>
                          <a:effectLst/>
                          <a:latin typeface="+mn-lt"/>
                        </a:rPr>
                        <a:t>,</a:t>
                      </a:r>
                      <a:r>
                        <a:rPr lang="en-US" sz="1200" b="1" u="none" strike="noStrike" cap="none" normalizeH="0" noProof="0" dirty="0">
                          <a:ln>
                            <a:noFill/>
                          </a:ln>
                          <a:solidFill>
                            <a:srgbClr val="000000"/>
                          </a:solidFill>
                          <a:effectLst/>
                          <a:latin typeface="+mn-lt"/>
                        </a:rPr>
                        <a:t>2</a:t>
                      </a:r>
                      <a:endPar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extLst>
                  <a:ext uri="{0D108BD9-81ED-4DB2-BD59-A6C34878D82A}">
                    <a16:rowId xmlns:a16="http://schemas.microsoft.com/office/drawing/2014/main" val="3897650820"/>
                  </a:ext>
                </a:extLst>
              </a:tr>
              <a:tr h="453340">
                <a:tc vMerge="1">
                  <a:txBody>
                    <a:body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en-GB" altLang="en-US" sz="1200" b="0" i="0" u="none" strike="noStrike" cap="none" normalizeH="0" baseline="0" noProof="0">
                        <a:ln>
                          <a:noFill/>
                        </a:ln>
                        <a:solidFill>
                          <a:schemeClr val="tx1"/>
                        </a:solidFill>
                        <a:effectLst/>
                        <a:latin typeface="+mj-lt"/>
                        <a:ea typeface="Verdana" panose="020B0604030504040204" pitchFamily="34" charset="0"/>
                        <a:cs typeface="Verdana" panose="020B060403050404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900" b="1" u="none" strike="noStrike" cap="none" normalizeH="0" noProof="0" dirty="0">
                          <a:ln>
                            <a:noFill/>
                          </a:ln>
                          <a:solidFill>
                            <a:schemeClr val="tx1"/>
                          </a:solidFill>
                          <a:effectLst/>
                          <a:latin typeface="+mn-lt"/>
                        </a:rPr>
                        <a:t>TROPIC</a:t>
                      </a:r>
                      <a:r>
                        <a:rPr lang="en-US" sz="900" b="1" u="none" strike="noStrike" cap="none" normalizeH="0" baseline="30000" noProof="0" dirty="0">
                          <a:ln>
                            <a:noFill/>
                          </a:ln>
                          <a:solidFill>
                            <a:schemeClr val="tx1"/>
                          </a:solidFill>
                          <a:effectLst/>
                          <a:latin typeface="+mn-lt"/>
                        </a:rPr>
                        <a:t>7</a:t>
                      </a:r>
                      <a:endParaRPr kumimoji="0" lang="en-GB" altLang="en-US" sz="900" b="1" i="0" u="none" strike="noStrike" cap="none" normalizeH="0" baseline="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900" b="0" u="none" strike="noStrike" cap="none" normalizeH="0" noProof="0" dirty="0">
                          <a:ln>
                            <a:noFill/>
                          </a:ln>
                          <a:solidFill>
                            <a:schemeClr val="tx1"/>
                          </a:solidFill>
                          <a:effectLst/>
                          <a:latin typeface="+mn-lt"/>
                        </a:rPr>
                        <a:t>III</a:t>
                      </a:r>
                      <a:endParaRPr lang="ru" sz="9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900" b="0" u="none" strike="noStrike" cap="none" normalizeH="0" noProof="0" dirty="0">
                          <a:ln>
                            <a:noFill/>
                          </a:ln>
                          <a:solidFill>
                            <a:schemeClr val="tx1"/>
                          </a:solidFill>
                          <a:effectLst/>
                          <a:latin typeface="+mn-lt"/>
                        </a:rPr>
                        <a:t>Кабазитаксел/преднизолон по сравнению с митоксантрон/преднизолон</a:t>
                      </a:r>
                      <a:endParaRPr lang="ru" sz="9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1200" b="0" u="none" strike="noStrike" cap="none" normalizeH="0" noProof="0" dirty="0">
                          <a:ln>
                            <a:noFill/>
                          </a:ln>
                          <a:solidFill>
                            <a:schemeClr val="tx1"/>
                          </a:solidFill>
                          <a:effectLst/>
                          <a:latin typeface="+mn-lt"/>
                        </a:rPr>
                        <a:t>755</a:t>
                      </a:r>
                      <a:endParaRPr lang="ru" sz="12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171450" marR="0" lvl="0" indent="-171450" algn="l" defTabSz="914400" rtl="0" eaLnBrk="1" fontAlgn="ctr" latinLnBrk="0" hangingPunct="1">
                        <a:lnSpc>
                          <a:spcPct val="100000"/>
                        </a:lnSpc>
                        <a:spcBef>
                          <a:spcPct val="0"/>
                        </a:spcBef>
                        <a:spcAft>
                          <a:spcPct val="0"/>
                        </a:spcAft>
                        <a:buClrTx/>
                        <a:buSzTx/>
                        <a:buFont typeface="Arial" panose="020B0604020202020204" pitchFamily="34" charset="0"/>
                        <a:buChar char="•"/>
                        <a:tabLst/>
                      </a:pPr>
                      <a:endParaRPr kumimoji="0" lang="en-GB" altLang="en-US" sz="900" b="0" i="0" u="none" strike="noStrike" cap="none" normalizeH="0" baseline="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1200" b="1" u="none" strike="noStrike" cap="none" normalizeH="0" noProof="0" dirty="0">
                          <a:ln>
                            <a:noFill/>
                          </a:ln>
                          <a:solidFill>
                            <a:srgbClr val="000000"/>
                          </a:solidFill>
                          <a:effectLst/>
                          <a:latin typeface="+mn-lt"/>
                        </a:rPr>
                        <a:t>0,70</a:t>
                      </a:r>
                      <a:endPar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lang="en-US"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rPr>
                        <a:t>15,1</a:t>
                      </a:r>
                      <a:endPar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1200" b="1" u="none" strike="noStrike" cap="none" normalizeH="0" noProof="0" dirty="0">
                          <a:ln>
                            <a:noFill/>
                          </a:ln>
                          <a:solidFill>
                            <a:srgbClr val="000000"/>
                          </a:solidFill>
                          <a:effectLst/>
                          <a:latin typeface="+mn-lt"/>
                        </a:rPr>
                        <a:t>+2,4</a:t>
                      </a:r>
                      <a:endPar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extLst>
                  <a:ext uri="{0D108BD9-81ED-4DB2-BD59-A6C34878D82A}">
                    <a16:rowId xmlns:a16="http://schemas.microsoft.com/office/drawing/2014/main" val="10006"/>
                  </a:ext>
                </a:extLst>
              </a:tr>
              <a:tr h="426178">
                <a:tc vMerge="1">
                  <a:txBody>
                    <a:body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en-GB" altLang="en-US" sz="1200" b="0" i="0" u="none" strike="noStrike" cap="none" normalizeH="0" baseline="0" noProof="0">
                        <a:ln>
                          <a:noFill/>
                        </a:ln>
                        <a:solidFill>
                          <a:schemeClr val="tx1"/>
                        </a:solidFill>
                        <a:effectLst/>
                        <a:latin typeface="+mj-lt"/>
                        <a:ea typeface="Verdana" panose="020B0604030504040204" pitchFamily="34" charset="0"/>
                        <a:cs typeface="Verdana" panose="020B060403050404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900" b="1" u="none" strike="noStrike" cap="none" normalizeH="0" noProof="0" dirty="0">
                          <a:ln>
                            <a:noFill/>
                          </a:ln>
                          <a:solidFill>
                            <a:schemeClr val="tx1"/>
                          </a:solidFill>
                          <a:effectLst/>
                          <a:latin typeface="+mn-lt"/>
                        </a:rPr>
                        <a:t>ALSYMPCA</a:t>
                      </a:r>
                      <a:r>
                        <a:rPr lang="en-US" sz="900" b="1" u="none" strike="noStrike" cap="none" normalizeH="0" baseline="30000" noProof="0" dirty="0">
                          <a:ln>
                            <a:noFill/>
                          </a:ln>
                          <a:solidFill>
                            <a:schemeClr val="tx1"/>
                          </a:solidFill>
                          <a:effectLst/>
                          <a:latin typeface="+mn-lt"/>
                        </a:rPr>
                        <a:t>8</a:t>
                      </a:r>
                      <a:endParaRPr kumimoji="0" lang="en-GB" altLang="en-US" sz="900" b="1" i="0" u="none" strike="noStrike" cap="none" normalizeH="0" baseline="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900" b="0" u="none" strike="noStrike" cap="none" normalizeH="0" noProof="0">
                          <a:ln>
                            <a:noFill/>
                          </a:ln>
                          <a:solidFill>
                            <a:schemeClr val="tx1"/>
                          </a:solidFill>
                          <a:effectLst/>
                          <a:latin typeface="+mn-lt"/>
                        </a:rPr>
                        <a:t>III</a:t>
                      </a:r>
                      <a:endParaRPr lang="ru" sz="900" b="0" i="0" u="none" strike="noStrike" cap="none" normalizeH="0" noProof="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900" b="0" u="none" strike="noStrike" cap="none" normalizeH="0" noProof="0" dirty="0">
                          <a:ln>
                            <a:noFill/>
                          </a:ln>
                          <a:solidFill>
                            <a:schemeClr val="tx1"/>
                          </a:solidFill>
                          <a:effectLst/>
                          <a:latin typeface="+mn-lt"/>
                        </a:rPr>
                        <a:t>Радий-223 по сравнению с плацебо</a:t>
                      </a:r>
                      <a:endParaRPr kumimoji="0" lang="en-GB" altLang="en-US" sz="900" b="0" i="0" u="none" strike="noStrike" cap="none" normalizeH="0" baseline="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1200" b="0" u="none" strike="noStrike" cap="none" normalizeH="0" noProof="0" dirty="0">
                          <a:ln>
                            <a:noFill/>
                          </a:ln>
                          <a:solidFill>
                            <a:schemeClr val="tx1"/>
                          </a:solidFill>
                          <a:effectLst/>
                          <a:latin typeface="+mn-lt"/>
                        </a:rPr>
                        <a:t>921</a:t>
                      </a:r>
                      <a:endParaRPr lang="ru" sz="1200" b="0" i="0" u="none" strike="noStrike" cap="none" normalizeH="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171450" marR="0" lvl="0" indent="-171450" algn="l" defTabSz="914400" rtl="0" eaLnBrk="1" fontAlgn="ctr" latinLnBrk="0" hangingPunct="1">
                        <a:lnSpc>
                          <a:spcPct val="100000"/>
                        </a:lnSpc>
                        <a:spcBef>
                          <a:spcPct val="0"/>
                        </a:spcBef>
                        <a:spcAft>
                          <a:spcPct val="0"/>
                        </a:spcAft>
                        <a:buClrTx/>
                        <a:buSzTx/>
                        <a:buFont typeface="Arial" panose="020B0604020202020204" pitchFamily="34" charset="0"/>
                        <a:buChar char="•"/>
                        <a:tabLst/>
                      </a:pPr>
                      <a:endParaRPr kumimoji="0" lang="en-GB" altLang="en-US" sz="900" b="0" i="0" u="none" strike="noStrike" cap="none" normalizeH="0" baseline="0" noProof="0" dirty="0">
                        <a:ln>
                          <a:noFill/>
                        </a:ln>
                        <a:solidFill>
                          <a:schemeClr val="tx1"/>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1200" b="1" u="none" strike="noStrike" cap="none" normalizeH="0" noProof="0" dirty="0">
                          <a:ln>
                            <a:noFill/>
                          </a:ln>
                          <a:solidFill>
                            <a:srgbClr val="000000"/>
                          </a:solidFill>
                          <a:effectLst/>
                          <a:latin typeface="+mn-lt"/>
                        </a:rPr>
                        <a:t>0,70</a:t>
                      </a:r>
                      <a:endPar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lang="en-US"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rPr>
                        <a:t>16,1</a:t>
                      </a:r>
                      <a:endPar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tc>
                  <a:txBody>
                    <a:bodyPr/>
                    <a:lstStyle>
                      <a:lvl1pPr marL="0" algn="l" defTabSz="914400" rtl="0" eaLnBrk="1" latinLnBrk="0" hangingPunct="1">
                        <a:lnSpc>
                          <a:spcPct val="90000"/>
                        </a:lnSpc>
                        <a:spcBef>
                          <a:spcPts val="1000"/>
                        </a:spcBef>
                        <a:buFont typeface="Arial" panose="020B0604020202020204" pitchFamily="34" charset="0"/>
                        <a:defRPr sz="2400" kern="1200">
                          <a:solidFill>
                            <a:schemeClr val="tx1"/>
                          </a:solidFill>
                          <a:latin typeface="Calibri" panose="020F0502020204030204" pitchFamily="34" charset="0"/>
                          <a:ea typeface="MS PGothic" panose="020B0600070205080204" pitchFamily="34" charset="-128"/>
                          <a:cs typeface="Arial"/>
                        </a:defRPr>
                      </a:lvl1pPr>
                      <a:lvl2pPr marL="742950" indent="-285750" algn="l" defTabSz="914400" rtl="0" eaLnBrk="1" latinLnBrk="0" hangingPunct="1">
                        <a:lnSpc>
                          <a:spcPct val="90000"/>
                        </a:lnSpc>
                        <a:spcBef>
                          <a:spcPts val="500"/>
                        </a:spcBef>
                        <a:buFont typeface="Arial" panose="020B0604020202020204" pitchFamily="34" charset="0"/>
                        <a:defRPr sz="2000" kern="1200">
                          <a:solidFill>
                            <a:schemeClr val="tx1"/>
                          </a:solidFill>
                          <a:latin typeface="Calibri" panose="020F0502020204030204" pitchFamily="34" charset="0"/>
                          <a:ea typeface="MS PGothic" panose="020B0600070205080204" pitchFamily="34" charset="-128"/>
                          <a:cs typeface="Arial"/>
                        </a:defRPr>
                      </a:lvl2pPr>
                      <a:lvl3pPr marL="1143000" indent="-228600" algn="l" defTabSz="914400" rtl="0" eaLnBrk="1" latinLnBrk="0" hangingPunct="1">
                        <a:lnSpc>
                          <a:spcPct val="90000"/>
                        </a:lnSpc>
                        <a:spcBef>
                          <a:spcPts val="500"/>
                        </a:spcBef>
                        <a:buFont typeface="Arial" panose="020B0604020202020204" pitchFamily="34" charset="0"/>
                        <a:defRPr sz="1800" kern="1200">
                          <a:solidFill>
                            <a:schemeClr val="tx1"/>
                          </a:solidFill>
                          <a:latin typeface="Calibri" panose="020F0502020204030204" pitchFamily="34" charset="0"/>
                          <a:ea typeface="MS PGothic" panose="020B0600070205080204" pitchFamily="34" charset="-128"/>
                          <a:cs typeface="Arial"/>
                        </a:defRPr>
                      </a:lvl3pPr>
                      <a:lvl4pPr marL="16002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4pPr>
                      <a:lvl5pPr marL="2057400" indent="-228600" algn="l" defTabSz="914400" rtl="0" eaLnBrk="1" latinLnBrk="0" hangingPunct="1">
                        <a:lnSpc>
                          <a:spcPct val="90000"/>
                        </a:lnSpc>
                        <a:spcBef>
                          <a:spcPts val="500"/>
                        </a:spcBef>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5pPr>
                      <a:lvl6pPr marL="25146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6pPr>
                      <a:lvl7pPr marL="29718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7pPr>
                      <a:lvl8pPr marL="34290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8pPr>
                      <a:lvl9pPr marL="3886200" indent="-228600" algn="l" defTabSz="914400" rtl="0" eaLnBrk="0" fontAlgn="base" latinLnBrk="0" hangingPunct="0">
                        <a:lnSpc>
                          <a:spcPct val="90000"/>
                        </a:lnSpc>
                        <a:spcBef>
                          <a:spcPts val="500"/>
                        </a:spcBef>
                        <a:spcAft>
                          <a:spcPct val="0"/>
                        </a:spcAft>
                        <a:buFont typeface="Arial" panose="020B0604020202020204" pitchFamily="34" charset="0"/>
                        <a:defRPr sz="1600" kern="1200">
                          <a:solidFill>
                            <a:schemeClr val="tx1"/>
                          </a:solidFill>
                          <a:latin typeface="Calibri" panose="020F0502020204030204" pitchFamily="34" charset="0"/>
                          <a:ea typeface="MS PGothic" panose="020B0600070205080204" pitchFamily="34" charset="-128"/>
                          <a:cs typeface="Arial"/>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lang="ru" sz="1200" b="1" u="none" strike="noStrike" cap="none" normalizeH="0" noProof="0" dirty="0">
                          <a:ln>
                            <a:noFill/>
                          </a:ln>
                          <a:solidFill>
                            <a:srgbClr val="000000"/>
                          </a:solidFill>
                          <a:effectLst/>
                          <a:latin typeface="+mn-lt"/>
                        </a:rPr>
                        <a:t>+3,6</a:t>
                      </a:r>
                      <a:endParaRPr lang="ru" sz="1200" b="1" i="0" u="none" strike="noStrike" cap="none" normalizeH="0" noProof="0" dirty="0">
                        <a:ln>
                          <a:noFill/>
                        </a:ln>
                        <a:solidFill>
                          <a:srgbClr val="000000"/>
                        </a:solidFill>
                        <a:effectLst/>
                        <a:latin typeface="+mn-lt"/>
                        <a:ea typeface="Verdana" panose="020B0604030504040204" pitchFamily="34" charset="0"/>
                        <a:cs typeface="Arial" panose="020B0604020202020204" pitchFamily="34" charset="0"/>
                      </a:endParaRPr>
                    </a:p>
                  </a:txBody>
                  <a:tcPr marL="36000" marR="36000" marT="60960" marB="60960" anchor="ctr" horzOverflow="overflow">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8306021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LYNPARZA">
      <a:dk1>
        <a:srgbClr val="004D74"/>
      </a:dk1>
      <a:lt1>
        <a:srgbClr val="FEFFFE"/>
      </a:lt1>
      <a:dk2>
        <a:srgbClr val="004D74"/>
      </a:dk2>
      <a:lt2>
        <a:srgbClr val="FEFFFE"/>
      </a:lt2>
      <a:accent1>
        <a:srgbClr val="3E4444"/>
      </a:accent1>
      <a:accent2>
        <a:srgbClr val="787879"/>
      </a:accent2>
      <a:accent3>
        <a:srgbClr val="B2D233"/>
      </a:accent3>
      <a:accent4>
        <a:srgbClr val="6810D3"/>
      </a:accent4>
      <a:accent5>
        <a:srgbClr val="960064"/>
      </a:accent5>
      <a:accent6>
        <a:srgbClr val="004D74"/>
      </a:accent6>
      <a:hlink>
        <a:srgbClr val="FEFFFE"/>
      </a:hlink>
      <a:folHlink>
        <a:srgbClr val="004D7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spAutoFit/>
      </a:bodyPr>
      <a:lstStyle>
        <a:defPPr algn="l">
          <a:defRPr sz="2300" i="1" dirty="0">
            <a:solidFill>
              <a:schemeClr val="tx2"/>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straZeneca Standard Template">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Presentation26" id="{D7E69D7D-BD01-F144-A314-71D737CE3493}" vid="{AF65277B-5A4A-E847-B91C-4A043C0B3E39}"/>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AstraZeneca Standard Template">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Presentation26" id="{D7E69D7D-BD01-F144-A314-71D737CE3493}" vid="{AF65277B-5A4A-E847-B91C-4A043C0B3E39}"/>
    </a:ext>
  </a:extLst>
</a:theme>
</file>

<file path=ppt/theme/theme5.xml><?xml version="1.0" encoding="utf-8"?>
<a:theme xmlns:a="http://schemas.openxmlformats.org/drawingml/2006/main" name="MSL DECK">
  <a:themeElements>
    <a:clrScheme name="Custom 55">
      <a:dk1>
        <a:srgbClr val="000000"/>
      </a:dk1>
      <a:lt1>
        <a:srgbClr val="FFFFFF"/>
      </a:lt1>
      <a:dk2>
        <a:srgbClr val="000000"/>
      </a:dk2>
      <a:lt2>
        <a:srgbClr val="FFFFFF"/>
      </a:lt2>
      <a:accent1>
        <a:srgbClr val="68D2DF"/>
      </a:accent1>
      <a:accent2>
        <a:srgbClr val="F0AB00"/>
      </a:accent2>
      <a:accent3>
        <a:srgbClr val="830051"/>
      </a:accent3>
      <a:accent4>
        <a:srgbClr val="3C0F53"/>
      </a:accent4>
      <a:accent5>
        <a:srgbClr val="C4D708"/>
      </a:accent5>
      <a:accent6>
        <a:srgbClr val="3F4444"/>
      </a:accent6>
      <a:hlink>
        <a:srgbClr val="830051"/>
      </a:hlink>
      <a:folHlink>
        <a:srgbClr val="C7C2B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B1ADB9"/>
        </a:accent5>
        <a:accent6>
          <a:srgbClr val="D99B00"/>
        </a:accent6>
        <a:hlink>
          <a:srgbClr val="7AB800"/>
        </a:hlink>
        <a:folHlink>
          <a:srgbClr val="00ADD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830051"/>
        </a:dk2>
        <a:lt2>
          <a:srgbClr val="7AB800"/>
        </a:lt2>
        <a:accent1>
          <a:srgbClr val="4B306A"/>
        </a:accent1>
        <a:accent2>
          <a:srgbClr val="F0AB00"/>
        </a:accent2>
        <a:accent3>
          <a:srgbClr val="FFFFFF"/>
        </a:accent3>
        <a:accent4>
          <a:srgbClr val="000000"/>
        </a:accent4>
        <a:accent5>
          <a:srgbClr val="B1ADB9"/>
        </a:accent5>
        <a:accent6>
          <a:srgbClr val="D99B00"/>
        </a:accent6>
        <a:hlink>
          <a:srgbClr val="C7C2BA"/>
        </a:hlink>
        <a:folHlink>
          <a:srgbClr val="00ADD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55">
    <a:dk1>
      <a:srgbClr val="000000"/>
    </a:dk1>
    <a:lt1>
      <a:srgbClr val="FFFFFF"/>
    </a:lt1>
    <a:dk2>
      <a:srgbClr val="000000"/>
    </a:dk2>
    <a:lt2>
      <a:srgbClr val="FFFFFF"/>
    </a:lt2>
    <a:accent1>
      <a:srgbClr val="68D2DF"/>
    </a:accent1>
    <a:accent2>
      <a:srgbClr val="F0AB00"/>
    </a:accent2>
    <a:accent3>
      <a:srgbClr val="830051"/>
    </a:accent3>
    <a:accent4>
      <a:srgbClr val="3C0F53"/>
    </a:accent4>
    <a:accent5>
      <a:srgbClr val="C4D708"/>
    </a:accent5>
    <a:accent6>
      <a:srgbClr val="3F4444"/>
    </a:accent6>
    <a:hlink>
      <a:srgbClr val="830051"/>
    </a:hlink>
    <a:folHlink>
      <a:srgbClr val="C7C2B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ustom 55">
    <a:dk1>
      <a:srgbClr val="000000"/>
    </a:dk1>
    <a:lt1>
      <a:srgbClr val="FFFFFF"/>
    </a:lt1>
    <a:dk2>
      <a:srgbClr val="000000"/>
    </a:dk2>
    <a:lt2>
      <a:srgbClr val="FFFFFF"/>
    </a:lt2>
    <a:accent1>
      <a:srgbClr val="68D2DF"/>
    </a:accent1>
    <a:accent2>
      <a:srgbClr val="F0AB00"/>
    </a:accent2>
    <a:accent3>
      <a:srgbClr val="830051"/>
    </a:accent3>
    <a:accent4>
      <a:srgbClr val="3C0F53"/>
    </a:accent4>
    <a:accent5>
      <a:srgbClr val="C4D708"/>
    </a:accent5>
    <a:accent6>
      <a:srgbClr val="3F4444"/>
    </a:accent6>
    <a:hlink>
      <a:srgbClr val="830051"/>
    </a:hlink>
    <a:folHlink>
      <a:srgbClr val="C7C2BA"/>
    </a:folHlink>
  </a:clrScheme>
  <a:fontScheme name="Default Design">
    <a:majorFont>
      <a:latin typeface="Arial"/>
      <a:ea typeface="Arial"/>
      <a:cs typeface="Arial"/>
    </a:majorFont>
    <a:minorFont>
      <a:latin typeface="Arial"/>
      <a:ea typeface="Arial"/>
      <a:cs typeface="Arial"/>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Override>
</file>

<file path=ppt/theme/themeOverride5.xml><?xml version="1.0" encoding="utf-8"?>
<a:themeOverride xmlns:a="http://schemas.openxmlformats.org/drawingml/2006/main">
  <a:clrScheme name="Custom 126">
    <a:dk1>
      <a:srgbClr val="000000"/>
    </a:dk1>
    <a:lt1>
      <a:srgbClr val="FFFFFF"/>
    </a:lt1>
    <a:dk2>
      <a:srgbClr val="44546A"/>
    </a:dk2>
    <a:lt2>
      <a:srgbClr val="E7E6E6"/>
    </a:lt2>
    <a:accent1>
      <a:srgbClr val="68D2DE"/>
    </a:accent1>
    <a:accent2>
      <a:srgbClr val="EFAA00"/>
    </a:accent2>
    <a:accent3>
      <a:srgbClr val="A5A5A5"/>
    </a:accent3>
    <a:accent4>
      <a:srgbClr val="810051"/>
    </a:accent4>
    <a:accent5>
      <a:srgbClr val="C4D708"/>
    </a:accent5>
    <a:accent6>
      <a:srgbClr val="3B0F54"/>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Facet</Template>
  <TotalTime>21265</TotalTime>
  <Words>7157</Words>
  <Application>Microsoft Office PowerPoint</Application>
  <PresentationFormat>Widescreen</PresentationFormat>
  <Paragraphs>1381</Paragraphs>
  <Slides>40</Slides>
  <Notes>27</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40</vt:i4>
      </vt:variant>
    </vt:vector>
  </HeadingPairs>
  <TitlesOfParts>
    <vt:vector size="59" baseType="lpstr">
      <vt:lpstr>Arial</vt:lpstr>
      <vt:lpstr>Arial </vt:lpstr>
      <vt:lpstr>Arial SF MT</vt:lpstr>
      <vt:lpstr>Calibri</vt:lpstr>
      <vt:lpstr>Calibri body</vt:lpstr>
      <vt:lpstr>Calibri Light</vt:lpstr>
      <vt:lpstr>Calisto MT</vt:lpstr>
      <vt:lpstr>ff-scala-sans-web-pro</vt:lpstr>
      <vt:lpstr>Montserrat</vt:lpstr>
      <vt:lpstr>MyriadPro-Cond</vt:lpstr>
      <vt:lpstr>MyriadPro-CondIt</vt:lpstr>
      <vt:lpstr>Symbol</vt:lpstr>
      <vt:lpstr>Times New Roman</vt:lpstr>
      <vt:lpstr>Office Theme</vt:lpstr>
      <vt:lpstr>AstraZeneca Standard Template</vt:lpstr>
      <vt:lpstr>1_Office Theme</vt:lpstr>
      <vt:lpstr>1_AstraZeneca Standard Template</vt:lpstr>
      <vt:lpstr>MSL DECK</vt:lpstr>
      <vt:lpstr>think-cell Slide</vt:lpstr>
      <vt:lpstr>PowerPoint Presentation</vt:lpstr>
      <vt:lpstr>    </vt:lpstr>
      <vt:lpstr>    </vt:lpstr>
      <vt:lpstr>  Онкоурологическая заболеваемость в Челябинской  области (количество заболевших)  </vt:lpstr>
      <vt:lpstr>PowerPoint Presentation</vt:lpstr>
      <vt:lpstr>Ожидается, что смертность от рака предстательной железы удвоится в ближайшие 20 лет</vt:lpstr>
      <vt:lpstr>Пятилетняя выживаемость пациентов с мКРРПЖ составляет ~ 30%1</vt:lpstr>
      <vt:lpstr>PowerPoint Presentation</vt:lpstr>
      <vt:lpstr>Существует потребность в улучшении вариантов терапии,  несмотря на имеющиеся в настоящее время методы лечения мКРРПЖ</vt:lpstr>
      <vt:lpstr>Обоснование применения комбинации олапариба и абиратерона</vt:lpstr>
      <vt:lpstr>Линпарза® и абиратерон демонстрируют эффект синергии, улучшая результаты терапии первой линии у пациентов с мКРРПЖ, независимо от статуса мутаций в генах HRR </vt:lpstr>
      <vt:lpstr>Почему препаратом для комбинации с Линпарзой был выбран  абиратерон, а не энзалутамид?</vt:lpstr>
      <vt:lpstr>      Дизайн исследования PROpel </vt:lpstr>
      <vt:lpstr>Исследование PROpel: Исследование III фазы для оценки эффективности, безопасности и переносимости комбинации олапариба с абиратероном в качестве терапии первой линии у пациентов с мКРРПЖ</vt:lpstr>
      <vt:lpstr>  </vt:lpstr>
      <vt:lpstr>Исходные характеристики пациентов были в целом хорошо сбалансированы между группами лечения</vt:lpstr>
      <vt:lpstr>В исследовании PROpel было продемонстрировано увеличение медианы рВБП  на 8,6 месяцев (по оценке исследователя) и снижение риска прогрессирования заболевания или смерти на 33%, независимо от статуса HRRm у пациентов1</vt:lpstr>
      <vt:lpstr>По независимой централизованной оценке (BICR*) медиана рВБП составила 11,2 мес.  и снижение риска прогрессирования заболевания или смерти на 39% при применении препарата Линпарза® и абиратерона у пациентов с мКРРПЖ, независимо от статуса мутаций генов HRR  </vt:lpstr>
      <vt:lpstr>В исследовании PROpel преимущество в отношении рВБП наблюдалось  во всех заранее выбранных подгруппах1 </vt:lpstr>
      <vt:lpstr>PowerPoint Presentation</vt:lpstr>
      <vt:lpstr>На момент финального анализа в группе комбинации Линпарза® и абиратерона медиана ОВ была на 7,4 месяца больше по сравнению с абиратероном</vt:lpstr>
      <vt:lpstr>PowerPoint Presentation</vt:lpstr>
      <vt:lpstr>Время до первой последующей терапии и выживаемость без второго прогрессирования заболевания (при итоговом анализе) продолжают демонстрировать преимущество комбинации препарата Линпарза® и абиратерона1</vt:lpstr>
      <vt:lpstr>При применении комбинации олапариба и абиратерона отмечено увеличение частоты объективного ответа более чем на 10%1,2</vt:lpstr>
      <vt:lpstr>При добавлении олапариба к терапии абиратероном не наблюдалось ухудшения качества жизни, связанного со здоровьем</vt:lpstr>
      <vt:lpstr>Нежелательные явления в исследовании  PROpel </vt:lpstr>
      <vt:lpstr>На момент третьего анализа данных исследования PROpel комбинация олапариба и абиратерона продолжает демонстрировать контролируемый и предсказуемый профиль безопасности, позволяющий большинству пациентов получать наибольшую пользу, продолжая терапию до прогрессирования заболевания1</vt:lpstr>
      <vt:lpstr>На момент третьего анализа данных исследования PROpel комбинация олапариба и абиратерона продолжает демонстрировать контролируемый и предсказуемый профиль безопасности, позволяющий большинству пациентов получать наибольшую пользу, продолжая терапию до прогрессирования заболевания1</vt:lpstr>
      <vt:lpstr>Количество кардиологических нежелательных явлений или артериальных тромбоэмболических нежелательных явлений между группами лечения было сходным1</vt:lpstr>
      <vt:lpstr>PowerPoint Presentation</vt:lpstr>
      <vt:lpstr>    Линпарза® в лечении мКРРПЖ: один препарат - два варианта терапии </vt:lpstr>
      <vt:lpstr>Исследование PROpel расширяет возможности применения  препарата Линпарза® при мКРРПЖ в более широкой популяции пациентов, чем в исследовании PROfound</vt:lpstr>
      <vt:lpstr>Дополнительные слайды </vt:lpstr>
      <vt:lpstr>Пандемия COVID-19 не оказала существенного влияния на исследование PROpel, включая интерпретацию результатов1*</vt:lpstr>
      <vt:lpstr>В исследовании PROpel у пациентов предварительно не определяли статус мутаций генов HRR и не стратифицировали по данному признаку, чтобы предотвратить систематическую ошибку при тестировании на данный биомаркер перед включением в исследование</vt:lpstr>
      <vt:lpstr>В исследовании PROpel распространенность отдельных мутаций генов HRR была сходной с результатами исследования PROfound, а также других исследований пациентов с мКРРПЖ1–4 </vt:lpstr>
      <vt:lpstr>PowerPoint Presentation</vt:lpstr>
      <vt:lpstr>Линпарза® (таблетки, покрытые пленочной оболочкой, 100 и 150 мг) показания к применению в раке предстательной железы  в России:</vt:lpstr>
      <vt:lpstr>Линпарза® продолжительность терапии  в раке предстательной железы  в России:</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subject/>
  <dc:creator>Lauren Fernandes</dc:creator>
  <cp:keywords/>
  <dc:description/>
  <cp:lastModifiedBy>Lubova, Angelina</cp:lastModifiedBy>
  <cp:revision>300</cp:revision>
  <dcterms:created xsi:type="dcterms:W3CDTF">2019-10-08T13:58:11Z</dcterms:created>
  <dcterms:modified xsi:type="dcterms:W3CDTF">2023-04-17T06:42:32Z</dcterms:modified>
  <cp:category/>
</cp:coreProperties>
</file>